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10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theme/theme11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theme/theme12.xml" ContentType="application/vnd.openxmlformats-officedocument.theme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theme/theme1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theme/theme1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theme/theme1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theme/theme1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theme/theme17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theme/theme18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theme/theme19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theme/theme20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theme/theme21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theme/theme22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theme/theme23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theme/theme24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theme/theme25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theme/theme26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theme/theme27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theme/theme28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theme/theme29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theme/theme30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theme/theme31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theme/theme32.xml" ContentType="application/vnd.openxmlformats-officedocument.theme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theme/theme33.xml" ContentType="application/vnd.openxmlformats-officedocument.theme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theme/theme34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theme/theme3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theme/theme36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theme/theme37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slideLayouts/slideLayout1541.xml" ContentType="application/vnd.openxmlformats-officedocument.presentationml.slideLayout+xml"/>
  <Override PartName="/ppt/slideLayouts/slideLayout1542.xml" ContentType="application/vnd.openxmlformats-officedocument.presentationml.slideLayout+xml"/>
  <Override PartName="/ppt/slideLayouts/slideLayout1543.xml" ContentType="application/vnd.openxmlformats-officedocument.presentationml.slideLayout+xml"/>
  <Override PartName="/ppt/slideLayouts/slideLayout1544.xml" ContentType="application/vnd.openxmlformats-officedocument.presentationml.slideLayout+xml"/>
  <Override PartName="/ppt/slideLayouts/slideLayout1545.xml" ContentType="application/vnd.openxmlformats-officedocument.presentationml.slideLayout+xml"/>
  <Override PartName="/ppt/theme/theme38.xml" ContentType="application/vnd.openxmlformats-officedocument.theme+xml"/>
  <Override PartName="/ppt/slideLayouts/slideLayout1546.xml" ContentType="application/vnd.openxmlformats-officedocument.presentationml.slideLayout+xml"/>
  <Override PartName="/ppt/slideLayouts/slideLayout1547.xml" ContentType="application/vnd.openxmlformats-officedocument.presentationml.slideLayout+xml"/>
  <Override PartName="/ppt/slideLayouts/slideLayout1548.xml" ContentType="application/vnd.openxmlformats-officedocument.presentationml.slideLayout+xml"/>
  <Override PartName="/ppt/slideLayouts/slideLayout1549.xml" ContentType="application/vnd.openxmlformats-officedocument.presentationml.slideLayout+xml"/>
  <Override PartName="/ppt/slideLayouts/slideLayout1550.xml" ContentType="application/vnd.openxmlformats-officedocument.presentationml.slideLayout+xml"/>
  <Override PartName="/ppt/slideLayouts/slideLayout1551.xml" ContentType="application/vnd.openxmlformats-officedocument.presentationml.slideLayout+xml"/>
  <Override PartName="/ppt/slideLayouts/slideLayout1552.xml" ContentType="application/vnd.openxmlformats-officedocument.presentationml.slideLayout+xml"/>
  <Override PartName="/ppt/slideLayouts/slideLayout1553.xml" ContentType="application/vnd.openxmlformats-officedocument.presentationml.slideLayout+xml"/>
  <Override PartName="/ppt/slideLayouts/slideLayout1554.xml" ContentType="application/vnd.openxmlformats-officedocument.presentationml.slideLayout+xml"/>
  <Override PartName="/ppt/theme/theme39.xml" ContentType="application/vnd.openxmlformats-officedocument.theme+xml"/>
  <Override PartName="/ppt/slideLayouts/slideLayout1555.xml" ContentType="application/vnd.openxmlformats-officedocument.presentationml.slideLayout+xml"/>
  <Override PartName="/ppt/slideLayouts/slideLayout1556.xml" ContentType="application/vnd.openxmlformats-officedocument.presentationml.slideLayout+xml"/>
  <Override PartName="/ppt/slideLayouts/slideLayout1557.xml" ContentType="application/vnd.openxmlformats-officedocument.presentationml.slideLayout+xml"/>
  <Override PartName="/ppt/slideLayouts/slideLayout1558.xml" ContentType="application/vnd.openxmlformats-officedocument.presentationml.slideLayout+xml"/>
  <Override PartName="/ppt/slideLayouts/slideLayout1559.xml" ContentType="application/vnd.openxmlformats-officedocument.presentationml.slideLayout+xml"/>
  <Override PartName="/ppt/slideLayouts/slideLayout1560.xml" ContentType="application/vnd.openxmlformats-officedocument.presentationml.slideLayout+xml"/>
  <Override PartName="/ppt/slideLayouts/slideLayout1561.xml" ContentType="application/vnd.openxmlformats-officedocument.presentationml.slideLayout+xml"/>
  <Override PartName="/ppt/slideLayouts/slideLayout1562.xml" ContentType="application/vnd.openxmlformats-officedocument.presentationml.slideLayout+xml"/>
  <Override PartName="/ppt/slideLayouts/slideLayout1563.xml" ContentType="application/vnd.openxmlformats-officedocument.presentationml.slideLayout+xml"/>
  <Override PartName="/ppt/slideLayouts/slideLayout1564.xml" ContentType="application/vnd.openxmlformats-officedocument.presentationml.slideLayout+xml"/>
  <Override PartName="/ppt/slideLayouts/slideLayout1565.xml" ContentType="application/vnd.openxmlformats-officedocument.presentationml.slideLayout+xml"/>
  <Override PartName="/ppt/slideLayouts/slideLayout1566.xml" ContentType="application/vnd.openxmlformats-officedocument.presentationml.slideLayout+xml"/>
  <Override PartName="/ppt/slideLayouts/slideLayout1567.xml" ContentType="application/vnd.openxmlformats-officedocument.presentationml.slideLayout+xml"/>
  <Override PartName="/ppt/slideLayouts/slideLayout1568.xml" ContentType="application/vnd.openxmlformats-officedocument.presentationml.slideLayout+xml"/>
  <Override PartName="/ppt/slideLayouts/slideLayout1569.xml" ContentType="application/vnd.openxmlformats-officedocument.presentationml.slideLayout+xml"/>
  <Override PartName="/ppt/slideLayouts/slideLayout1570.xml" ContentType="application/vnd.openxmlformats-officedocument.presentationml.slideLayout+xml"/>
  <Override PartName="/ppt/slideLayouts/slideLayout1571.xml" ContentType="application/vnd.openxmlformats-officedocument.presentationml.slideLayout+xml"/>
  <Override PartName="/ppt/slideLayouts/slideLayout1572.xml" ContentType="application/vnd.openxmlformats-officedocument.presentationml.slideLayout+xml"/>
  <Override PartName="/ppt/slideLayouts/slideLayout1573.xml" ContentType="application/vnd.openxmlformats-officedocument.presentationml.slideLayout+xml"/>
  <Override PartName="/ppt/slideLayouts/slideLayout1574.xml" ContentType="application/vnd.openxmlformats-officedocument.presentationml.slideLayout+xml"/>
  <Override PartName="/ppt/slideLayouts/slideLayout1575.xml" ContentType="application/vnd.openxmlformats-officedocument.presentationml.slideLayout+xml"/>
  <Override PartName="/ppt/slideLayouts/slideLayout1576.xml" ContentType="application/vnd.openxmlformats-officedocument.presentationml.slideLayout+xml"/>
  <Override PartName="/ppt/slideLayouts/slideLayout1577.xml" ContentType="application/vnd.openxmlformats-officedocument.presentationml.slideLayout+xml"/>
  <Override PartName="/ppt/slideLayouts/slideLayout1578.xml" ContentType="application/vnd.openxmlformats-officedocument.presentationml.slideLayout+xml"/>
  <Override PartName="/ppt/slideLayouts/slideLayout1579.xml" ContentType="application/vnd.openxmlformats-officedocument.presentationml.slideLayout+xml"/>
  <Override PartName="/ppt/slideLayouts/slideLayout1580.xml" ContentType="application/vnd.openxmlformats-officedocument.presentationml.slideLayout+xml"/>
  <Override PartName="/ppt/slideLayouts/slideLayout1581.xml" ContentType="application/vnd.openxmlformats-officedocument.presentationml.slideLayout+xml"/>
  <Override PartName="/ppt/slideLayouts/slideLayout1582.xml" ContentType="application/vnd.openxmlformats-officedocument.presentationml.slideLayout+xml"/>
  <Override PartName="/ppt/slideLayouts/slideLayout1583.xml" ContentType="application/vnd.openxmlformats-officedocument.presentationml.slideLayout+xml"/>
  <Override PartName="/ppt/slideLayouts/slideLayout1584.xml" ContentType="application/vnd.openxmlformats-officedocument.presentationml.slideLayout+xml"/>
  <Override PartName="/ppt/slideLayouts/slideLayout1585.xml" ContentType="application/vnd.openxmlformats-officedocument.presentationml.slideLayout+xml"/>
  <Override PartName="/ppt/slideLayouts/slideLayout1586.xml" ContentType="application/vnd.openxmlformats-officedocument.presentationml.slideLayout+xml"/>
  <Override PartName="/ppt/slideLayouts/slideLayout1587.xml" ContentType="application/vnd.openxmlformats-officedocument.presentationml.slideLayout+xml"/>
  <Override PartName="/ppt/slideLayouts/slideLayout1588.xml" ContentType="application/vnd.openxmlformats-officedocument.presentationml.slideLayout+xml"/>
  <Override PartName="/ppt/slideLayouts/slideLayout1589.xml" ContentType="application/vnd.openxmlformats-officedocument.presentationml.slideLayout+xml"/>
  <Override PartName="/ppt/slideLayouts/slideLayout1590.xml" ContentType="application/vnd.openxmlformats-officedocument.presentationml.slideLayout+xml"/>
  <Override PartName="/ppt/slideLayouts/slideLayout1591.xml" ContentType="application/vnd.openxmlformats-officedocument.presentationml.slideLayout+xml"/>
  <Override PartName="/ppt/theme/theme40.xml" ContentType="application/vnd.openxmlformats-officedocument.theme+xml"/>
  <Override PartName="/ppt/slideLayouts/slideLayout1592.xml" ContentType="application/vnd.openxmlformats-officedocument.presentationml.slideLayout+xml"/>
  <Override PartName="/ppt/slideLayouts/slideLayout1593.xml" ContentType="application/vnd.openxmlformats-officedocument.presentationml.slideLayout+xml"/>
  <Override PartName="/ppt/slideLayouts/slideLayout1594.xml" ContentType="application/vnd.openxmlformats-officedocument.presentationml.slideLayout+xml"/>
  <Override PartName="/ppt/slideLayouts/slideLayout1595.xml" ContentType="application/vnd.openxmlformats-officedocument.presentationml.slideLayout+xml"/>
  <Override PartName="/ppt/slideLayouts/slideLayout1596.xml" ContentType="application/vnd.openxmlformats-officedocument.presentationml.slideLayout+xml"/>
  <Override PartName="/ppt/slideLayouts/slideLayout1597.xml" ContentType="application/vnd.openxmlformats-officedocument.presentationml.slideLayout+xml"/>
  <Override PartName="/ppt/slideLayouts/slideLayout1598.xml" ContentType="application/vnd.openxmlformats-officedocument.presentationml.slideLayout+xml"/>
  <Override PartName="/ppt/slideLayouts/slideLayout1599.xml" ContentType="application/vnd.openxmlformats-officedocument.presentationml.slideLayout+xml"/>
  <Override PartName="/ppt/slideLayouts/slideLayout1600.xml" ContentType="application/vnd.openxmlformats-officedocument.presentationml.slideLayout+xml"/>
  <Override PartName="/ppt/slideLayouts/slideLayout1601.xml" ContentType="application/vnd.openxmlformats-officedocument.presentationml.slideLayout+xml"/>
  <Override PartName="/ppt/slideLayouts/slideLayout1602.xml" ContentType="application/vnd.openxmlformats-officedocument.presentationml.slideLayout+xml"/>
  <Override PartName="/ppt/slideLayouts/slideLayout1603.xml" ContentType="application/vnd.openxmlformats-officedocument.presentationml.slideLayout+xml"/>
  <Override PartName="/ppt/slideLayouts/slideLayout1604.xml" ContentType="application/vnd.openxmlformats-officedocument.presentationml.slideLayout+xml"/>
  <Override PartName="/ppt/slideLayouts/slideLayout1605.xml" ContentType="application/vnd.openxmlformats-officedocument.presentationml.slideLayout+xml"/>
  <Override PartName="/ppt/slideLayouts/slideLayout1606.xml" ContentType="application/vnd.openxmlformats-officedocument.presentationml.slideLayout+xml"/>
  <Override PartName="/ppt/slideLayouts/slideLayout1607.xml" ContentType="application/vnd.openxmlformats-officedocument.presentationml.slideLayout+xml"/>
  <Override PartName="/ppt/slideLayouts/slideLayout1608.xml" ContentType="application/vnd.openxmlformats-officedocument.presentationml.slideLayout+xml"/>
  <Override PartName="/ppt/slideLayouts/slideLayout1609.xml" ContentType="application/vnd.openxmlformats-officedocument.presentationml.slideLayout+xml"/>
  <Override PartName="/ppt/slideLayouts/slideLayout1610.xml" ContentType="application/vnd.openxmlformats-officedocument.presentationml.slideLayout+xml"/>
  <Override PartName="/ppt/slideLayouts/slideLayout1611.xml" ContentType="application/vnd.openxmlformats-officedocument.presentationml.slideLayout+xml"/>
  <Override PartName="/ppt/slideLayouts/slideLayout1612.xml" ContentType="application/vnd.openxmlformats-officedocument.presentationml.slideLayout+xml"/>
  <Override PartName="/ppt/slideLayouts/slideLayout1613.xml" ContentType="application/vnd.openxmlformats-officedocument.presentationml.slideLayout+xml"/>
  <Override PartName="/ppt/slideLayouts/slideLayout1614.xml" ContentType="application/vnd.openxmlformats-officedocument.presentationml.slideLayout+xml"/>
  <Override PartName="/ppt/theme/theme41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slideLayouts/slideLayout1615.xml" ContentType="application/vnd.openxmlformats-officedocument.presentationml.slideLayout+xml"/>
  <Override PartName="/ppt/slideLayouts/slideLayout1616.xml" ContentType="application/vnd.openxmlformats-officedocument.presentationml.slideLayout+xml"/>
  <Override PartName="/ppt/slideLayouts/slideLayout1617.xml" ContentType="application/vnd.openxmlformats-officedocument.presentationml.slideLayout+xml"/>
  <Override PartName="/ppt/slideLayouts/slideLayout1618.xml" ContentType="application/vnd.openxmlformats-officedocument.presentationml.slideLayout+xml"/>
  <Override PartName="/ppt/slideLayouts/slideLayout1619.xml" ContentType="application/vnd.openxmlformats-officedocument.presentationml.slideLayout+xml"/>
  <Override PartName="/ppt/slideLayouts/slideLayout1620.xml" ContentType="application/vnd.openxmlformats-officedocument.presentationml.slideLayout+xml"/>
  <Override PartName="/ppt/slideLayouts/slideLayout1621.xml" ContentType="application/vnd.openxmlformats-officedocument.presentationml.slideLayout+xml"/>
  <Override PartName="/ppt/slideLayouts/slideLayout1622.xml" ContentType="application/vnd.openxmlformats-officedocument.presentationml.slideLayout+xml"/>
  <Override PartName="/ppt/slideLayouts/slideLayout1623.xml" ContentType="application/vnd.openxmlformats-officedocument.presentationml.slideLayout+xml"/>
  <Override PartName="/ppt/slideLayouts/slideLayout1624.xml" ContentType="application/vnd.openxmlformats-officedocument.presentationml.slideLayout+xml"/>
  <Override PartName="/ppt/slideLayouts/slideLayout1625.xml" ContentType="application/vnd.openxmlformats-officedocument.presentationml.slideLayout+xml"/>
  <Override PartName="/ppt/slideLayouts/slideLayout1626.xml" ContentType="application/vnd.openxmlformats-officedocument.presentationml.slideLayout+xml"/>
  <Override PartName="/ppt/theme/theme42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43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9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8.xml" ContentType="application/vnd.openxmlformats-officedocument.presentationml.tags+xml"/>
  <Override PartName="/ppt/notesSlides/notesSlide14.xml" ContentType="application/vnd.openxmlformats-officedocument.presentationml.notesSlide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notesSlides/notesSlide16.xml" ContentType="application/vnd.openxmlformats-officedocument.presentationml.notesSlide+xml"/>
  <Override PartName="/ppt/tags/tag101.xml" ContentType="application/vnd.openxmlformats-officedocument.presentationml.tags+xml"/>
  <Override PartName="/ppt/notesSlides/notesSlide17.xml" ContentType="application/vnd.openxmlformats-officedocument.presentationml.notesSlide+xml"/>
  <Override PartName="/ppt/tags/tag102.xml" ContentType="application/vnd.openxmlformats-officedocument.presentationml.tags+xml"/>
  <Override PartName="/ppt/notesSlides/notesSlide18.xml" ContentType="application/vnd.openxmlformats-officedocument.presentationml.notesSlide+xml"/>
  <Override PartName="/ppt/tags/tag103.xml" ContentType="application/vnd.openxmlformats-officedocument.presentationml.tags+xml"/>
  <Override PartName="/ppt/notesSlides/notesSlide19.xml" ContentType="application/vnd.openxmlformats-officedocument.presentationml.notesSlide+xml"/>
  <Override PartName="/ppt/tags/tag104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05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106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718" r:id="rId3"/>
    <p:sldMasterId id="2147483766" r:id="rId4"/>
    <p:sldMasterId id="2147483806" r:id="rId5"/>
    <p:sldMasterId id="2147483854" r:id="rId6"/>
    <p:sldMasterId id="2147483902" r:id="rId7"/>
    <p:sldMasterId id="2147483942" r:id="rId8"/>
    <p:sldMasterId id="2147483982" r:id="rId9"/>
    <p:sldMasterId id="2147484030" r:id="rId10"/>
    <p:sldMasterId id="2147484078" r:id="rId11"/>
    <p:sldMasterId id="2147484126" r:id="rId12"/>
    <p:sldMasterId id="2147484145" r:id="rId13"/>
    <p:sldMasterId id="2147484193" r:id="rId14"/>
    <p:sldMasterId id="2147484241" r:id="rId15"/>
    <p:sldMasterId id="2147484281" r:id="rId16"/>
    <p:sldMasterId id="2147484348" r:id="rId17"/>
    <p:sldMasterId id="2147484396" r:id="rId18"/>
    <p:sldMasterId id="2147484444" r:id="rId19"/>
    <p:sldMasterId id="2147484492" r:id="rId20"/>
    <p:sldMasterId id="2147484540" r:id="rId21"/>
    <p:sldMasterId id="2147484588" r:id="rId22"/>
    <p:sldMasterId id="2147484636" r:id="rId23"/>
    <p:sldMasterId id="2147484684" r:id="rId24"/>
    <p:sldMasterId id="2147484732" r:id="rId25"/>
    <p:sldMasterId id="2147484780" r:id="rId26"/>
    <p:sldMasterId id="2147484828" r:id="rId27"/>
    <p:sldMasterId id="2147484914" r:id="rId28"/>
    <p:sldMasterId id="2147484962" r:id="rId29"/>
    <p:sldMasterId id="2147485010" r:id="rId30"/>
    <p:sldMasterId id="2147485058" r:id="rId31"/>
    <p:sldMasterId id="2147485106" r:id="rId32"/>
    <p:sldMasterId id="2147485118" r:id="rId33"/>
    <p:sldMasterId id="2147485130" r:id="rId34"/>
    <p:sldMasterId id="2147485170" r:id="rId35"/>
    <p:sldMasterId id="2147485218" r:id="rId36"/>
    <p:sldMasterId id="2147485243" r:id="rId37"/>
    <p:sldMasterId id="2147485291" r:id="rId38"/>
    <p:sldMasterId id="2147485305" r:id="rId39"/>
    <p:sldMasterId id="2147485315" r:id="rId40"/>
    <p:sldMasterId id="2147485353" r:id="rId41"/>
    <p:sldMasterId id="2147485377" r:id="rId42"/>
  </p:sldMasterIdLst>
  <p:notesMasterIdLst>
    <p:notesMasterId r:id="rId103"/>
  </p:notesMasterIdLst>
  <p:sldIdLst>
    <p:sldId id="257" r:id="rId43"/>
    <p:sldId id="258" r:id="rId44"/>
    <p:sldId id="259" r:id="rId45"/>
    <p:sldId id="260" r:id="rId46"/>
    <p:sldId id="262" r:id="rId47"/>
    <p:sldId id="261" r:id="rId48"/>
    <p:sldId id="263" r:id="rId49"/>
    <p:sldId id="265" r:id="rId50"/>
    <p:sldId id="264" r:id="rId51"/>
    <p:sldId id="303" r:id="rId52"/>
    <p:sldId id="266" r:id="rId53"/>
    <p:sldId id="267" r:id="rId54"/>
    <p:sldId id="314" r:id="rId55"/>
    <p:sldId id="268" r:id="rId56"/>
    <p:sldId id="269" r:id="rId57"/>
    <p:sldId id="316" r:id="rId58"/>
    <p:sldId id="315" r:id="rId59"/>
    <p:sldId id="270" r:id="rId60"/>
    <p:sldId id="273" r:id="rId61"/>
    <p:sldId id="317" r:id="rId62"/>
    <p:sldId id="313" r:id="rId63"/>
    <p:sldId id="271" r:id="rId64"/>
    <p:sldId id="272" r:id="rId65"/>
    <p:sldId id="276" r:id="rId66"/>
    <p:sldId id="274" r:id="rId67"/>
    <p:sldId id="275" r:id="rId68"/>
    <p:sldId id="277" r:id="rId69"/>
    <p:sldId id="278" r:id="rId70"/>
    <p:sldId id="279" r:id="rId71"/>
    <p:sldId id="280" r:id="rId72"/>
    <p:sldId id="281" r:id="rId73"/>
    <p:sldId id="282" r:id="rId74"/>
    <p:sldId id="283" r:id="rId75"/>
    <p:sldId id="284" r:id="rId76"/>
    <p:sldId id="285" r:id="rId77"/>
    <p:sldId id="286" r:id="rId78"/>
    <p:sldId id="287" r:id="rId79"/>
    <p:sldId id="290" r:id="rId80"/>
    <p:sldId id="291" r:id="rId81"/>
    <p:sldId id="292" r:id="rId82"/>
    <p:sldId id="294" r:id="rId83"/>
    <p:sldId id="289" r:id="rId84"/>
    <p:sldId id="295" r:id="rId85"/>
    <p:sldId id="296" r:id="rId86"/>
    <p:sldId id="288" r:id="rId87"/>
    <p:sldId id="297" r:id="rId88"/>
    <p:sldId id="298" r:id="rId89"/>
    <p:sldId id="293" r:id="rId90"/>
    <p:sldId id="300" r:id="rId91"/>
    <p:sldId id="299" r:id="rId92"/>
    <p:sldId id="301" r:id="rId93"/>
    <p:sldId id="304" r:id="rId94"/>
    <p:sldId id="312" r:id="rId95"/>
    <p:sldId id="307" r:id="rId96"/>
    <p:sldId id="305" r:id="rId97"/>
    <p:sldId id="306" r:id="rId98"/>
    <p:sldId id="308" r:id="rId99"/>
    <p:sldId id="309" r:id="rId100"/>
    <p:sldId id="311" r:id="rId101"/>
    <p:sldId id="310" r:id="rId10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-204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5.xml"/><Relationship Id="rId63" Type="http://schemas.openxmlformats.org/officeDocument/2006/relationships/slide" Target="slides/slide21.xml"/><Relationship Id="rId68" Type="http://schemas.openxmlformats.org/officeDocument/2006/relationships/slide" Target="slides/slide26.xml"/><Relationship Id="rId84" Type="http://schemas.openxmlformats.org/officeDocument/2006/relationships/slide" Target="slides/slide42.xml"/><Relationship Id="rId89" Type="http://schemas.openxmlformats.org/officeDocument/2006/relationships/slide" Target="slides/slide47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29.xml"/><Relationship Id="rId92" Type="http://schemas.openxmlformats.org/officeDocument/2006/relationships/slide" Target="slides/slide50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07" Type="http://schemas.openxmlformats.org/officeDocument/2006/relationships/tableStyles" Target="tableStyles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3.xml"/><Relationship Id="rId53" Type="http://schemas.openxmlformats.org/officeDocument/2006/relationships/slide" Target="slides/slide11.xml"/><Relationship Id="rId58" Type="http://schemas.openxmlformats.org/officeDocument/2006/relationships/slide" Target="slides/slide16.xml"/><Relationship Id="rId66" Type="http://schemas.openxmlformats.org/officeDocument/2006/relationships/slide" Target="slides/slide24.xml"/><Relationship Id="rId74" Type="http://schemas.openxmlformats.org/officeDocument/2006/relationships/slide" Target="slides/slide32.xml"/><Relationship Id="rId79" Type="http://schemas.openxmlformats.org/officeDocument/2006/relationships/slide" Target="slides/slide37.xml"/><Relationship Id="rId87" Type="http://schemas.openxmlformats.org/officeDocument/2006/relationships/slide" Target="slides/slide45.xml"/><Relationship Id="rId102" Type="http://schemas.openxmlformats.org/officeDocument/2006/relationships/slide" Target="slides/slide60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19.xml"/><Relationship Id="rId82" Type="http://schemas.openxmlformats.org/officeDocument/2006/relationships/slide" Target="slides/slide40.xml"/><Relationship Id="rId90" Type="http://schemas.openxmlformats.org/officeDocument/2006/relationships/slide" Target="slides/slide48.xml"/><Relationship Id="rId95" Type="http://schemas.openxmlformats.org/officeDocument/2006/relationships/slide" Target="slides/slide53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1.xml"/><Relationship Id="rId48" Type="http://schemas.openxmlformats.org/officeDocument/2006/relationships/slide" Target="slides/slide6.xml"/><Relationship Id="rId56" Type="http://schemas.openxmlformats.org/officeDocument/2006/relationships/slide" Target="slides/slide14.xml"/><Relationship Id="rId64" Type="http://schemas.openxmlformats.org/officeDocument/2006/relationships/slide" Target="slides/slide22.xml"/><Relationship Id="rId69" Type="http://schemas.openxmlformats.org/officeDocument/2006/relationships/slide" Target="slides/slide27.xml"/><Relationship Id="rId77" Type="http://schemas.openxmlformats.org/officeDocument/2006/relationships/slide" Target="slides/slide35.xml"/><Relationship Id="rId100" Type="http://schemas.openxmlformats.org/officeDocument/2006/relationships/slide" Target="slides/slide58.xml"/><Relationship Id="rId105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9.xml"/><Relationship Id="rId72" Type="http://schemas.openxmlformats.org/officeDocument/2006/relationships/slide" Target="slides/slide30.xml"/><Relationship Id="rId80" Type="http://schemas.openxmlformats.org/officeDocument/2006/relationships/slide" Target="slides/slide38.xml"/><Relationship Id="rId85" Type="http://schemas.openxmlformats.org/officeDocument/2006/relationships/slide" Target="slides/slide43.xml"/><Relationship Id="rId93" Type="http://schemas.openxmlformats.org/officeDocument/2006/relationships/slide" Target="slides/slide51.xml"/><Relationship Id="rId98" Type="http://schemas.openxmlformats.org/officeDocument/2006/relationships/slide" Target="slides/slide56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4.xml"/><Relationship Id="rId59" Type="http://schemas.openxmlformats.org/officeDocument/2006/relationships/slide" Target="slides/slide17.xml"/><Relationship Id="rId67" Type="http://schemas.openxmlformats.org/officeDocument/2006/relationships/slide" Target="slides/slide25.xml"/><Relationship Id="rId103" Type="http://schemas.openxmlformats.org/officeDocument/2006/relationships/notesMaster" Target="notesMasters/notesMaster1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2.xml"/><Relationship Id="rId62" Type="http://schemas.openxmlformats.org/officeDocument/2006/relationships/slide" Target="slides/slide20.xml"/><Relationship Id="rId70" Type="http://schemas.openxmlformats.org/officeDocument/2006/relationships/slide" Target="slides/slide28.xml"/><Relationship Id="rId75" Type="http://schemas.openxmlformats.org/officeDocument/2006/relationships/slide" Target="slides/slide33.xml"/><Relationship Id="rId83" Type="http://schemas.openxmlformats.org/officeDocument/2006/relationships/slide" Target="slides/slide41.xml"/><Relationship Id="rId88" Type="http://schemas.openxmlformats.org/officeDocument/2006/relationships/slide" Target="slides/slide46.xml"/><Relationship Id="rId91" Type="http://schemas.openxmlformats.org/officeDocument/2006/relationships/slide" Target="slides/slide49.xml"/><Relationship Id="rId96" Type="http://schemas.openxmlformats.org/officeDocument/2006/relationships/slide" Target="slides/slide5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7.xml"/><Relationship Id="rId57" Type="http://schemas.openxmlformats.org/officeDocument/2006/relationships/slide" Target="slides/slide15.xml"/><Relationship Id="rId10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2.xml"/><Relationship Id="rId52" Type="http://schemas.openxmlformats.org/officeDocument/2006/relationships/slide" Target="slides/slide10.xml"/><Relationship Id="rId60" Type="http://schemas.openxmlformats.org/officeDocument/2006/relationships/slide" Target="slides/slide18.xml"/><Relationship Id="rId65" Type="http://schemas.openxmlformats.org/officeDocument/2006/relationships/slide" Target="slides/slide23.xml"/><Relationship Id="rId73" Type="http://schemas.openxmlformats.org/officeDocument/2006/relationships/slide" Target="slides/slide31.xml"/><Relationship Id="rId78" Type="http://schemas.openxmlformats.org/officeDocument/2006/relationships/slide" Target="slides/slide36.xml"/><Relationship Id="rId81" Type="http://schemas.openxmlformats.org/officeDocument/2006/relationships/slide" Target="slides/slide39.xml"/><Relationship Id="rId86" Type="http://schemas.openxmlformats.org/officeDocument/2006/relationships/slide" Target="slides/slide44.xml"/><Relationship Id="rId94" Type="http://schemas.openxmlformats.org/officeDocument/2006/relationships/slide" Target="slides/slide52.xml"/><Relationship Id="rId99" Type="http://schemas.openxmlformats.org/officeDocument/2006/relationships/slide" Target="slides/slide57.xml"/><Relationship Id="rId101" Type="http://schemas.openxmlformats.org/officeDocument/2006/relationships/slide" Target="slides/slide5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" Target="slides/slide8.xml"/><Relationship Id="rId55" Type="http://schemas.openxmlformats.org/officeDocument/2006/relationships/slide" Target="slides/slide13.xml"/><Relationship Id="rId76" Type="http://schemas.openxmlformats.org/officeDocument/2006/relationships/slide" Target="slides/slide34.xml"/><Relationship Id="rId97" Type="http://schemas.openxmlformats.org/officeDocument/2006/relationships/slide" Target="slides/slide55.xml"/><Relationship Id="rId10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4ECF73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A435-40A3-BCB9-AD8787D63F82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435-40A3-BCB9-AD8787D63F82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91</c:v>
                </c:pt>
                <c:pt idx="1">
                  <c:v>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435-40A3-BCB9-AD8787D63F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1ACA9B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5F33-4A77-8154-7602D742F990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F33-4A77-8154-7602D742F990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78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F33-4A77-8154-7602D742F9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chemeClr val="accent1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6ECF-4701-9473-0DC1B5A703C1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ECF-4701-9473-0DC1B5A703C1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ECF-4701-9473-0DC1B5A703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096E-2"/>
          <c:y val="0.119147"/>
          <c:w val="0.93261400000000005"/>
          <c:h val="0.69775200000000004"/>
        </c:manualLayout>
      </c:layout>
      <c:areaChart>
        <c:grouping val="standard"/>
        <c:varyColors val="0"/>
        <c:ser>
          <c:idx val="1"/>
          <c:order val="0"/>
          <c:tx>
            <c:strRef>
              <c:f>Sheet1!$A$3</c:f>
              <c:strCache>
                <c:ptCount val="1"/>
                <c:pt idx="0">
                  <c:v>Region 2</c:v>
                </c:pt>
              </c:strCache>
            </c:strRef>
          </c:tx>
          <c:spPr>
            <a:solidFill>
              <a:srgbClr val="1ACA9B">
                <a:alpha val="30000"/>
              </a:srgbClr>
            </a:solidFill>
            <a:ln w="76200" cap="flat">
              <a:noFill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55</c:v>
                </c:pt>
                <c:pt idx="1">
                  <c:v>43</c:v>
                </c:pt>
                <c:pt idx="2">
                  <c:v>70</c:v>
                </c:pt>
                <c:pt idx="3">
                  <c:v>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BB6-4525-ADC8-DED83E064994}"/>
            </c:ext>
          </c:extLst>
        </c:ser>
        <c:ser>
          <c:idx val="0"/>
          <c:order val="1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4ECF73">
                <a:alpha val="32000"/>
              </a:srgbClr>
            </a:solidFill>
            <a:ln w="76200" cap="flat">
              <a:noFill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17</c:v>
                </c:pt>
                <c:pt idx="1">
                  <c:v>26</c:v>
                </c:pt>
                <c:pt idx="2">
                  <c:v>53</c:v>
                </c:pt>
                <c:pt idx="3">
                  <c:v>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BB6-4525-ADC8-DED83E0649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2462080"/>
        <c:axId val="172463616"/>
      </c:areaChart>
      <c:catAx>
        <c:axId val="1724620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 w="12700" cap="flat">
            <a:noFill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6C6C6C"/>
                </a:solidFill>
                <a:latin typeface="Avenir Next"/>
              </a:defRPr>
            </a:pPr>
            <a:endParaRPr lang="ru-RU"/>
          </a:p>
        </c:txPr>
        <c:crossAx val="172463616"/>
        <c:crosses val="autoZero"/>
        <c:auto val="1"/>
        <c:lblAlgn val="ctr"/>
        <c:lblOffset val="100"/>
        <c:noMultiLvlLbl val="1"/>
      </c:catAx>
      <c:valAx>
        <c:axId val="172463616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2700" cap="flat">
            <a:noFill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6C6C6C"/>
                </a:solidFill>
                <a:latin typeface="Avenir Next"/>
              </a:defRPr>
            </a:pPr>
            <a:endParaRPr lang="ru-RU"/>
          </a:p>
        </c:txPr>
        <c:crossAx val="172462080"/>
        <c:crosses val="autoZero"/>
        <c:crossBetween val="midCat"/>
        <c:majorUnit val="25"/>
        <c:minorUnit val="12.5"/>
      </c:valAx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02499999999998E-2"/>
          <c:y val="8.9979500000000004E-2"/>
          <c:w val="0.92671899999999996"/>
          <c:h val="0.76701699999999995"/>
        </c:manualLayout>
      </c:layout>
      <c:areaChart>
        <c:grouping val="standard"/>
        <c:varyColors val="0"/>
        <c:ser>
          <c:idx val="2"/>
          <c:order val="0"/>
          <c:tx>
            <c:strRef>
              <c:f>Sheet1!$A$4</c:f>
              <c:strCache>
                <c:ptCount val="1"/>
                <c:pt idx="0">
                  <c:v>Region 2</c:v>
                </c:pt>
              </c:strCache>
            </c:strRef>
          </c:tx>
          <c:spPr>
            <a:noFill/>
            <a:ln w="12700" cap="flat">
              <a:solidFill>
                <a:srgbClr val="1ACA9B"/>
              </a:solidFill>
              <a:prstDash val="solid"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55</c:v>
                </c:pt>
                <c:pt idx="1">
                  <c:v>43</c:v>
                </c:pt>
                <c:pt idx="2">
                  <c:v>70</c:v>
                </c:pt>
                <c:pt idx="3">
                  <c:v>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75-485F-8CB9-19BE5851383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Region 1</c:v>
                </c:pt>
              </c:strCache>
            </c:strRef>
          </c:tx>
          <c:spPr>
            <a:noFill/>
            <a:ln w="12700" cap="flat">
              <a:solidFill>
                <a:schemeClr val="accent1"/>
              </a:solidFill>
              <a:prstDash val="solid"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17</c:v>
                </c:pt>
                <c:pt idx="1">
                  <c:v>26</c:v>
                </c:pt>
                <c:pt idx="2">
                  <c:v>53</c:v>
                </c:pt>
                <c:pt idx="3">
                  <c:v>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C75-485F-8CB9-19BE58513834}"/>
            </c:ext>
          </c:extLst>
        </c:ser>
        <c:ser>
          <c:idx val="0"/>
          <c:order val="2"/>
          <c:tx>
            <c:strRef>
              <c:f>Sheet1!$A$2</c:f>
              <c:strCache>
                <c:ptCount val="1"/>
                <c:pt idx="0">
                  <c:v>Untitled 1</c:v>
                </c:pt>
              </c:strCache>
            </c:strRef>
          </c:tx>
          <c:spPr>
            <a:noFill/>
            <a:ln w="12700" cap="flat">
              <a:solidFill>
                <a:srgbClr val="4ECF73"/>
              </a:solidFill>
              <a:prstDash val="solid"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80</c:v>
                </c:pt>
                <c:pt idx="1">
                  <c:v>100</c:v>
                </c:pt>
                <c:pt idx="2">
                  <c:v>19</c:v>
                </c:pt>
                <c:pt idx="3">
                  <c:v>1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C75-485F-8CB9-19BE585138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453824"/>
        <c:axId val="171463808"/>
      </c:areaChart>
      <c:catAx>
        <c:axId val="1714538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 w="12700" cap="flat">
            <a:solidFill>
              <a:srgbClr val="000000"/>
            </a:solidFill>
            <a:prstDash val="solid"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6C6C6C"/>
                </a:solidFill>
                <a:latin typeface="Avenir Next"/>
              </a:defRPr>
            </a:pPr>
            <a:endParaRPr lang="ru-RU"/>
          </a:p>
        </c:txPr>
        <c:crossAx val="171463808"/>
        <c:crosses val="autoZero"/>
        <c:auto val="1"/>
        <c:lblAlgn val="ctr"/>
        <c:lblOffset val="100"/>
        <c:noMultiLvlLbl val="1"/>
      </c:catAx>
      <c:valAx>
        <c:axId val="171463808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2700" cap="flat">
            <a:noFill/>
            <a:prstDash val="solid"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6C6C6C"/>
                </a:solidFill>
                <a:latin typeface="Avenir Next"/>
              </a:defRPr>
            </a:pPr>
            <a:endParaRPr lang="ru-RU"/>
          </a:p>
        </c:txPr>
        <c:crossAx val="171453824"/>
        <c:crosses val="autoZero"/>
        <c:crossBetween val="midCat"/>
        <c:majorUnit val="25"/>
        <c:minorUnit val="12.5"/>
      </c:valAx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chemeClr val="accent1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E5CF-4E74-B549-F01C568C08BA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5CF-4E74-B549-F01C568C08BA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5CF-4E74-B549-F01C568C08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4ECF73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8F08-40A5-81A1-ACAF48DD24E9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F08-40A5-81A1-ACAF48DD24E9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91</c:v>
                </c:pt>
                <c:pt idx="1">
                  <c:v>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F08-40A5-81A1-ACAF48DD24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1ACA9B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C82A-451F-9207-035CA1959205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82A-451F-9207-035CA1959205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78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82A-451F-9207-035CA19592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67A718-47B8-464E-AB8D-BCCF9969BBC0}" type="datetimeFigureOut">
              <a:rPr lang="ru-RU" smtClean="0"/>
              <a:t>09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D0077D-FD54-4016-A577-E5DE20C5B1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48874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ria.ru/interview/20160921/1476814149.html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3" Type="http://schemas.openxmlformats.org/officeDocument/2006/relationships/hyperlink" Target="mailto:prosv@prosv.ru" TargetMode="External"/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888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скольку наша</a:t>
            </a:r>
            <a:r>
              <a:rPr lang="ru-RU" baseline="0" dirty="0" smtClean="0"/>
              <a:t> встреча посвящена естественно-научным предметам, то нас  интересует исследование </a:t>
            </a:r>
            <a:r>
              <a:rPr lang="ru-RU" sz="1200" dirty="0" smtClean="0">
                <a:effectLst/>
                <a:latin typeface="+mn-lt"/>
                <a:ea typeface="+mn-ea"/>
                <a:cs typeface="+mn-cs"/>
                <a:sym typeface="Calibri"/>
              </a:rPr>
              <a:t>PISA,</a:t>
            </a:r>
            <a:r>
              <a:rPr lang="ru-RU" sz="1200" baseline="0" dirty="0" smtClean="0">
                <a:effectLst/>
                <a:latin typeface="+mn-lt"/>
                <a:ea typeface="+mn-ea"/>
                <a:cs typeface="+mn-cs"/>
                <a:sym typeface="Calibri"/>
              </a:rPr>
              <a:t> выявившее в 2015 г.  Проблемы  у российских школьников.  К сотрудничеству был приглашен идеолог  этого исследования Андреас </a:t>
            </a:r>
            <a:r>
              <a:rPr lang="ru-RU" sz="1200" baseline="0" dirty="0" err="1" smtClean="0">
                <a:effectLst/>
                <a:latin typeface="+mn-lt"/>
                <a:ea typeface="+mn-ea"/>
                <a:cs typeface="+mn-cs"/>
                <a:sym typeface="Calibri"/>
              </a:rPr>
              <a:t>Шляйхер</a:t>
            </a:r>
            <a:r>
              <a:rPr lang="ru-RU" sz="1200" baseline="0" dirty="0" smtClean="0">
                <a:effectLst/>
                <a:latin typeface="+mn-lt"/>
                <a:ea typeface="+mn-ea"/>
                <a:cs typeface="+mn-cs"/>
                <a:sym typeface="Calibri"/>
              </a:rPr>
              <a:t>.  Он отметил, что «</a:t>
            </a:r>
            <a:r>
              <a:rPr lang="ru-RU" sz="1200" b="0" i="0" dirty="0" smtClean="0">
                <a:effectLst/>
                <a:latin typeface="+mn-lt"/>
                <a:ea typeface="+mn-ea"/>
                <a:cs typeface="+mn-cs"/>
                <a:sym typeface="Calibri"/>
              </a:rPr>
              <a:t>Если вы внимательно посмотрите на результаты исследования PISA, то обнаружите, что российские учащиеся очень хорошо — гораздо лучше, чем их сверстники из многих европейских и североамериканских стран — выполняют все задания на предметное содержание той или иной дисциплины. Но не задания, требующие творческого использования знаний, а ведь именно они занимают основное место в нашем тесте.»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1200" b="0" i="0" u="none" strike="noStrike" dirty="0" smtClean="0">
                <a:effectLst/>
                <a:latin typeface="+mn-lt"/>
                <a:ea typeface="+mn-ea"/>
                <a:cs typeface="+mn-cs"/>
                <a:sym typeface="Calibri"/>
              </a:rPr>
              <a:t>При анализе результатов проведенного исследования эксперты учитывали разные критерии, в том числе и время обучения и успеваемость в естествознании. Была выявлена интересная закономерность: если сравнить лидера исследования Финляндию и аутсайдера – Доминиканскую республику, то количество школьных</a:t>
            </a:r>
            <a:r>
              <a:rPr lang="ru-RU" sz="1200" b="0" i="0" u="none" strike="noStrike" baseline="0" dirty="0" smtClean="0">
                <a:effectLst/>
                <a:latin typeface="+mn-lt"/>
                <a:ea typeface="+mn-ea"/>
                <a:cs typeface="+mn-cs"/>
                <a:sym typeface="Calibri"/>
              </a:rPr>
              <a:t> учебных часов у аутсайдера даже чуть больше,  а часов внешкольного компонента заметно больше. Наша страна также превосходит  лидера в часах … </a:t>
            </a:r>
          </a:p>
          <a:p>
            <a:r>
              <a:rPr lang="ru-RU" sz="1200" b="0" i="0" u="none" strike="noStrike" baseline="0" dirty="0" smtClean="0">
                <a:effectLst/>
                <a:latin typeface="+mn-lt"/>
                <a:ea typeface="+mn-ea"/>
                <a:cs typeface="+mn-cs"/>
                <a:sym typeface="Calibri"/>
              </a:rPr>
              <a:t>Значит дело не столько во времени, отводимом на изучение  естественно-научных предметов, а в подходах, в том числе методических. </a:t>
            </a:r>
          </a:p>
          <a:p>
            <a:r>
              <a:rPr lang="ru-RU" dirty="0" smtClean="0"/>
              <a:t>и о перспективе развития</a:t>
            </a:r>
            <a:r>
              <a:rPr lang="ru-RU" baseline="0" dirty="0" smtClean="0"/>
              <a:t> этого международного исследования: «</a:t>
            </a:r>
            <a:r>
              <a:rPr lang="ru-RU" sz="1200" b="0" i="0" dirty="0" smtClean="0">
                <a:effectLst/>
                <a:latin typeface="+mn-lt"/>
                <a:ea typeface="+mn-ea"/>
                <a:cs typeface="+mn-cs"/>
                <a:sym typeface="Calibri"/>
              </a:rPr>
              <a:t>мы должны сделать так, чтобы меняющиеся требования к детям нашли отражение в содержании наших исследований. В наше время школы должны учить детей жить и работать с людьми разных культур, доверять друг другу и сотрудничать, невзирая на различия. Предыдущее поколение учителей полагало, что материал, который они преподают, будет полезен ученикам на протяжении всей жизни. Сегодня школы должны готовить учащихся к беспрецедентным переменам в экономике и окружающей действительности, к труду на рабочих местах, которые еще не созданы; к использованию технологий, которые не изобретены; к решению социальных проблем, возникновение которых проблематично.» </a:t>
            </a:r>
          </a:p>
          <a:p>
            <a:r>
              <a:rPr lang="ru-RU" sz="1200" b="0" i="0" dirty="0" smtClean="0">
                <a:effectLst/>
                <a:latin typeface="+mn-lt"/>
                <a:ea typeface="+mn-ea"/>
                <a:cs typeface="+mn-cs"/>
                <a:sym typeface="Calibri"/>
              </a:rPr>
              <a:t>РИА Новости </a:t>
            </a:r>
            <a:r>
              <a:rPr lang="ru-RU" sz="1200" b="0" i="0" u="none" strike="noStrike" dirty="0" smtClean="0">
                <a:effectLst/>
                <a:latin typeface="+mn-lt"/>
                <a:ea typeface="+mn-ea"/>
                <a:cs typeface="+mn-cs"/>
                <a:sym typeface="Calibri"/>
                <a:hlinkClick r:id="rId3"/>
              </a:rPr>
              <a:t>https://ria.ru/interview/20160921/1476814149.html</a:t>
            </a:r>
            <a:r>
              <a:rPr lang="ru-RU" sz="1200" b="0" i="0" u="none" strike="noStrike" dirty="0" smtClean="0">
                <a:effectLst/>
                <a:latin typeface="+mn-lt"/>
                <a:ea typeface="+mn-ea"/>
                <a:cs typeface="+mn-cs"/>
                <a:sym typeface="Calibri"/>
              </a:rPr>
              <a:t>»</a:t>
            </a:r>
          </a:p>
          <a:p>
            <a:r>
              <a:rPr lang="ru-RU" sz="1200" b="0" i="0" u="none" strike="noStrike" dirty="0" smtClean="0">
                <a:effectLst/>
                <a:latin typeface="+mn-lt"/>
                <a:ea typeface="+mn-ea"/>
                <a:cs typeface="+mn-cs"/>
                <a:sym typeface="Calibri"/>
              </a:rPr>
              <a:t>Т.е. некоторым образом был обозначен горизонт развития исследований 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546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2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2034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 smtClean="0"/>
              <a:t>Как известно, реализация проекта «Современная школа» предполагает внедрение </a:t>
            </a:r>
            <a:r>
              <a:rPr lang="ru-RU" sz="1200" b="1" dirty="0" smtClean="0"/>
              <a:t>новых методов и образовательных технологий</a:t>
            </a:r>
            <a:r>
              <a:rPr lang="ru-RU" sz="1200" dirty="0" smtClean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 smtClean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 smtClean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 smtClean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 smtClean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 smtClean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 smtClean="0"/>
              <a:t>создание учебных ситуаций, </a:t>
            </a:r>
            <a:r>
              <a:rPr lang="ru-RU" sz="1200" i="1" dirty="0" smtClean="0"/>
              <a:t>инициирующих</a:t>
            </a:r>
            <a:r>
              <a:rPr lang="ru-RU" sz="1200" dirty="0" smtClean="0"/>
              <a:t> учебную деятельность учащихся, </a:t>
            </a:r>
            <a:r>
              <a:rPr lang="ru-RU" sz="1200" i="1" dirty="0" smtClean="0"/>
              <a:t>мотивирующих</a:t>
            </a:r>
            <a:r>
              <a:rPr lang="ru-RU" sz="1200" dirty="0" smtClean="0"/>
              <a:t> их на учебную деятельность;</a:t>
            </a:r>
            <a:endParaRPr lang="ru-RU" sz="1200" dirty="0" smtClean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 smtClean="0"/>
              <a:t>учение в общении</a:t>
            </a:r>
            <a:r>
              <a:rPr lang="ru-RU" sz="1200" dirty="0" smtClean="0"/>
              <a:t> (</a:t>
            </a:r>
            <a:r>
              <a:rPr lang="ru-RU" sz="1200" i="1" dirty="0" smtClean="0"/>
              <a:t>учебное сотрудничество), </a:t>
            </a:r>
            <a:r>
              <a:rPr lang="ru-RU" sz="1200" i="0" dirty="0" smtClean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 smtClean="0"/>
              <a:t>поисковая активность </a:t>
            </a:r>
            <a:r>
              <a:rPr lang="ru-RU" sz="1200" dirty="0" smtClean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 smtClean="0"/>
              <a:t>оценочная самостоятельность </a:t>
            </a:r>
            <a:r>
              <a:rPr lang="ru-RU" sz="1200" dirty="0" smtClean="0"/>
              <a:t>школьников, задания на само- и взаимооценку.</a:t>
            </a:r>
          </a:p>
          <a:p>
            <a:pPr indent="287970"/>
            <a:r>
              <a:rPr lang="ru-RU" sz="1200" dirty="0" smtClean="0"/>
              <a:t>Все эти практики широко</a:t>
            </a:r>
            <a:r>
              <a:rPr lang="ru-RU" sz="1200" baseline="0" dirty="0" smtClean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2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08098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2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257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 smtClean="0"/>
              <a:t>Наши учебники помогают учителю</a:t>
            </a:r>
            <a:r>
              <a:rPr lang="ru-RU" sz="1200" baseline="0" dirty="0" smtClean="0"/>
              <a:t> реализовать эти практики. Например, в комплекте учебниках каждый новый раздел или тема начинаются с </a:t>
            </a:r>
            <a:r>
              <a:rPr lang="ru-RU" sz="1200" b="1" baseline="0" dirty="0" smtClean="0"/>
              <a:t>целеполагания. </a:t>
            </a:r>
            <a:r>
              <a:rPr lang="ru-RU" sz="1200" b="0" baseline="0" dirty="0" smtClean="0"/>
              <a:t>Учебники помогают учителю:</a:t>
            </a:r>
          </a:p>
          <a:p>
            <a:pPr indent="287970"/>
            <a:r>
              <a:rPr lang="ru-RU" sz="1200" b="0" baseline="0" dirty="0" smtClean="0"/>
              <a:t>- вовлечь учащихся в целесообразную учебную деятельность;</a:t>
            </a:r>
          </a:p>
          <a:p>
            <a:pPr indent="287970"/>
            <a:r>
              <a:rPr lang="ru-RU" sz="1200" b="0" baseline="0" dirty="0" smtClean="0"/>
              <a:t>- сориентировать учеников в том, </a:t>
            </a:r>
            <a:r>
              <a:rPr lang="ru-RU" sz="1200" b="0" i="1" baseline="0" dirty="0" smtClean="0"/>
              <a:t>какого результата</a:t>
            </a:r>
            <a:r>
              <a:rPr lang="ru-RU" sz="1200" b="0" baseline="0" dirty="0" smtClean="0"/>
              <a:t> они хотят добиться; в чём заключается этот результат, как он будет проверяться и оцениваться. </a:t>
            </a:r>
            <a:endParaRPr lang="en-US" sz="1200" b="0" baseline="0" dirty="0" smtClean="0"/>
          </a:p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2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6532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Учебное сотрудничество – важнейшая и необходимая составляющая учебной самостоятельности (т. е. умения самостоятельно учить себя). </a:t>
            </a:r>
          </a:p>
          <a:p>
            <a:pPr marL="0" marR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ё в школе дети должны понять, что может быть и иное мнение, научиться </a:t>
            </a:r>
            <a:r>
              <a:rPr lang="ru-RU" i="1" dirty="0" smtClean="0"/>
              <a:t>слушать и слышать мнение партнёра</a:t>
            </a:r>
            <a:r>
              <a:rPr lang="ru-RU" dirty="0" smtClean="0"/>
              <a:t>. Обмен мнениями, позициями по поводу учебного задания – </a:t>
            </a:r>
            <a:r>
              <a:rPr lang="ru-RU" i="1" dirty="0" smtClean="0"/>
              <a:t>А ты как понял задание? А ты как будешь делать? А как ты делал? … –  </a:t>
            </a:r>
            <a:r>
              <a:rPr lang="ru-RU" dirty="0" smtClean="0"/>
              <a:t>и позволяет ребёнку </a:t>
            </a:r>
            <a:r>
              <a:rPr lang="ru-RU" i="1" dirty="0" smtClean="0"/>
              <a:t>понять учебную задачу</a:t>
            </a:r>
            <a:r>
              <a:rPr lang="ru-RU" dirty="0" smtClean="0"/>
              <a:t>, </a:t>
            </a:r>
            <a:r>
              <a:rPr lang="ru-RU" i="1" dirty="0" smtClean="0"/>
              <a:t>увидеть противоречия</a:t>
            </a:r>
            <a:r>
              <a:rPr lang="ru-RU" dirty="0" smtClean="0"/>
              <a:t>, </a:t>
            </a:r>
            <a:r>
              <a:rPr lang="ru-RU" i="1" dirty="0" smtClean="0"/>
              <a:t>задать вопрос </a:t>
            </a:r>
            <a:r>
              <a:rPr lang="ru-RU" dirty="0" smtClean="0"/>
              <a:t>учителю, </a:t>
            </a:r>
            <a:r>
              <a:rPr lang="ru-RU" i="1" dirty="0" smtClean="0"/>
              <a:t>сформулировать образовательный запрос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Дети учатся уважительно обращаться друг к другу, осваивают речевые обороты (формулы) для прояснения позиций и порядка обсуждения, учатся действовать в ситуации несогласия, выявлять противоречия и конструктивно разрешать конфликты.</a:t>
            </a:r>
          </a:p>
          <a:p>
            <a:pPr indent="287970"/>
            <a:r>
              <a:rPr lang="ru-RU" dirty="0" smtClean="0"/>
              <a:t>Они учатся </a:t>
            </a:r>
            <a:r>
              <a:rPr lang="ru-RU" i="1" dirty="0" smtClean="0"/>
              <a:t>сотрудничать</a:t>
            </a:r>
            <a:r>
              <a:rPr lang="ru-RU" dirty="0" smtClean="0"/>
              <a:t>: осознавать необходимость сотрудничества в определённых ситуациях, распределять обязанности, определять вклад каждого, личный вклад, осваивать роли как лидера, так и члена команды. Осваивают роли, соответствующие тем или иным функциям учебной деятельности.</a:t>
            </a:r>
          </a:p>
          <a:p>
            <a:pPr indent="287970"/>
            <a:r>
              <a:rPr lang="ru-RU" dirty="0" smtClean="0"/>
              <a:t>Навык позиционного сотрудничества лежит и в основе любой творческой деятельности, поскольку </a:t>
            </a:r>
            <a:r>
              <a:rPr lang="ru-RU" b="1" dirty="0" smtClean="0"/>
              <a:t>приучает детей всё время рассматривать объекты, явления, суждения с разных точек зрения, с разных позиций</a:t>
            </a:r>
            <a:r>
              <a:rPr lang="ru-RU" dirty="0" smtClean="0"/>
              <a:t>; </a:t>
            </a:r>
            <a:r>
              <a:rPr lang="ru-RU" b="1" dirty="0" smtClean="0"/>
              <a:t>учит сомневаться</a:t>
            </a:r>
            <a:r>
              <a:rPr lang="ru-RU" dirty="0" smtClean="0"/>
              <a:t>, </a:t>
            </a:r>
            <a:r>
              <a:rPr lang="ru-RU" b="1" dirty="0" smtClean="0"/>
              <a:t>ставить проблемы </a:t>
            </a:r>
            <a:r>
              <a:rPr lang="ru-RU" dirty="0" smtClean="0"/>
              <a:t>и </a:t>
            </a:r>
            <a:r>
              <a:rPr lang="ru-RU" b="1" dirty="0" smtClean="0"/>
              <a:t>предлагать решения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Лучший способ формировать навыки учебного сотрудничества</a:t>
            </a:r>
            <a:r>
              <a:rPr lang="ru-RU" baseline="0" dirty="0" smtClean="0"/>
              <a:t> (позиционного сотрудничества), навыки учения в общении – это предоставить детям возможность </a:t>
            </a:r>
            <a:r>
              <a:rPr lang="ru-RU" b="1" baseline="0" dirty="0" smtClean="0"/>
              <a:t>работать в парах и малых группах</a:t>
            </a:r>
            <a:r>
              <a:rPr lang="ru-RU" baseline="0" dirty="0" smtClean="0"/>
              <a:t>. Такие задания широко представлены во всех наших учебниках начиная с 1 класса.</a:t>
            </a:r>
            <a:endParaRPr lang="ru-RU" dirty="0" smtClean="0"/>
          </a:p>
          <a:p>
            <a:pPr indent="287970"/>
            <a:endParaRPr lang="ru-RU" dirty="0" smtClean="0"/>
          </a:p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2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Учебное сотрудничество – важнейшая и необходимая составляющая учебной самостоятельности (т. е. умения самостоятельно учить себя). </a:t>
            </a:r>
          </a:p>
          <a:p>
            <a:pPr marL="0" marR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ё в школе дети должны понять, что может быть и иное мнение, научиться </a:t>
            </a:r>
            <a:r>
              <a:rPr lang="ru-RU" i="1" dirty="0" smtClean="0"/>
              <a:t>слушать и слышать мнение партнёра</a:t>
            </a:r>
            <a:r>
              <a:rPr lang="ru-RU" dirty="0" smtClean="0"/>
              <a:t>. Обмен мнениями, позициями по поводу учебного задания – </a:t>
            </a:r>
            <a:r>
              <a:rPr lang="ru-RU" i="1" dirty="0" smtClean="0"/>
              <a:t>А ты как понял задание? А ты как будешь делать? А как ты делал? … –  </a:t>
            </a:r>
            <a:r>
              <a:rPr lang="ru-RU" dirty="0" smtClean="0"/>
              <a:t>и позволяет ребёнку </a:t>
            </a:r>
            <a:r>
              <a:rPr lang="ru-RU" i="1" dirty="0" smtClean="0"/>
              <a:t>понять учебную задачу</a:t>
            </a:r>
            <a:r>
              <a:rPr lang="ru-RU" dirty="0" smtClean="0"/>
              <a:t>, </a:t>
            </a:r>
            <a:r>
              <a:rPr lang="ru-RU" i="1" dirty="0" smtClean="0"/>
              <a:t>увидеть противоречия</a:t>
            </a:r>
            <a:r>
              <a:rPr lang="ru-RU" dirty="0" smtClean="0"/>
              <a:t>, </a:t>
            </a:r>
            <a:r>
              <a:rPr lang="ru-RU" i="1" dirty="0" smtClean="0"/>
              <a:t>задать вопрос </a:t>
            </a:r>
            <a:r>
              <a:rPr lang="ru-RU" dirty="0" smtClean="0"/>
              <a:t>учителю, </a:t>
            </a:r>
            <a:r>
              <a:rPr lang="ru-RU" i="1" dirty="0" smtClean="0"/>
              <a:t>сформулировать образовательный запрос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Дети учатся уважительно обращаться друг к другу, осваивают речевые обороты (формулы) для прояснения позиций и порядка обсуждения, учатся действовать в ситуации несогласия, выявлять противоречия и конструктивно разрешать конфликты.</a:t>
            </a:r>
          </a:p>
          <a:p>
            <a:pPr indent="287970"/>
            <a:r>
              <a:rPr lang="ru-RU" dirty="0" smtClean="0"/>
              <a:t>Они учатся </a:t>
            </a:r>
            <a:r>
              <a:rPr lang="ru-RU" i="1" dirty="0" smtClean="0"/>
              <a:t>сотрудничать</a:t>
            </a:r>
            <a:r>
              <a:rPr lang="ru-RU" dirty="0" smtClean="0"/>
              <a:t>: осознавать необходимость сотрудничества в определённых ситуациях, распределять обязанности, определять вклад каждого, личный вклад, осваивать роли как лидера, так и члена команды. Осваивают роли, соответствующие тем или иным функциям учебной деятельности.</a:t>
            </a:r>
          </a:p>
          <a:p>
            <a:pPr indent="287970"/>
            <a:r>
              <a:rPr lang="ru-RU" dirty="0" smtClean="0"/>
              <a:t>Навык позиционного сотрудничества лежит и в основе любой творческой деятельности, поскольку </a:t>
            </a:r>
            <a:r>
              <a:rPr lang="ru-RU" b="1" dirty="0" smtClean="0"/>
              <a:t>приучает детей всё время рассматривать объекты, явления, суждения с разных точек зрения, с разных позиций</a:t>
            </a:r>
            <a:r>
              <a:rPr lang="ru-RU" dirty="0" smtClean="0"/>
              <a:t>; </a:t>
            </a:r>
            <a:r>
              <a:rPr lang="ru-RU" b="1" dirty="0" smtClean="0"/>
              <a:t>учит сомневаться</a:t>
            </a:r>
            <a:r>
              <a:rPr lang="ru-RU" dirty="0" smtClean="0"/>
              <a:t>, </a:t>
            </a:r>
            <a:r>
              <a:rPr lang="ru-RU" b="1" dirty="0" smtClean="0"/>
              <a:t>ставить проблемы </a:t>
            </a:r>
            <a:r>
              <a:rPr lang="ru-RU" dirty="0" smtClean="0"/>
              <a:t>и </a:t>
            </a:r>
            <a:r>
              <a:rPr lang="ru-RU" b="1" dirty="0" smtClean="0"/>
              <a:t>предлагать решения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Лучший способ формировать навыки учебного сотрудничества</a:t>
            </a:r>
            <a:r>
              <a:rPr lang="ru-RU" baseline="0" dirty="0" smtClean="0"/>
              <a:t> (позиционного сотрудничества), навыки учения в общении – это предоставить детям возможность </a:t>
            </a:r>
            <a:r>
              <a:rPr lang="ru-RU" b="1" baseline="0" dirty="0" smtClean="0"/>
              <a:t>работать в парах и малых группах</a:t>
            </a:r>
            <a:r>
              <a:rPr lang="ru-RU" baseline="0" dirty="0" smtClean="0"/>
              <a:t>. Такие задания широко представлены во всех наших учебниках начиная с 1 класса.</a:t>
            </a:r>
            <a:endParaRPr lang="ru-RU" dirty="0" smtClean="0"/>
          </a:p>
          <a:p>
            <a:pPr indent="287970"/>
            <a:endParaRPr lang="ru-RU" dirty="0" smtClean="0"/>
          </a:p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2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b="1" dirty="0" smtClean="0"/>
              <a:t>Поисковая активность </a:t>
            </a:r>
            <a:r>
              <a:rPr lang="ru-RU" dirty="0" smtClean="0"/>
              <a:t>– т. е. готовность и способность вести как целенаправленный поиск решения, например на основе гипотезы, так и искать ответы и решения с помощью простого перебора вариантов в сочетании с анализом как получаемых результатов, так и способов решения – </a:t>
            </a:r>
            <a:r>
              <a:rPr lang="ru-RU" b="1" dirty="0" smtClean="0"/>
              <a:t>ключевой компонент учебной</a:t>
            </a:r>
            <a:r>
              <a:rPr lang="ru-RU" b="1" baseline="0" dirty="0" smtClean="0"/>
              <a:t> деятельности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Освоить навыки поисковой активности – означает освоить одну из наиболее эффективных стратегий поведения в ситуации неопределённости. </a:t>
            </a:r>
          </a:p>
          <a:p>
            <a:pPr indent="287970"/>
            <a:r>
              <a:rPr lang="ru-RU" dirty="0" smtClean="0"/>
              <a:t>Навыки поисковой активности – это умение 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наблюдать и задавать вопросы, ставить исследовательские вопросы,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высказывать предположения (например, в ответ на вопрос учителя «А ты как думаешь?»), 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рассматривать любое утверждение с разных позиций и выявлять противоречия, выявлять и формулировать проблему,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предлагать возможные способы проверки высказанных предположений </a:t>
            </a:r>
            <a:r>
              <a:rPr lang="ru-RU" sz="1100" dirty="0" smtClean="0"/>
              <a:t>(обращаться к личному опыту, прибегать к рассуждениям и аргументации, прибегать к разумным и адекватным методам проверки – наблюдениям, эксперименту, измерениям, опросу, анкетированию, интервью, моделированию, пробным образцам и др., обращаться к надёжным источникам информации – словарям , справочникам и текстам, картам, статистике, хронологии и т. д.)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использовать различные методы и способы фиксации информации </a:t>
            </a:r>
            <a:r>
              <a:rPr lang="ru-RU" sz="1200" dirty="0" smtClean="0"/>
              <a:t>–</a:t>
            </a:r>
            <a:r>
              <a:rPr lang="ru-RU" dirty="0" smtClean="0"/>
              <a:t> делать выписки, записывать тезисы и основные выводы, строить таблицы, графики, диаграммы, картосхемы, опорные схемы и т. п.</a:t>
            </a:r>
          </a:p>
          <a:p>
            <a:pPr indent="287970"/>
            <a:endParaRPr lang="ru-RU" dirty="0" smtClean="0"/>
          </a:p>
          <a:p>
            <a:pPr indent="287970"/>
            <a:r>
              <a:rPr lang="ru-RU" sz="1200" dirty="0" smtClean="0"/>
              <a:t>Во всех учебных изданиях представлена система заданий на формирование навыков поисковой активности: задания на поиск информации и работу с ней, на</a:t>
            </a:r>
            <a:r>
              <a:rPr lang="ru-RU" sz="1200" baseline="0" dirty="0" smtClean="0"/>
              <a:t> </a:t>
            </a:r>
            <a:r>
              <a:rPr lang="ru-RU" sz="1200" dirty="0" smtClean="0"/>
              <a:t>анализ и интерпретацию, на оценки, на выявление противоречий, на постановку проблемы (</a:t>
            </a:r>
            <a:r>
              <a:rPr lang="ru-RU" sz="1200" i="1" dirty="0" smtClean="0"/>
              <a:t>Кто прав?, Как проверить? А что, если.. ? </a:t>
            </a:r>
            <a:r>
              <a:rPr lang="ru-RU" sz="1200" dirty="0" smtClean="0"/>
              <a:t>и др.).</a:t>
            </a:r>
          </a:p>
          <a:p>
            <a:pPr indent="287970"/>
            <a:r>
              <a:rPr lang="ru-RU" sz="1200" dirty="0" smtClean="0"/>
              <a:t>Особое значение для формирования навыков поисковой активности имеют такие формы учебной работы как </a:t>
            </a:r>
            <a:r>
              <a:rPr lang="ru-RU" sz="1200" b="1" dirty="0" smtClean="0"/>
              <a:t>учебный проект и учебное исследование</a:t>
            </a:r>
            <a:r>
              <a:rPr lang="ru-RU" sz="1200" dirty="0" smtClean="0"/>
              <a:t>. Поисковые и исследовательские задания включены во все без исключения учебники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3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0973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b="1" dirty="0" smtClean="0"/>
              <a:t>Поисковая активность </a:t>
            </a:r>
            <a:r>
              <a:rPr lang="ru-RU" dirty="0" smtClean="0"/>
              <a:t>– т. е. готовность и способность вести как целенаправленный поиск решения, например на основе гипотезы, так и искать ответы и решения с помощью простого перебора вариантов в сочетании с анализом как получаемых результатов, так и способов решения – </a:t>
            </a:r>
            <a:r>
              <a:rPr lang="ru-RU" b="1" dirty="0" smtClean="0"/>
              <a:t>ключевой компонент учебной</a:t>
            </a:r>
            <a:r>
              <a:rPr lang="ru-RU" b="1" baseline="0" dirty="0" smtClean="0"/>
              <a:t> деятельности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Освоить навыки поисковой активности – означает освоить одну из наиболее эффективных стратегий поведения в ситуации неопределённости. </a:t>
            </a:r>
          </a:p>
          <a:p>
            <a:pPr indent="287970"/>
            <a:r>
              <a:rPr lang="ru-RU" dirty="0" smtClean="0"/>
              <a:t>Навыки поисковой активности – это умение 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наблюдать и задавать вопросы, ставить исследовательские вопросы,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высказывать предположения (например, в ответ на вопрос учителя «А ты как думаешь?»), 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рассматривать любое утверждение с разных позиций и выявлять противоречия, выявлять и формулировать проблему,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предлагать возможные способы проверки высказанных предположений </a:t>
            </a:r>
            <a:r>
              <a:rPr lang="ru-RU" sz="1100" dirty="0" smtClean="0"/>
              <a:t>(обращаться к личному опыту, прибегать к рассуждениям и аргументации, прибегать к разумным и адекватным методам проверки – наблюдениям, эксперименту, измерениям, опросу, анкетированию, интервью, моделированию, пробным образцам и др., обращаться к надёжным источникам информации – словарям , справочникам и текстам, картам, статистике, хронологии и т. д.)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использовать различные методы и способы фиксации информации </a:t>
            </a:r>
            <a:r>
              <a:rPr lang="ru-RU" sz="1200" dirty="0" smtClean="0"/>
              <a:t>–</a:t>
            </a:r>
            <a:r>
              <a:rPr lang="ru-RU" dirty="0" smtClean="0"/>
              <a:t> делать выписки, записывать тезисы и основные выводы, строить таблицы, графики, диаграммы, картосхемы, опорные схемы и т. п.</a:t>
            </a:r>
          </a:p>
          <a:p>
            <a:pPr indent="287970"/>
            <a:endParaRPr lang="ru-RU" dirty="0" smtClean="0"/>
          </a:p>
          <a:p>
            <a:pPr indent="287970"/>
            <a:r>
              <a:rPr lang="ru-RU" sz="1200" dirty="0" smtClean="0"/>
              <a:t>Во всех учебных изданиях представлена система заданий на формирование навыков поисковой активности: задания на поиск информации и работу с ней, на</a:t>
            </a:r>
            <a:r>
              <a:rPr lang="ru-RU" sz="1200" baseline="0" dirty="0" smtClean="0"/>
              <a:t> </a:t>
            </a:r>
            <a:r>
              <a:rPr lang="ru-RU" sz="1200" dirty="0" smtClean="0"/>
              <a:t>анализ и интерпретацию, на оценки, на выявление противоречий, на постановку проблемы (</a:t>
            </a:r>
            <a:r>
              <a:rPr lang="ru-RU" sz="1200" i="1" dirty="0" smtClean="0"/>
              <a:t>Кто прав?, Как проверить? А что, если.. ? </a:t>
            </a:r>
            <a:r>
              <a:rPr lang="ru-RU" sz="1200" dirty="0" smtClean="0"/>
              <a:t>и др.).</a:t>
            </a:r>
          </a:p>
          <a:p>
            <a:pPr indent="287970"/>
            <a:r>
              <a:rPr lang="ru-RU" sz="1200" dirty="0" smtClean="0"/>
              <a:t>Особое значение для формирования навыков поисковой активности имеют такие формы учебной работы как </a:t>
            </a:r>
            <a:r>
              <a:rPr lang="ru-RU" sz="1200" b="1" dirty="0" smtClean="0"/>
              <a:t>учебный проект и учебное исследование</a:t>
            </a:r>
            <a:r>
              <a:rPr lang="ru-RU" sz="1200" dirty="0" smtClean="0"/>
              <a:t>. Поисковые и исследовательские задания включены во все без исключения учебники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3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0973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b="1" dirty="0" smtClean="0"/>
              <a:t>Поисковая активность </a:t>
            </a:r>
            <a:r>
              <a:rPr lang="ru-RU" dirty="0" smtClean="0"/>
              <a:t>– т. е. готовность и способность вести как целенаправленный поиск решения, например на основе гипотезы, так и искать ответы и решения с помощью простого перебора вариантов в сочетании с анализом как получаемых результатов, так и способов решения – </a:t>
            </a:r>
            <a:r>
              <a:rPr lang="ru-RU" b="1" dirty="0" smtClean="0"/>
              <a:t>ключевой компонент учебной</a:t>
            </a:r>
            <a:r>
              <a:rPr lang="ru-RU" b="1" baseline="0" dirty="0" smtClean="0"/>
              <a:t> деятельности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Освоить навыки поисковой активности – означает освоить одну из наиболее эффективных стратегий поведения в ситуации неопределённости. </a:t>
            </a:r>
          </a:p>
          <a:p>
            <a:pPr indent="287970"/>
            <a:r>
              <a:rPr lang="ru-RU" dirty="0" smtClean="0"/>
              <a:t>Навыки поисковой активности – это умение 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наблюдать и задавать вопросы, ставить исследовательские вопросы,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высказывать предположения (например, в ответ на вопрос учителя «А ты как думаешь?»), 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рассматривать любое утверждение с разных позиций и выявлять противоречия, выявлять и формулировать проблему,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предлагать возможные способы проверки высказанных предположений </a:t>
            </a:r>
            <a:r>
              <a:rPr lang="ru-RU" sz="1100" dirty="0" smtClean="0"/>
              <a:t>(обращаться к личному опыту, прибегать к рассуждениям и аргументации, прибегать к разумным и адекватным методам проверки – наблюдениям, эксперименту, измерениям, опросу, анкетированию, интервью, моделированию, пробным образцам и др., обращаться к надёжным источникам информации – словарям , справочникам и текстам, картам, статистике, хронологии и т. д.)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использовать различные методы и способы фиксации информации </a:t>
            </a:r>
            <a:r>
              <a:rPr lang="ru-RU" sz="1200" dirty="0" smtClean="0"/>
              <a:t>–</a:t>
            </a:r>
            <a:r>
              <a:rPr lang="ru-RU" dirty="0" smtClean="0"/>
              <a:t> делать выписки, записывать тезисы и основные выводы, строить таблицы, графики, диаграммы, картосхемы, опорные схемы и т. п.</a:t>
            </a:r>
          </a:p>
          <a:p>
            <a:pPr indent="287970"/>
            <a:endParaRPr lang="ru-RU" dirty="0" smtClean="0"/>
          </a:p>
          <a:p>
            <a:pPr indent="287970"/>
            <a:r>
              <a:rPr lang="ru-RU" sz="1200" dirty="0" smtClean="0"/>
              <a:t>Во всех учебных изданиях представлена система заданий на формирование навыков поисковой активности: задания на поиск информации и работу с ней, на</a:t>
            </a:r>
            <a:r>
              <a:rPr lang="ru-RU" sz="1200" baseline="0" dirty="0" smtClean="0"/>
              <a:t> </a:t>
            </a:r>
            <a:r>
              <a:rPr lang="ru-RU" sz="1200" dirty="0" smtClean="0"/>
              <a:t>анализ и интерпретацию, на оценки, на выявление противоречий, на постановку проблемы (</a:t>
            </a:r>
            <a:r>
              <a:rPr lang="ru-RU" sz="1200" i="1" dirty="0" smtClean="0"/>
              <a:t>Кто прав?, Как проверить? А что, если.. ? </a:t>
            </a:r>
            <a:r>
              <a:rPr lang="ru-RU" sz="1200" dirty="0" smtClean="0"/>
              <a:t>и др.).</a:t>
            </a:r>
          </a:p>
          <a:p>
            <a:pPr indent="287970"/>
            <a:r>
              <a:rPr lang="ru-RU" sz="1200" dirty="0" smtClean="0"/>
              <a:t>Особое значение для формирования навыков поисковой активности имеют такие формы учебной работы как </a:t>
            </a:r>
            <a:r>
              <a:rPr lang="ru-RU" sz="1200" b="1" dirty="0" smtClean="0"/>
              <a:t>учебный проект и учебное исследование</a:t>
            </a:r>
            <a:r>
              <a:rPr lang="ru-RU" sz="1200" dirty="0" smtClean="0"/>
              <a:t>. Поисковые и исследовательские задания включены во все без исключения учебники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3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097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algn="just"/>
            <a:r>
              <a:rPr lang="ru-RU" sz="1000" dirty="0"/>
              <a:t>Кому адресован Указ Президента? Прежде всего, – Правительству  и ведомствам. Но не только. Правительства и ведомства могут – и должны – создать необходимые условия (создать материальную базу и выделить финансы, устранить препятствия, организовать работу, и т.п.). </a:t>
            </a:r>
          </a:p>
          <a:p>
            <a:pPr indent="287970" algn="just"/>
            <a:r>
              <a:rPr lang="ru-RU" sz="1000" dirty="0" smtClean="0"/>
              <a:t>Но </a:t>
            </a:r>
            <a:r>
              <a:rPr lang="ru-RU" sz="1000" dirty="0"/>
              <a:t>никакие меры не смогут увеличить </a:t>
            </a:r>
            <a:r>
              <a:rPr lang="ru-RU" sz="1000" i="1" dirty="0"/>
              <a:t>продолжительность жизни</a:t>
            </a:r>
            <a:r>
              <a:rPr lang="ru-RU" sz="1000" dirty="0"/>
              <a:t>, если </a:t>
            </a:r>
            <a:r>
              <a:rPr lang="ru-RU" sz="1000" i="1" dirty="0"/>
              <a:t>здоровый образ жизни </a:t>
            </a:r>
            <a:r>
              <a:rPr lang="ru-RU" sz="1000" dirty="0"/>
              <a:t>не станет повседневной привычкой </a:t>
            </a:r>
            <a:r>
              <a:rPr lang="ru-RU" sz="1000" u="sng" dirty="0"/>
              <a:t>каждого</a:t>
            </a:r>
            <a:r>
              <a:rPr lang="ru-RU" sz="1000" dirty="0"/>
              <a:t>.</a:t>
            </a:r>
          </a:p>
          <a:p>
            <a:pPr indent="287970" algn="just"/>
            <a:r>
              <a:rPr lang="ru-RU" sz="1000" i="1" dirty="0" smtClean="0"/>
              <a:t>Повышение </a:t>
            </a:r>
            <a:r>
              <a:rPr lang="ru-RU" sz="1000" i="1" dirty="0"/>
              <a:t>уровня жизни </a:t>
            </a:r>
            <a:r>
              <a:rPr lang="ru-RU" sz="1000" dirty="0"/>
              <a:t>тоже не произойдёт по мановению волшебной палочки. И не спустится на нас в виде пенсиона или ренты. Это результат сознательных и целенаправленных усилий </a:t>
            </a:r>
            <a:r>
              <a:rPr lang="ru-RU" sz="1000" u="sng" dirty="0"/>
              <a:t>каждого</a:t>
            </a:r>
            <a:r>
              <a:rPr lang="ru-RU" sz="1000" dirty="0"/>
              <a:t> по </a:t>
            </a:r>
            <a:r>
              <a:rPr lang="ru-RU" sz="1000" i="1" dirty="0"/>
              <a:t>самопознанию и самореализации</a:t>
            </a:r>
            <a:r>
              <a:rPr lang="ru-RU" sz="1000" dirty="0"/>
              <a:t>, по поиску своего дела, по </a:t>
            </a:r>
            <a:r>
              <a:rPr lang="ru-RU" sz="1000" i="1" dirty="0"/>
              <a:t>повышению своего образовательного уровня и профессионального мастерства</a:t>
            </a:r>
            <a:r>
              <a:rPr lang="ru-RU" sz="1000" dirty="0"/>
              <a:t>.</a:t>
            </a:r>
            <a:endParaRPr lang="en-US" sz="1000" dirty="0"/>
          </a:p>
          <a:p>
            <a:pPr indent="287970" algn="just"/>
            <a:r>
              <a:rPr lang="ru-RU" sz="1000" i="1" dirty="0" smtClean="0"/>
              <a:t>Прорывные </a:t>
            </a:r>
            <a:r>
              <a:rPr lang="ru-RU" sz="1000" i="1" dirty="0"/>
              <a:t>технологи</a:t>
            </a:r>
            <a:r>
              <a:rPr lang="ru-RU" sz="1000" dirty="0"/>
              <a:t>и требуют прежде всего </a:t>
            </a:r>
            <a:r>
              <a:rPr lang="ru-RU" sz="1000" i="1" dirty="0"/>
              <a:t>высококвалифицированных кадров</a:t>
            </a:r>
            <a:r>
              <a:rPr lang="ru-RU" sz="1000" dirty="0"/>
              <a:t>, которыми могут стать – а могут и не захотеть ими становиться – сегодняшние выпускники. …</a:t>
            </a:r>
            <a:endParaRPr lang="en-US" sz="1000" dirty="0"/>
          </a:p>
          <a:p>
            <a:pPr indent="287970" algn="just"/>
            <a:r>
              <a:rPr lang="ru-RU" sz="1000" dirty="0" smtClean="0"/>
              <a:t>Так </a:t>
            </a:r>
            <a:r>
              <a:rPr lang="ru-RU" sz="1000" b="1" dirty="0"/>
              <a:t>какие же выпускники требуются России сегодня</a:t>
            </a:r>
            <a:r>
              <a:rPr lang="ru-RU" sz="1000" dirty="0"/>
              <a:t>? На что должна быть нацелена работа системы образования и каждого педагога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120" y="8685632"/>
            <a:ext cx="2972280" cy="456909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0809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От того, кто выполняет </a:t>
            </a:r>
            <a:r>
              <a:rPr lang="ru-RU" baseline="0" dirty="0" smtClean="0"/>
              <a:t>функции контроля и оценки, – присваивает ли учитель эти функции только себе или делится ими с ребёнком, – во многом зависит эффективность обучения.</a:t>
            </a:r>
          </a:p>
          <a:p>
            <a:pPr indent="287970"/>
            <a:r>
              <a:rPr lang="ru-RU" dirty="0" smtClean="0"/>
              <a:t>Включение ребёнка в самостоятельную оценочную деятельность – лучший способ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снять его/её зависимость от внешней оценки (учителя, взрослых),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dirty="0" smtClean="0"/>
              <a:t>помочь ребёнку осознать,</a:t>
            </a:r>
          </a:p>
          <a:p>
            <a:pPr lvl="1" indent="287970"/>
            <a:r>
              <a:rPr lang="ru-RU" dirty="0" smtClean="0"/>
              <a:t>(1) в чём у него/неё проблемы,</a:t>
            </a:r>
          </a:p>
          <a:p>
            <a:pPr lvl="1" indent="287970"/>
            <a:r>
              <a:rPr lang="ru-RU" dirty="0" smtClean="0"/>
              <a:t>(2) что нужно делать, чему нужно научиться, чтобы этих проблем не стало,</a:t>
            </a:r>
          </a:p>
          <a:p>
            <a:pPr lvl="1" indent="287970"/>
            <a:r>
              <a:rPr lang="ru-RU" dirty="0" smtClean="0"/>
              <a:t>(3) как это можно сделать.</a:t>
            </a:r>
          </a:p>
          <a:p>
            <a:pPr indent="287970"/>
            <a:r>
              <a:rPr lang="ru-RU" dirty="0" smtClean="0"/>
              <a:t>Обретение оценочной самостоятельности основано на овладении школьниками 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измерительными инструментами,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критериями, нормами и шкалами,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ru-RU" dirty="0" smtClean="0"/>
              <a:t>правилами вынесения оценочных суждений.</a:t>
            </a:r>
          </a:p>
          <a:p>
            <a:pPr marL="0" lvl="1" indent="288000">
              <a:buFont typeface="Arial" pitchFamily="34" charset="0"/>
              <a:buNone/>
            </a:pPr>
            <a:r>
              <a:rPr lang="ru-RU" dirty="0" smtClean="0"/>
              <a:t>Овладение</a:t>
            </a:r>
            <a:r>
              <a:rPr lang="ru-RU" baseline="0" dirty="0" smtClean="0"/>
              <a:t> этими умениями </a:t>
            </a:r>
            <a:r>
              <a:rPr lang="ru-RU" dirty="0" smtClean="0"/>
              <a:t>помогает школьникам отделить область своего ЗНАНИЯ от области НЕЗНАНИЯ, что является необходимым условием умения ставить личные познавательные цели.</a:t>
            </a:r>
          </a:p>
          <a:p>
            <a:pPr marL="0" lvl="1" indent="288000">
              <a:buFont typeface="Arial" pitchFamily="34" charset="0"/>
              <a:buNone/>
            </a:pPr>
            <a:endParaRPr lang="ru-RU" dirty="0" smtClean="0"/>
          </a:p>
          <a:p>
            <a:pPr indent="288000"/>
            <a:r>
              <a:rPr lang="ru-RU" dirty="0" smtClean="0">
                <a:latin typeface="Arial" charset="0"/>
                <a:ea typeface="Arial" charset="0"/>
                <a:cs typeface="Arial" charset="0"/>
              </a:rPr>
              <a:t>Во всех наших учебных изданиях – и в учебниках,</a:t>
            </a:r>
            <a:r>
              <a:rPr lang="ru-RU" baseline="0" dirty="0" smtClean="0">
                <a:latin typeface="Arial" charset="0"/>
                <a:ea typeface="Arial" charset="0"/>
                <a:cs typeface="Arial" charset="0"/>
              </a:rPr>
              <a:t> и в пособиях, и рабочих материалах –</a:t>
            </a:r>
            <a:r>
              <a:rPr lang="ru-RU" dirty="0" smtClean="0">
                <a:latin typeface="Arial" charset="0"/>
                <a:ea typeface="Arial" charset="0"/>
                <a:cs typeface="Arial" charset="0"/>
              </a:rPr>
              <a:t> представлены системы заданий на</a:t>
            </a:r>
          </a:p>
          <a:p>
            <a:pPr marL="628633" lvl="1" indent="-171433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charset="0"/>
                <a:ea typeface="Arial" charset="0"/>
                <a:cs typeface="Arial" charset="0"/>
              </a:rPr>
              <a:t>взаимо- и самооценку,</a:t>
            </a:r>
          </a:p>
          <a:p>
            <a:pPr marL="628633" lvl="1" indent="-171433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charset="0"/>
                <a:ea typeface="Arial" charset="0"/>
                <a:cs typeface="Arial" charset="0"/>
              </a:rPr>
              <a:t>оценку по критериям,</a:t>
            </a:r>
          </a:p>
          <a:p>
            <a:pPr marL="628633" lvl="1" indent="-171433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charset="0"/>
                <a:ea typeface="Arial" charset="0"/>
                <a:cs typeface="Arial" charset="0"/>
              </a:rPr>
              <a:t>выработку критериев,</a:t>
            </a:r>
          </a:p>
          <a:p>
            <a:pPr marL="628633" lvl="1" indent="-171433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charset="0"/>
                <a:ea typeface="Arial" charset="0"/>
                <a:cs typeface="Arial" charset="0"/>
              </a:rPr>
              <a:t>рефлексию и принятие личных решений (</a:t>
            </a:r>
            <a:r>
              <a:rPr lang="ru-RU" i="1" dirty="0" smtClean="0">
                <a:latin typeface="Arial" charset="0"/>
                <a:ea typeface="Arial" charset="0"/>
                <a:cs typeface="Arial" charset="0"/>
              </a:rPr>
              <a:t>Что учить? Что мне важно и для чего</a:t>
            </a:r>
            <a:r>
              <a:rPr lang="ru-RU" dirty="0" smtClean="0">
                <a:latin typeface="Arial" charset="0"/>
                <a:ea typeface="Arial" charset="0"/>
                <a:cs typeface="Arial" charset="0"/>
              </a:rPr>
              <a:t>? и т. п.).</a:t>
            </a:r>
          </a:p>
          <a:p>
            <a:pPr indent="287970"/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3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5884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0077D-FD54-4016-A577-E5DE20C5B14A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4011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55415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C14681-DDB6-44E6-A68B-E5AD175429A3}" type="slidenum">
              <a:rPr lang="ru-RU" smtClean="0">
                <a:solidFill>
                  <a:prstClr val="black"/>
                </a:solidFill>
              </a:rPr>
              <a:pPr/>
              <a:t>4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443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C14681-DDB6-44E6-A68B-E5AD175429A3}" type="slidenum">
              <a:rPr lang="ru-RU" smtClean="0">
                <a:solidFill>
                  <a:prstClr val="black"/>
                </a:solidFill>
              </a:rPr>
              <a:pPr/>
              <a:t>4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220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4199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091641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2880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авильно выстроенная система проб в основной школе поможет каждому выбрать своё направление профильного обучения. Каждый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офиль издательство поддерживает </a:t>
            </a:r>
            <a:r>
              <a:rPr lang="ru-RU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иками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включенными в федеральный перечень и </a:t>
            </a:r>
            <a:r>
              <a:rPr lang="ru-RU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ерией пособий 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Профильное обучение».</a:t>
            </a:r>
            <a:endParaRPr lang="ru-RU" dirty="0" smtClean="0"/>
          </a:p>
          <a:p>
            <a:pPr indent="288000" algn="just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ыпускаемая серия «Профильная школа» обеспечивает поддержку успешного профильного обучения и профессионального самоопределения старшеклассников.</a:t>
            </a:r>
          </a:p>
          <a:p>
            <a:pPr indent="288000" algn="just"/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 algn="just"/>
            <a:r>
              <a:rPr lang="ru-RU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</a:t>
            </a:r>
            <a:r>
              <a:rPr lang="ru-RU" sz="10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 серии </a:t>
            </a:r>
            <a:r>
              <a:rPr lang="ru-RU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Профильная школа» </a:t>
            </a:r>
          </a:p>
          <a:p>
            <a:pPr indent="288000" algn="just"/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лесообразное сочетание содержания, форм и технологий обучения способствует воплощению личностных устремлений обучающихся, создает условия для развития потенциала и профессионального самоопределения каждого ученика.</a:t>
            </a:r>
          </a:p>
          <a:p>
            <a:pPr indent="288000" algn="just"/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ый материал представлен большим числом практических работ.</a:t>
            </a:r>
          </a:p>
          <a:p>
            <a:pPr indent="288000" algn="just"/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МЕРНЫЕ РАБОЧИЕ ПРОГРАММЫ И ПОСОБИЯ</a:t>
            </a: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ЕРИИ ПОЗВОЛЯЮТ:</a:t>
            </a: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∙ реализовать технологический, естественно-научный, социально-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кономический, гуманитарный и универсальный профили на основе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рганизации продуктивной (творческой) деятельности детей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∙ обеспечить осознанное вовлечение обучающихся в изучение профильных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ых предметов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∙ помочь в построении индивидуальной образовательной траектории,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риентировать учащихся в вопросах выбора будущей профессии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∙ познакомить старшеклассников со спецификой видов деятельности, которые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удут для них ведущими с точки зрения профессиональной перспективы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∙ сэкономить время учителя на подготовку материала и дать ему возможность</a:t>
            </a:r>
          </a:p>
          <a:p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иболее полно проявить свою профессиональную компетентность</a:t>
            </a:r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4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4460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249792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Цифровая образовательная</a:t>
            </a:r>
            <a:r>
              <a:rPr lang="ru-RU" sz="1200" kern="1200" baseline="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 среда и федеральная информационно-сервисная платформа цифровой образовательной среды – разные понятия. </a:t>
            </a:r>
          </a:p>
          <a:p>
            <a:r>
              <a:rPr lang="ru-RU" sz="1200" kern="1200" baseline="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ЦОС – в первую очередь, социальных система отношений, возникающих в связи с привнесением в сферу образования технологий больших данных и искусственного интеллекта. </a:t>
            </a:r>
          </a:p>
          <a:p>
            <a:endParaRPr lang="ru-RU" sz="1200" kern="1200" baseline="0" dirty="0" smtClean="0">
              <a:solidFill>
                <a:srgbClr val="003366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baseline="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Платформа ЦОС – совокупность информационных сервисов и ресурсов, используемых в сфере образования, интегрированная с другими государственными (федеральными и региональными) системами, использующих единые стандарты информации, механизмы аутентификации, идентификации, определения ролей, обеспечивающих решение задач участников сферы образования.</a:t>
            </a:r>
          </a:p>
          <a:p>
            <a:r>
              <a:rPr lang="ru-RU" sz="1200" kern="1200" baseline="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   </a:t>
            </a:r>
          </a:p>
          <a:p>
            <a:r>
              <a:rPr lang="ru-RU" sz="1200" kern="120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ЦИФРОВЫЕ УЧЕБНО-МЕТОДИЧЕСКИЕ КОМПЛЕКСЫ (ЦУМК) - это единство (синергия) двух компонентов </a:t>
            </a:r>
            <a:r>
              <a:rPr lang="ru-RU" sz="1200" kern="1200" baseline="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 -</a:t>
            </a:r>
            <a:r>
              <a:rPr lang="ru-RU" sz="1200" kern="120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 технологической оболочки представления и содержания, </a:t>
            </a:r>
            <a:br>
              <a:rPr lang="ru-RU" sz="1200" kern="120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</a:br>
            <a:r>
              <a:rPr lang="ru-RU" sz="1200" kern="120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комплекс адаптивных средств обучения и воспитания</a:t>
            </a:r>
            <a:r>
              <a:rPr lang="en-US" sz="1200" kern="120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, </a:t>
            </a:r>
            <a:r>
              <a:rPr lang="ru-RU" sz="1200" kern="120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обеспечивающих возможность реализации индивидуальной</a:t>
            </a:r>
            <a:r>
              <a:rPr lang="ru-RU" sz="1200" kern="1200" baseline="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 образовательной траектории</a:t>
            </a:r>
            <a:r>
              <a:rPr lang="ru-RU" sz="1200" kern="1200" dirty="0" smtClean="0">
                <a:solidFill>
                  <a:srgbClr val="003366"/>
                </a:solidFill>
                <a:latin typeface="+mn-lt"/>
                <a:ea typeface="+mn-ea"/>
                <a:cs typeface="+mn-cs"/>
              </a:rPr>
              <a:t> для каждого обучающегося.</a:t>
            </a:r>
            <a:endParaRPr lang="ru-RU" sz="1200" kern="1200" dirty="0">
              <a:solidFill>
                <a:srgbClr val="00336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>
                <a:solidFill>
                  <a:prstClr val="black"/>
                </a:solidFill>
              </a:rPr>
              <a:pPr/>
              <a:t>5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442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725251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временное образовательно-исследовательское пространство «Среда Просвещения», открывшееся в начале июля на базе ГК «Просвещение», оснащено высокотехнологичным оборудованием. Новая площадка предназначена как для обучения, так и для демонстрации школам лучших образовательных практик, инновационных трендов и новейших технических средств обучения.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едставленные в «Среде Просвещения», например, комплекты медицинского и инженерного образования в последующем можно формировать под индивидуальные запросы - разных партнеров в регионах, разных школ. Медицинский класс оснащен интерактивным анатомическим столом «Пирогов», лабораторно-диагностическим комплексом, тренажерами и манекенами, приборами для измерения давления, записи кардиограммы,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люкометрам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микроскопами для микробиологических исследований. В инженерном установлен робототехнический модуль, технологии 3D-прототипирования, конвейерная линия и наборы для лабораторных работ по физике. В ближайшее время должны появится комплекты и по естественно-научному блоку образования, которые также будут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зноуровневым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акой подход позволит развивать образовательную среду в конкретной образовательной организации.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 июля 2019 г. ГК «Просвещение» организует «Дни открытых дверей» в рамках которых несколько сотен руководителей школ, педагоги, ученики и родители уже смогли познакомиться с оборудованием, доказавшим эффективность, а также протестировать новые образцы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нно и то, что на базе инновационного пространства «Среда Просвещения» можно будет создавать сквозную систему ранней профориентации, а также тестировать методики, направленные на выявление и развитие талантливых детей. В новом учебном году мы готовы предложить школам возможность организации занятий на базе нашего образовательного-исследовательского пространства.</a:t>
            </a: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тавить заявку на посещение «Среды Просвещения» для директоров школ вашего региона, а также на организацию занятия для учащихся вашего региона можно на </a:t>
            </a:r>
            <a:r>
              <a:rPr lang="en-US" sz="1200" u="sng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prosv</a:t>
            </a:r>
            <a:r>
              <a:rPr lang="ru-RU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@</a:t>
            </a:r>
            <a:r>
              <a:rPr lang="en-US" sz="1200" u="sng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prosv</a:t>
            </a:r>
            <a:r>
              <a:rPr lang="ru-RU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.</a:t>
            </a:r>
            <a:r>
              <a:rPr lang="en-US" sz="1200" u="sng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ru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 В теме обязательно укажите «День открытых дверей в «Среде Просвещения»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5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860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Shape 178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9" name="Shape 179"/>
          <p:cNvSpPr txBox="1">
            <a:spLocks noGrp="1"/>
          </p:cNvSpPr>
          <p:nvPr>
            <p:ph type="body" idx="1"/>
          </p:nvPr>
        </p:nvSpPr>
        <p:spPr>
          <a:xfrm>
            <a:off x="685801" y="4343401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121" y="8685635"/>
            <a:ext cx="2972280" cy="456909"/>
          </a:xfrm>
          <a:prstGeom prst="rect">
            <a:avLst/>
          </a:prstGeom>
        </p:spPr>
        <p:txBody>
          <a:bodyPr/>
          <a:lstStyle/>
          <a:p>
            <a:fld id="{A573135F-DFD3-44D4-BC51-3AF0C8B69AB4}" type="slidenum">
              <a:rPr lang="ru-RU">
                <a:solidFill>
                  <a:prstClr val="black"/>
                </a:solidFill>
              </a:rPr>
              <a:pPr/>
              <a:t>6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0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/>
              <a:t>Если сравнить этот перечень характеристик выпускников, который вытекает из целей и задач инновационного развития России, обозначенный в Указе Президента, с чертами портрета выпускника, описанными во всех </a:t>
            </a:r>
            <a:r>
              <a:rPr lang="ru-RU" dirty="0" err="1"/>
              <a:t>ФГОСах</a:t>
            </a:r>
            <a:r>
              <a:rPr lang="ru-RU" dirty="0"/>
              <a:t> общего образования, то ясно видна их </a:t>
            </a:r>
            <a:r>
              <a:rPr lang="ru-RU" b="1" dirty="0"/>
              <a:t>преемственность или даже полное смысловое совпадение </a:t>
            </a:r>
            <a:r>
              <a:rPr lang="ru-RU" dirty="0"/>
              <a:t>(естественно с точностью до редакции).</a:t>
            </a:r>
          </a:p>
          <a:p>
            <a:pPr indent="287970"/>
            <a:r>
              <a:rPr lang="ru-RU" dirty="0"/>
              <a:t>Вы можете убедиться в этом сами.</a:t>
            </a:r>
          </a:p>
          <a:p>
            <a:pPr indent="287970" algn="just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0809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мея в виду поставленную Президентом задачу по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еспечению вхождения Российской Федерации в число 10 ведущих стран мира по качеству общего образования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важно понимать, что через оценку качества образования система образования настраивается на новые результаты. В этой связи важно сравнить документы,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тражающие ожидаемые образовательные результаты и состав требований к ним. Такими документами являются стандарты. Поэтому важная линия сравнения – это сопоставлени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ссийских и международных стандартов.</a:t>
            </a:r>
          </a:p>
          <a:p>
            <a:r>
              <a:rPr lang="ru-RU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ы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се помним </a:t>
            </a:r>
            <a:r>
              <a:rPr lang="ru-RU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став требований российских стандартов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Это требования к предметным, </a:t>
            </a:r>
            <a:r>
              <a:rPr lang="ru-RU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етапредметным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личностным результатам.</a:t>
            </a: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бования ФГОС выражаются в ожиданиях того, что выпускники,, заканчивающие школу, овладеют рядом учебных действий – универсальных и предметных. И научатся использовать их применительно к изучаемому в школе материалу.</a:t>
            </a: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Что это за действия? Это прежде всего </a:t>
            </a:r>
            <a:r>
              <a:rPr lang="ru-RU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ичностные действия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позволяющие школьникам определять себя как успешного или неуспешного ученика, строить жизненные, личные и профессиональные планы (</a:t>
            </a:r>
            <a:r>
              <a:rPr lang="ru-RU" sz="1200" b="1" i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ТО Я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?), выстраивать систему мотивов учения (</a:t>
            </a:r>
            <a:r>
              <a:rPr lang="ru-RU" sz="1200" b="1" i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ЧЕМ Я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?), </a:t>
            </a:r>
            <a:r>
              <a:rPr lang="ru-RU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риентруясь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 нормы, принятые в обществе, строить приемлемую  для себя систему морально-нравственных регуляторов поведения.</a:t>
            </a: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торая группа действий – это </a:t>
            </a:r>
            <a:r>
              <a:rPr lang="ru-RU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етапредметные</a:t>
            </a:r>
            <a:r>
              <a:rPr lang="ru-RU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действия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среди которых выделяю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йствия, связанные с умением организовать свою деятельность и деятельность партнёров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йствия, связанные с организацией эффективного взаимодействия с окружающи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йствия, связанные с организацией процесса познания</a:t>
            </a: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тья группа действий – </a:t>
            </a:r>
            <a:r>
              <a:rPr lang="ru-RU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едметные действия 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связаны с использованием указанных выше универсальных действий применительно к изучаемому материалу. Это действия по освоению новых знаний, их преобразованию и применению.</a:t>
            </a: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0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8889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0077D-FD54-4016-A577-E5DE20C5B14A}" type="slidenum">
              <a:rPr lang="ru-RU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3687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algn="just"/>
            <a:r>
              <a:rPr lang="ru-RU" sz="1000" dirty="0" smtClean="0"/>
              <a:t>Указом Президента дано поручение правительству РФ (п.2,</a:t>
            </a:r>
            <a:r>
              <a:rPr lang="ru-RU" sz="1000" baseline="0" dirty="0" smtClean="0"/>
              <a:t> б) В соответствии с национальными целями (п.1) «…разработать (скорректировать) совместно с органами гос. власти субъектов РФ и представить до 01 октября 2018 г.  …. Национальные проекты по следующим направлениям: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000" baseline="0" dirty="0" smtClean="0"/>
              <a:t>Демография, здравоохранение, </a:t>
            </a:r>
            <a:r>
              <a:rPr lang="ru-RU" sz="1000" b="1" baseline="0" dirty="0" smtClean="0"/>
              <a:t>образование</a:t>
            </a:r>
            <a:r>
              <a:rPr lang="ru-RU" sz="1000" baseline="0" dirty="0" smtClean="0"/>
              <a:t>… и т.д. )…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4120" y="8685632"/>
            <a:ext cx="2972280" cy="456909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0809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91022"/>
            <a:r>
              <a:rPr lang="ru-RU" dirty="0"/>
              <a:t>Что означает на практике – добиться глобальной конкурентоспособности российского образования, вхождение Российской Федерации в число 10 ведущих стран мира по качеству общего образования?</a:t>
            </a:r>
          </a:p>
          <a:p>
            <a:pPr indent="291022"/>
            <a:r>
              <a:rPr lang="ru-RU" dirty="0" smtClean="0"/>
              <a:t>Для ответа</a:t>
            </a:r>
            <a:r>
              <a:rPr lang="ru-RU" baseline="0" dirty="0" smtClean="0"/>
              <a:t> на этот вопрос надо сначала понять, как строится международный рейтинг,.</a:t>
            </a:r>
          </a:p>
          <a:p>
            <a:pPr indent="291022"/>
            <a:r>
              <a:rPr lang="ru-RU" baseline="0" dirty="0" smtClean="0"/>
              <a:t>На данный момент в международной практике используются два основных рейтинга</a:t>
            </a:r>
          </a:p>
          <a:p>
            <a:pPr marL="635248" lvl="1" indent="-173250">
              <a:buFont typeface="Arial" panose="020B0604020202020204" pitchFamily="34" charset="0"/>
              <a:buChar char="•"/>
            </a:pPr>
            <a:r>
              <a:rPr lang="ru-RU" b="1" baseline="0" dirty="0" smtClean="0"/>
              <a:t>индекс уровня образования</a:t>
            </a:r>
            <a:r>
              <a:rPr lang="ru-RU" baseline="0" dirty="0" smtClean="0"/>
              <a:t>, который рассчитывается как </a:t>
            </a:r>
            <a:r>
              <a:rPr lang="ru-RU" b="1" i="1" baseline="0" dirty="0" smtClean="0"/>
              <a:t>индекс грамотности взрослого населения </a:t>
            </a:r>
            <a:r>
              <a:rPr lang="ru-RU" baseline="0" dirty="0" smtClean="0"/>
              <a:t>и </a:t>
            </a:r>
            <a:r>
              <a:rPr lang="ru-RU" b="1" i="1" baseline="0" dirty="0" smtClean="0"/>
              <a:t>индекс совокупной доли учащихся, получающих образование </a:t>
            </a:r>
            <a:r>
              <a:rPr lang="ru-RU" b="0" i="0" baseline="0" dirty="0" smtClean="0"/>
              <a:t>и </a:t>
            </a:r>
          </a:p>
          <a:p>
            <a:pPr marL="635248" lvl="1" indent="-173250" defTabSz="923998">
              <a:buFont typeface="Arial" panose="020B0604020202020204" pitchFamily="34" charset="0"/>
              <a:buChar char="•"/>
              <a:defRPr/>
            </a:pPr>
            <a:r>
              <a:rPr lang="ru-RU" b="1" baseline="0" dirty="0" smtClean="0"/>
              <a:t>рейтинг эффективности национальных систем образования </a:t>
            </a:r>
            <a:r>
              <a:rPr lang="ru-RU" baseline="0" dirty="0" smtClean="0"/>
              <a:t>группы Пирсон, который рассчитывается на основе результатов стран в исследованиях PISA, TIMSS и PIRLS. а также по ряду других параметров, таких как уровень грамотности и количество выпускников на отдельных уровнях образования. Кроме общего индекса, рассчитываются две его составляющие: </a:t>
            </a:r>
            <a:r>
              <a:rPr lang="ru-RU" b="1" baseline="0" dirty="0" smtClean="0"/>
              <a:t>навыки мышления </a:t>
            </a:r>
            <a:r>
              <a:rPr lang="ru-RU" baseline="0" dirty="0" smtClean="0"/>
              <a:t>и </a:t>
            </a:r>
            <a:r>
              <a:rPr lang="ru-RU" b="1" baseline="0" dirty="0" smtClean="0"/>
              <a:t>успехи в обучении</a:t>
            </a:r>
          </a:p>
          <a:p>
            <a:pPr marL="0" lvl="1" indent="291022" defTabSz="923998">
              <a:defRPr/>
            </a:pPr>
            <a:r>
              <a:rPr lang="ru-RU" b="0" i="0" baseline="0" dirty="0" smtClean="0"/>
              <a:t>В обоих рейтингах  </a:t>
            </a:r>
            <a:r>
              <a:rPr lang="ru-RU" baseline="0" dirty="0" smtClean="0"/>
              <a:t>Российская система образования занимала 34-е место, соответственно из 188 и из 50 стран.</a:t>
            </a:r>
          </a:p>
          <a:p>
            <a:pPr marL="0" lvl="1" indent="291022" defTabSz="923998">
              <a:defRPr/>
            </a:pPr>
            <a:r>
              <a:rPr lang="ru-RU" b="0" i="0" baseline="0" dirty="0" smtClean="0"/>
              <a:t>По каким же параметрам идёт сравнение образовательных результатов? Чем можно объяснить невысокий рейтинг России?  Что оценивается в исследованиях</a:t>
            </a:r>
            <a:r>
              <a:rPr lang="ru-RU" baseline="0" dirty="0" smtClean="0"/>
              <a:t> PIRLS, TIMSS и PISA?</a:t>
            </a:r>
          </a:p>
          <a:p>
            <a:pPr marL="0" lvl="1" indent="291022" defTabSz="923998">
              <a:defRPr/>
            </a:pPr>
            <a:r>
              <a:rPr lang="ru-RU" b="0" i="0" baseline="0" dirty="0" smtClean="0"/>
              <a:t>В исследованиях </a:t>
            </a:r>
            <a:r>
              <a:rPr lang="ru-RU" b="1" baseline="0" dirty="0" smtClean="0"/>
              <a:t>PIRLS и TIMSS </a:t>
            </a:r>
            <a:r>
              <a:rPr lang="ru-RU" baseline="0" dirty="0" smtClean="0"/>
              <a:t>оценивается </a:t>
            </a:r>
            <a:r>
              <a:rPr lang="ru-RU" b="1" baseline="0" dirty="0" smtClean="0"/>
              <a:t>общеобразовательная подготовка</a:t>
            </a:r>
            <a:r>
              <a:rPr lang="ru-RU" baseline="0" dirty="0" smtClean="0"/>
              <a:t>, успехи в обучении</a:t>
            </a:r>
          </a:p>
          <a:p>
            <a:pPr marL="0" lvl="1" indent="291022" defTabSz="923998">
              <a:defRPr/>
            </a:pPr>
            <a:r>
              <a:rPr lang="ru-RU" baseline="0" dirty="0" smtClean="0"/>
              <a:t>В исследовании </a:t>
            </a:r>
            <a:r>
              <a:rPr lang="ru-RU" b="1" baseline="0" dirty="0" smtClean="0"/>
              <a:t>PISA</a:t>
            </a:r>
            <a:r>
              <a:rPr lang="ru-RU" baseline="0" dirty="0" smtClean="0"/>
              <a:t> речь идёт преимущественно о </a:t>
            </a:r>
            <a:r>
              <a:rPr lang="ru-RU" b="1" baseline="0" dirty="0" smtClean="0"/>
              <a:t>функциональной грамотности </a:t>
            </a:r>
            <a:r>
              <a:rPr lang="ru-RU" baseline="0" dirty="0" smtClean="0"/>
              <a:t>и  </a:t>
            </a:r>
            <a:r>
              <a:rPr lang="ru-RU" b="1" baseline="0" dirty="0" smtClean="0"/>
              <a:t>навыках разрешения проблем</a:t>
            </a:r>
            <a:r>
              <a:rPr lang="ru-RU" baseline="0" dirty="0" smtClean="0"/>
              <a:t>, иными словами об ответе на вопрос: «</a:t>
            </a:r>
            <a:r>
              <a:rPr lang="ru-RU" b="1" i="1" baseline="0" dirty="0" smtClean="0"/>
              <a:t>Обладают ли учащиеся 15-летнего возраста, получившие обязательное общее образование, знаниями и умениями, необходимыми им для полноценного функционирования в современном обществе, т.е. для решения широкого диапазона задач в различных сферах человеческой деятельности, общения и социальных отношений?</a:t>
            </a:r>
            <a:r>
              <a:rPr lang="ru-RU" baseline="0" dirty="0" smtClean="0"/>
              <a:t>».</a:t>
            </a:r>
          </a:p>
          <a:p>
            <a:pPr marL="0" lvl="1" indent="291022" defTabSz="923998">
              <a:defRPr/>
            </a:pPr>
            <a:r>
              <a:rPr lang="ru-RU" b="0" i="0" baseline="0" dirty="0" smtClean="0"/>
              <a:t>Каковы же на сегодня успехи России в этих исследованиях?</a:t>
            </a:r>
          </a:p>
          <a:p>
            <a:pPr indent="291022"/>
            <a:endParaRPr lang="ru-RU" baseline="0" dirty="0" smtClean="0"/>
          </a:p>
          <a:p>
            <a:pPr indent="291022"/>
            <a:endParaRPr lang="ru-RU" dirty="0" smtClean="0"/>
          </a:p>
          <a:p>
            <a:pPr indent="291022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9139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3588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91022"/>
            <a:r>
              <a:rPr lang="ru-RU" dirty="0"/>
              <a:t>На диаграмме приведены средние результаты российских учащихся в исследованиях PIRLS, TIMSS, PISA по всем ступеням общего образования, полученные в 2015 и 2016 годах. Около каждого значения результата российских учащихся по международной 1000-балльной шкале приводится рейтинг российских результатов среди стран-участниц в данном направлении исследования. Для сравнения выделено среднее значение международной шкалы – 500 баллов, которое было установлено по среднему результату для стран-участниц исследования при формировании шкалы. Например, средний балл российских учащихся 4 класса по математике составил 564 балла, выше среднего международного, 7 место в рейтинге стран.</a:t>
            </a:r>
          </a:p>
          <a:p>
            <a:pPr indent="291022"/>
            <a:r>
              <a:rPr lang="ru-RU" dirty="0"/>
              <a:t>Как видно из представленных данных, </a:t>
            </a:r>
            <a:r>
              <a:rPr lang="ru-RU" b="1" dirty="0"/>
              <a:t>позитивные стороны </a:t>
            </a:r>
            <a:r>
              <a:rPr lang="ru-RU" dirty="0"/>
              <a:t>российского образования (выше среднего международного балла, в группе стран с высокими результатами) </a:t>
            </a:r>
            <a:r>
              <a:rPr lang="ru-RU" b="1" dirty="0"/>
              <a:t>проявляются в результатах выпускников начальной школы по чтению </a:t>
            </a:r>
            <a:r>
              <a:rPr lang="ru-RU" dirty="0"/>
              <a:t>(первое место из 50 стран, 581 балл), математике (7 место из 49 стран, 564 балла</a:t>
            </a:r>
            <a:r>
              <a:rPr lang="ru-RU" b="1" dirty="0"/>
              <a:t>) и естествознанию </a:t>
            </a:r>
            <a:r>
              <a:rPr lang="ru-RU" dirty="0"/>
              <a:t>(4 место из 49 стран, 567 баллов). Только 1-2% учащихся не достигают базового международного уровня по выделенным направлениям, а высший уровень (более 625 баллов) демонстрируют от 20% учащихся по математике и естествознанию до 26% - по чтению.</a:t>
            </a:r>
          </a:p>
          <a:p>
            <a:pPr indent="291022"/>
            <a:r>
              <a:rPr lang="ru-RU" b="1" dirty="0"/>
              <a:t>Результаты учащихся 8-9 классов основной школы неоднозначны</a:t>
            </a:r>
            <a:r>
              <a:rPr lang="ru-RU" dirty="0"/>
              <a:t>: уровень овладения основами математики и естественнонаучных предметов превышает средний международный уровень (538 баллов и 544 балла соответственно по шкале TIMSS). При этом способность учащихся применять свои знания, умения и опыт для решения жизненных задач в ситуациях личностно и социально значимых оценивается по математике на уровне близком к среднему международному (494 балла), а по естественнонаучным предметам – ниже этого уровня – 487 баллов.</a:t>
            </a:r>
          </a:p>
          <a:p>
            <a:pPr indent="291022"/>
            <a:r>
              <a:rPr lang="ru-RU" dirty="0"/>
              <a:t>Уровень </a:t>
            </a:r>
            <a:r>
              <a:rPr lang="ru-RU" dirty="0" err="1"/>
              <a:t>сформированности</a:t>
            </a:r>
            <a:r>
              <a:rPr lang="ru-RU" dirty="0"/>
              <a:t> читательской грамотности российских девятиклассников находится вблизи среднего международного (495 баллов по шкале PISA). </a:t>
            </a:r>
            <a:r>
              <a:rPr lang="ru-RU" b="1" dirty="0"/>
              <a:t>При сравнении с начальной школой </a:t>
            </a:r>
            <a:r>
              <a:rPr lang="ru-RU" dirty="0"/>
              <a:t>отмечается </a:t>
            </a:r>
            <a:r>
              <a:rPr lang="ru-RU" b="1" dirty="0"/>
              <a:t>существенное снижение результатов</a:t>
            </a:r>
            <a:r>
              <a:rPr lang="ru-RU" dirty="0"/>
              <a:t>: за пять лет обучения в основной школе с 2011 по 2015 годы в соответствии с международными требованиями уровень читательской грамотности одной и той же генеральной совокупности российских школьников снизился более чем на 80 баллов, c лидирующих позиций 1-2 места до 26 места в рейтинге стран.</a:t>
            </a:r>
          </a:p>
          <a:p>
            <a:pPr indent="291022"/>
            <a:r>
              <a:rPr lang="ru-RU" dirty="0"/>
              <a:t>По </a:t>
            </a:r>
            <a:r>
              <a:rPr lang="ru-RU" b="1" dirty="0"/>
              <a:t>финансовой грамотности </a:t>
            </a:r>
            <a:r>
              <a:rPr lang="ru-RU" dirty="0"/>
              <a:t>российские 15-летние учащиеся в 2015 году улучшили свои результаты 2012 года и превысили средний международный уровень (512 баллов по шкале PISA).</a:t>
            </a:r>
          </a:p>
          <a:p>
            <a:pPr indent="291022"/>
            <a:r>
              <a:rPr lang="ru-RU" b="1" dirty="0"/>
              <a:t>Наиболее проблемной </a:t>
            </a:r>
            <a:r>
              <a:rPr lang="ru-RU" dirty="0"/>
              <a:t>областью для российских выпускников основной школы оказалась </a:t>
            </a:r>
            <a:r>
              <a:rPr lang="ru-RU" dirty="0" err="1"/>
              <a:t>метапредметная</a:t>
            </a:r>
            <a:r>
              <a:rPr lang="ru-RU" dirty="0"/>
              <a:t> область – </a:t>
            </a:r>
            <a:r>
              <a:rPr lang="ru-RU" b="1" dirty="0"/>
              <a:t>решение проблем в сотрудничестве </a:t>
            </a:r>
            <a:r>
              <a:rPr lang="ru-RU" dirty="0"/>
              <a:t>(значительно ниже среднего международного уровня – 473 балла по шкале PISA). В данном инновационном направлении исследования PISA была реализована интегральная оценка способности решать проблемы в ходе проектной или исследовательской деятельности в компьютерной среде, имитирующей работу в группе учащихся и моделирующей различные взаимодействия между членами группы (например, неравномерное распределение обязанностей, возникновение конфликтов).</a:t>
            </a:r>
          </a:p>
          <a:p>
            <a:pPr indent="291022"/>
            <a:r>
              <a:rPr lang="ru-RU" b="1" dirty="0"/>
              <a:t>Основной причиной невысокого рейтинга России являются низкие результаты российских учащихся 15-летнего возраста практически по всем областям функциональной грамотности</a:t>
            </a:r>
          </a:p>
          <a:p>
            <a:pPr indent="291022"/>
            <a:endParaRPr lang="ru-RU" dirty="0"/>
          </a:p>
          <a:p>
            <a:pPr indent="291022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0809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10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10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4.xml"/></Relationships>
</file>

<file path=ppt/slideLayouts/_rels/slideLayout10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9.bin"/></Relationships>
</file>

<file path=ppt/slideLayouts/_rels/slideLayout10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0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0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10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1.bin"/></Relationships>
</file>

<file path=ppt/slideLayouts/_rels/slideLayout1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0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0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0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1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6.xml"/></Relationships>
</file>

<file path=ppt/slideLayouts/_rels/slideLayout1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1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3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7.xml"/></Relationships>
</file>

<file path=ppt/slideLayouts/_rels/slideLayout1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7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7.xml"/></Relationships>
</file>

<file path=ppt/slideLayouts/_rels/slideLayout1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7.xml"/></Relationships>
</file>

<file path=ppt/slideLayouts/_rels/slideLayout1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1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5.bin"/></Relationships>
</file>

<file path=ppt/slideLayouts/_rels/slideLayout1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1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1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8.xml"/></Relationships>
</file>

<file path=ppt/slideLayouts/_rels/slideLayout1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7.bin"/></Relationships>
</file>

<file path=ppt/slideLayouts/_rels/slideLayout1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1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1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1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1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76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9.bin"/></Relationships>
</file>

<file path=ppt/slideLayouts/_rels/slideLayout1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0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0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0.xml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0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0.xml"/></Relationships>
</file>

<file path=ppt/slideLayouts/_rels/slideLayout1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0.xml"/></Relationships>
</file>

<file path=ppt/slideLayouts/_rels/slideLayout1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1.bin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1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1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1.xml"/></Relationships>
</file>

<file path=ppt/slideLayouts/_rels/slideLayout1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82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3.bin"/></Relationships>
</file>

<file path=ppt/slideLayouts/_rels/slideLayout1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4.xml"/></Relationships>
</file>

<file path=ppt/slideLayouts/_rels/slideLayout1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4.xml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4.xml"/></Relationships>
</file>

<file path=ppt/slideLayouts/_rels/slideLayout1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4.xml"/></Relationships>
</file>

<file path=ppt/slideLayouts/_rels/slideLayout1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4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4.xml"/></Relationships>
</file>

<file path=ppt/slideLayouts/_rels/slideLayout1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1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4.xml"/></Relationships>
</file>

<file path=ppt/slideLayouts/_rels/slideLayout1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4.xml"/></Relationships>
</file>

<file path=ppt/slideLayouts/_rels/slideLayout1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4.xml"/></Relationships>
</file>

<file path=ppt/slideLayouts/_rels/slideLayout1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5.xml"/></Relationships>
</file>

<file path=ppt/slideLayouts/_rels/slideLayout1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5.xml"/></Relationships>
</file>

<file path=ppt/slideLayouts/_rels/slideLayout1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5.xml"/></Relationships>
</file>

<file path=ppt/slideLayouts/_rels/slideLayout1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5.xml"/></Relationships>
</file>

<file path=ppt/slideLayouts/_rels/slideLayout1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5.xml"/></Relationships>
</file>

<file path=ppt/slideLayouts/_rels/slideLayout1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6.bin"/></Relationships>
</file>

<file path=ppt/slideLayouts/_rels/slideLayout1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7.xml"/></Relationships>
</file>

<file path=ppt/slideLayouts/_rels/slideLayout1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7.xml"/></Relationships>
</file>

<file path=ppt/slideLayouts/_rels/slideLayout1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7.xml"/></Relationships>
</file>

<file path=ppt/slideLayouts/_rels/slideLayout1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7.xml"/></Relationships>
</file>

<file path=ppt/slideLayouts/_rels/slideLayout1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7.xml"/></Relationships>
</file>

<file path=ppt/slideLayouts/_rels/slideLayout1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7.xml"/></Relationships>
</file>

<file path=ppt/slideLayouts/_rels/slideLayout15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92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9.bin"/></Relationships>
</file>

<file path=ppt/slideLayouts/_rels/slideLayout1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0.xml"/></Relationships>
</file>

<file path=ppt/slideLayouts/_rels/slideLayout1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"/><Relationship Id="rId1" Type="http://schemas.openxmlformats.org/officeDocument/2006/relationships/slideMaster" Target="../slideMasters/slideMaster41.xml"/></Relationships>
</file>

<file path=ppt/slideLayouts/_rels/slideLayout1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"/><Relationship Id="rId1" Type="http://schemas.openxmlformats.org/officeDocument/2006/relationships/slideMaster" Target="../slideMasters/slideMaster41.xml"/></Relationships>
</file>

<file path=ppt/slideLayouts/_rels/slideLayout1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5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41.xml"/><Relationship Id="rId4" Type="http://schemas.openxmlformats.org/officeDocument/2006/relationships/chart" Target="../charts/chart3.xml"/></Relationships>
</file>

<file path=ppt/slideLayouts/_rels/slideLayout1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0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41.xml"/></Relationships>
</file>

<file path=ppt/slideLayouts/_rels/slideLayout1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0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41.xml"/></Relationships>
</file>

<file path=ppt/slideLayouts/_rels/slideLayout16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41.xml"/><Relationship Id="rId4" Type="http://schemas.openxmlformats.org/officeDocument/2006/relationships/chart" Target="../charts/chart8.xml"/></Relationships>
</file>

<file path=ppt/slideLayouts/_rels/slideLayout1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09.xml.rels><?xml version="1.0" encoding="UTF-8" standalone="yes"?>
<Relationships xmlns="http://schemas.openxmlformats.org/package/2006/relationships"><Relationship Id="rId2" Type="http://schemas.openxmlformats.org/officeDocument/2006/relationships/hyperlink" Target="mailto:youremail@myemail.com?subject=" TargetMode="External"/><Relationship Id="rId1" Type="http://schemas.openxmlformats.org/officeDocument/2006/relationships/slideMaster" Target="../slideMasters/slideMaster4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1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5.bin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9.bin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1.bin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3.bin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9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9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5.bin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3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7.bin"/></Relationships>
</file>

<file path=ppt/slideLayouts/_rels/slideLayout9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875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36200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5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2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8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2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431561511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765026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653046"/>
      </p:ext>
    </p:extLst>
  </p:cSld>
  <p:clrMapOvr>
    <a:masterClrMapping/>
  </p:clrMapOvr>
  <p:transition spd="med"/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0560515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87461563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0314956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1271644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4802562"/>
      </p:ext>
    </p:extLst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5333655"/>
      </p:ext>
    </p:extLst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2621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77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7730928"/>
      </p:ext>
    </p:extLst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0752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974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281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2285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4191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9984175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49106671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2007106"/>
      </p:ext>
    </p:extLst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3961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24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0978013"/>
      </p:ext>
    </p:extLst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8548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796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564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6386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610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9294632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01196669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0677172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1190263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130899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4" y="6300797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250144"/>
      </p:ext>
    </p:extLst>
  </p:cSld>
  <p:clrMapOvr>
    <a:masterClrMapping/>
  </p:clrMapOvr>
  <p:transition spd="med"/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1178564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8878281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50267731"/>
      </p:ext>
    </p:extLst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960316813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1987326"/>
      </p:ext>
    </p:extLst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7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9844766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752684"/>
      </p:ext>
    </p:extLst>
  </p:cSld>
  <p:clrMapOvr>
    <a:masterClrMapping/>
  </p:clrMapOvr>
  <p:transition spd="med"/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866448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204322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26742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63720"/>
      </p:ext>
    </p:extLst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600397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082261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834886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317793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833717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64878209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521033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758470"/>
      </p:ext>
    </p:extLst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8212043"/>
      </p:ext>
    </p:extLst>
  </p:cSld>
  <p:clrMapOvr>
    <a:masterClrMapping/>
  </p:clrMapOvr>
  <p:transition spd="med"/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1615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826486"/>
      </p:ext>
    </p:extLst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94315447"/>
      </p:ext>
    </p:extLst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7477093"/>
      </p:ext>
    </p:extLst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1107029"/>
      </p:ext>
    </p:extLst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2561672"/>
      </p:ext>
    </p:extLst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0197634"/>
      </p:ext>
    </p:extLst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5522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914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481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548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015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484070"/>
      </p:ext>
    </p:extLst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5520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1205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7533227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6795989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5966853"/>
      </p:ext>
    </p:extLst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5153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853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9144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03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711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531115"/>
      </p:ext>
    </p:extLst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170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3386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7208778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89746792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6704554"/>
      </p:ext>
    </p:extLst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904443"/>
      </p:ext>
    </p:extLst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00731478"/>
      </p:ext>
    </p:extLst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5065159"/>
      </p:ext>
    </p:extLst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2734687"/>
      </p:ext>
    </p:extLst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3368178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252393"/>
      </p:ext>
    </p:extLst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972769709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7912825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5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2213124"/>
      </p:ext>
    </p:extLst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696461"/>
      </p:ext>
    </p:extLst>
  </p:cSld>
  <p:clrMapOvr>
    <a:masterClrMapping/>
  </p:clrMapOvr>
  <p:transition spd="med"/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574916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191804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779769"/>
      </p:ext>
    </p:extLst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677916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363457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8095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571748"/>
      </p:ext>
    </p:extLst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962757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84224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63815911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695183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443876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46058838"/>
      </p:ext>
    </p:extLst>
  </p:cSld>
  <p:clrMapOvr>
    <a:masterClrMapping/>
  </p:clrMapOvr>
  <p:transition spd="med"/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3703493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69893738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3082041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4951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39032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299883"/>
      </p:ext>
    </p:extLst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589342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9067151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5044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230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5027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690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190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7985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6150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064824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754377"/>
      </p:ext>
    </p:extLst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1319079"/>
      </p:ext>
    </p:extLst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2371446"/>
      </p:ext>
    </p:extLst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010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408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2646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596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046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2002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0921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81344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50420078"/>
      </p:ext>
    </p:extLst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12674086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2405289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5656684"/>
      </p:ext>
    </p:extLst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55079543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7606860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4544538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02606768"/>
      </p:ext>
    </p:extLst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632357750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128498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3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970764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576154"/>
      </p:ext>
    </p:extLst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076317"/>
      </p:ext>
    </p:extLst>
  </p:cSld>
  <p:clrMapOvr>
    <a:masterClrMapping/>
  </p:clrMapOvr>
  <p:transition spd="med"/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853160"/>
      </p:ext>
    </p:extLst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290106"/>
      </p:ext>
    </p:extLst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917886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212380"/>
      </p:ext>
    </p:extLst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063767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104029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612955"/>
      </p:ext>
    </p:extLst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752555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583912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672680"/>
      </p:ext>
    </p:extLst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770798"/>
      </p:ext>
    </p:extLst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030451"/>
      </p:ext>
    </p:extLst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8450796"/>
      </p:ext>
    </p:extLst>
  </p:cSld>
  <p:clrMapOvr>
    <a:masterClrMapping/>
  </p:clrMapOvr>
  <p:transition spd="med"/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3879335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22621012"/>
      </p:ext>
    </p:extLst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5887692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8404925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4279717"/>
      </p:ext>
    </p:extLst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3359932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4132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6945631"/>
      </p:ext>
    </p:extLst>
  </p:cSld>
  <p:clrMapOvr>
    <a:masterClrMapping/>
  </p:clrMapOvr>
  <p:transition spd="med"/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50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200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74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294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6775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6942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1721553"/>
      </p:ext>
    </p:extLst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42469078"/>
      </p:ext>
    </p:extLst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2010757"/>
      </p:ext>
    </p:extLst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9004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7867243"/>
      </p:ext>
    </p:extLst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019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1987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565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248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6255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777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2363812"/>
      </p:ext>
    </p:extLst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41462039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3878046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490461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3745807"/>
      </p:ext>
    </p:extLst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08222143"/>
      </p:ext>
    </p:extLst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2701602"/>
      </p:ext>
    </p:extLst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5087859"/>
      </p:ext>
    </p:extLst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17063131"/>
      </p:ext>
    </p:extLst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729455337"/>
      </p:ext>
    </p:extLst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6769319"/>
      </p:ext>
    </p:extLst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960384"/>
      </p:ext>
    </p:extLst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415312"/>
      </p:ext>
    </p:extLst>
  </p:cSld>
  <p:clrMapOvr>
    <a:masterClrMapping/>
  </p:clrMapOvr>
  <p:transition spd="med"/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069923"/>
      </p:ext>
    </p:extLst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77295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1067573"/>
      </p:ext>
    </p:extLst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077794"/>
      </p:ext>
    </p:extLst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401371"/>
      </p:ext>
    </p:extLst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503415"/>
      </p:ext>
    </p:extLst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0157354"/>
      </p:ext>
    </p:extLst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340622"/>
      </p:ext>
    </p:extLst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492471"/>
      </p:ext>
    </p:extLst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08158766"/>
      </p:ext>
    </p:extLst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504434"/>
      </p:ext>
    </p:extLst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547351"/>
      </p:ext>
    </p:extLst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0768525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8393256"/>
      </p:ext>
    </p:extLst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8371679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70469969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1096511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6463271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6669325"/>
      </p:ext>
    </p:extLst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6794965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5358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968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1657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620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10749" y="6377941"/>
            <a:ext cx="2927762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462" y="6377941"/>
            <a:ext cx="2104328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9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90263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3890321"/>
      </p:ext>
    </p:extLst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873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505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9272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4069211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90420641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2572469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6907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239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019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0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8393560"/>
      </p:ext>
    </p:extLst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049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9023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6438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683421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152888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695559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1566293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73261237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1720349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148025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7117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95124810"/>
      </p:ext>
    </p:extLst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877887832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2458287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5561030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589342"/>
      </p:ext>
    </p:extLst>
  </p:cSld>
  <p:clrMapOvr>
    <a:masterClrMapping/>
  </p:clrMapOvr>
  <p:transition spd="med"/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076813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220795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167898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072905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89323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54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73481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556518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974320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38325063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692656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67338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1559790"/>
      </p:ext>
    </p:extLst>
  </p:cSld>
  <p:clrMapOvr>
    <a:masterClrMapping/>
  </p:clrMapOvr>
  <p:transition spd="med"/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4956891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99456079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814809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783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1858278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8939592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3057132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4658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88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8935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060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147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2773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9808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598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7553994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73290146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3835879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8075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016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34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341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04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716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0590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478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9507770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99611005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4081657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4044190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56972426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9045761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7000443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32756385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409295580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825546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5348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5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020650"/>
      </p:ext>
    </p:extLst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653773"/>
      </p:ext>
    </p:extLst>
  </p:cSld>
  <p:clrMapOvr>
    <a:masterClrMapping/>
  </p:clrMapOvr>
  <p:transition spd="med"/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0927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410546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211749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913043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350919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513079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30749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55602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579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15466575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700796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163417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2299067"/>
      </p:ext>
    </p:extLst>
  </p:cSld>
  <p:clrMapOvr>
    <a:masterClrMapping/>
  </p:clrMapOvr>
  <p:transition spd="med"/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287894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2048052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4412531"/>
      </p:ext>
    </p:extLst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5481173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8477794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559369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6026855"/>
      </p:ext>
    </p:extLst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8171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19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4370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441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051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6112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814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9926158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97921497"/>
      </p:ext>
    </p:extLst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7958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3" name="Shape 2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" name="Shape 2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0069845"/>
      </p:ext>
    </p:extLst>
  </p:cSld>
  <p:clrMapOvr>
    <a:masterClrMapping/>
  </p:clrMapOvr>
  <p:transition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23784751"/>
      </p:ext>
    </p:extLst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7578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096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6789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239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25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575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992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7322210"/>
      </p:ext>
    </p:extLst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02925445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580497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9635131"/>
      </p:ext>
    </p:extLst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2035955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7134418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4433672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5069288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32894580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501624909"/>
      </p:ext>
    </p:extLst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7881085"/>
      </p:ext>
    </p:extLst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3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8215009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634953"/>
      </p:ext>
    </p:extLst>
  </p:cSld>
  <p:clrMapOvr>
    <a:masterClrMapping/>
  </p:clrMapOvr>
  <p:transition spd="med"/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83504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0720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823988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286"/>
      </p:ext>
    </p:extLst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561223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851682"/>
      </p:ext>
    </p:extLst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8639"/>
      </p:ext>
    </p:extLst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245243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888633"/>
      </p:ext>
    </p:extLst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91466252"/>
      </p:ext>
    </p:extLst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823895"/>
      </p:ext>
    </p:extLst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83439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813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7625592"/>
      </p:ext>
    </p:extLst>
  </p:cSld>
  <p:clrMapOvr>
    <a:masterClrMapping/>
  </p:clrMapOvr>
  <p:transition spd="med"/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3944137"/>
      </p:ext>
    </p:extLst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02935241"/>
      </p:ext>
    </p:extLst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3679315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460209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6918643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4413352"/>
      </p:ext>
    </p:extLst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4650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465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2438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5278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431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80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3403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5433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5039180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23785912"/>
      </p:ext>
    </p:extLst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0612646"/>
      </p:ext>
    </p:extLst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1643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014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4389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452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780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33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6388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3459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0342860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86441852"/>
      </p:ext>
    </p:extLst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824905"/>
      </p:ext>
    </p:extLst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7721189"/>
      </p:ext>
    </p:extLst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83995460"/>
      </p:ext>
    </p:extLst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96215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523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907994"/>
      </p:ext>
    </p:extLst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82052745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568207562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6214246"/>
      </p:ext>
    </p:extLst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75052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434896"/>
      </p:ext>
    </p:extLst>
  </p:cSld>
  <p:clrMapOvr>
    <a:masterClrMapping/>
  </p:clrMapOvr>
  <p:transition spd="med"/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12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534681"/>
      </p:ext>
    </p:extLst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435241"/>
      </p:ext>
    </p:extLst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8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3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07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7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4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013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8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350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308538"/>
      </p:ext>
    </p:extLst>
  </p:cSld>
  <p:clrMapOvr>
    <a:masterClrMapping/>
  </p:clrMapOvr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78911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2766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90" indent="0">
              <a:buNone/>
              <a:defRPr sz="2000" b="1"/>
            </a:lvl2pPr>
            <a:lvl3pPr marL="913380" indent="0">
              <a:buNone/>
              <a:defRPr sz="1800" b="1"/>
            </a:lvl3pPr>
            <a:lvl4pPr marL="1370070" indent="0">
              <a:buNone/>
              <a:defRPr sz="1600" b="1"/>
            </a:lvl4pPr>
            <a:lvl5pPr marL="1826760" indent="0">
              <a:buNone/>
              <a:defRPr sz="1600" b="1"/>
            </a:lvl5pPr>
            <a:lvl6pPr marL="2283450" indent="0">
              <a:buNone/>
              <a:defRPr sz="1600" b="1"/>
            </a:lvl6pPr>
            <a:lvl7pPr marL="2740139" indent="0">
              <a:buNone/>
              <a:defRPr sz="1600" b="1"/>
            </a:lvl7pPr>
            <a:lvl8pPr marL="3196827" indent="0">
              <a:buNone/>
              <a:defRPr sz="1600" b="1"/>
            </a:lvl8pPr>
            <a:lvl9pPr marL="365350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94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90" indent="0">
              <a:buNone/>
              <a:defRPr sz="2000" b="1"/>
            </a:lvl2pPr>
            <a:lvl3pPr marL="913380" indent="0">
              <a:buNone/>
              <a:defRPr sz="1800" b="1"/>
            </a:lvl3pPr>
            <a:lvl4pPr marL="1370070" indent="0">
              <a:buNone/>
              <a:defRPr sz="1600" b="1"/>
            </a:lvl4pPr>
            <a:lvl5pPr marL="1826760" indent="0">
              <a:buNone/>
              <a:defRPr sz="1600" b="1"/>
            </a:lvl5pPr>
            <a:lvl6pPr marL="2283450" indent="0">
              <a:buNone/>
              <a:defRPr sz="1600" b="1"/>
            </a:lvl6pPr>
            <a:lvl7pPr marL="2740139" indent="0">
              <a:buNone/>
              <a:defRPr sz="1600" b="1"/>
            </a:lvl7pPr>
            <a:lvl8pPr marL="3196827" indent="0">
              <a:buNone/>
              <a:defRPr sz="1600" b="1"/>
            </a:lvl8pPr>
            <a:lvl9pPr marL="365350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9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542120"/>
      </p:ext>
    </p:extLst>
  </p:cSld>
  <p:clrMapOvr>
    <a:masterClrMapping/>
  </p:clrMapOvr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901356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788758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7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90" indent="0">
              <a:buNone/>
              <a:defRPr sz="1200"/>
            </a:lvl2pPr>
            <a:lvl3pPr marL="913380" indent="0">
              <a:buNone/>
              <a:defRPr sz="1000"/>
            </a:lvl3pPr>
            <a:lvl4pPr marL="1370070" indent="0">
              <a:buNone/>
              <a:defRPr sz="900"/>
            </a:lvl4pPr>
            <a:lvl5pPr marL="1826760" indent="0">
              <a:buNone/>
              <a:defRPr sz="900"/>
            </a:lvl5pPr>
            <a:lvl6pPr marL="2283450" indent="0">
              <a:buNone/>
              <a:defRPr sz="900"/>
            </a:lvl6pPr>
            <a:lvl7pPr marL="2740139" indent="0">
              <a:buNone/>
              <a:defRPr sz="900"/>
            </a:lvl7pPr>
            <a:lvl8pPr marL="3196827" indent="0">
              <a:buNone/>
              <a:defRPr sz="900"/>
            </a:lvl8pPr>
            <a:lvl9pPr marL="365350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289237"/>
      </p:ext>
    </p:extLst>
  </p:cSld>
  <p:clrMapOvr>
    <a:masterClrMapping/>
  </p:clrMapOvr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90" indent="0">
              <a:buNone/>
              <a:defRPr sz="2800"/>
            </a:lvl2pPr>
            <a:lvl3pPr marL="913380" indent="0">
              <a:buNone/>
              <a:defRPr sz="2400"/>
            </a:lvl3pPr>
            <a:lvl4pPr marL="1370070" indent="0">
              <a:buNone/>
              <a:defRPr sz="2000"/>
            </a:lvl4pPr>
            <a:lvl5pPr marL="1826760" indent="0">
              <a:buNone/>
              <a:defRPr sz="2000"/>
            </a:lvl5pPr>
            <a:lvl6pPr marL="2283450" indent="0">
              <a:buNone/>
              <a:defRPr sz="2000"/>
            </a:lvl6pPr>
            <a:lvl7pPr marL="2740139" indent="0">
              <a:buNone/>
              <a:defRPr sz="2000"/>
            </a:lvl7pPr>
            <a:lvl8pPr marL="3196827" indent="0">
              <a:buNone/>
              <a:defRPr sz="2000"/>
            </a:lvl8pPr>
            <a:lvl9pPr marL="3653504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90" indent="0">
              <a:buNone/>
              <a:defRPr sz="1200"/>
            </a:lvl2pPr>
            <a:lvl3pPr marL="913380" indent="0">
              <a:buNone/>
              <a:defRPr sz="1000"/>
            </a:lvl3pPr>
            <a:lvl4pPr marL="1370070" indent="0">
              <a:buNone/>
              <a:defRPr sz="900"/>
            </a:lvl4pPr>
            <a:lvl5pPr marL="1826760" indent="0">
              <a:buNone/>
              <a:defRPr sz="900"/>
            </a:lvl5pPr>
            <a:lvl6pPr marL="2283450" indent="0">
              <a:buNone/>
              <a:defRPr sz="900"/>
            </a:lvl6pPr>
            <a:lvl7pPr marL="2740139" indent="0">
              <a:buNone/>
              <a:defRPr sz="900"/>
            </a:lvl7pPr>
            <a:lvl8pPr marL="3196827" indent="0">
              <a:buNone/>
              <a:defRPr sz="900"/>
            </a:lvl8pPr>
            <a:lvl9pPr marL="365350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605129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01753"/>
      </p:ext>
    </p:extLst>
  </p:cSld>
  <p:clrMapOvr>
    <a:masterClrMapping/>
  </p:clrMapOvr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6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6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070382"/>
      </p:ext>
    </p:extLst>
  </p:cSld>
  <p:clrMapOvr>
    <a:masterClrMapping/>
  </p:clrMapOvr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016211"/>
      </p:ext>
    </p:extLst>
  </p:cSld>
  <p:clrMapOvr>
    <a:masterClrMapping/>
  </p:clrMapOvr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827499"/>
      </p:ext>
    </p:extLst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67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500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38131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9237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980797"/>
      </p:ext>
    </p:extLst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966832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600840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928292"/>
      </p:ext>
    </p:extLst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51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50392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51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454126"/>
      </p:ext>
    </p:extLst>
  </p:cSld>
  <p:clrMapOvr>
    <a:masterClrMapping/>
  </p:clrMapOvr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530989"/>
      </p:ext>
    </p:extLst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986279"/>
      </p:ext>
    </p:extLst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31010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95708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4114020"/>
      </p:ext>
    </p:extLst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709016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121090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792656"/>
      </p:ext>
    </p:extLst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124105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375855"/>
      </p:ext>
    </p:extLst>
  </p:cSld>
  <p:clrMapOvr>
    <a:masterClrMapping/>
  </p:clrMapOvr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370511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64326576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321173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896631"/>
      </p:ext>
    </p:extLst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6735812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658" y="6301025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2123096"/>
      </p:ext>
    </p:extLst>
  </p:cSld>
  <p:clrMapOvr>
    <a:masterClrMapping/>
  </p:clrMapOvr>
  <p:transition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59406728"/>
      </p:ext>
    </p:extLst>
  </p:cSld>
  <p:clrMapOvr>
    <a:masterClrMapping/>
  </p:clrMapOvr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5348942"/>
      </p:ext>
    </p:extLst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71790279"/>
      </p:ext>
    </p:extLst>
  </p:cSld>
  <p:clrMapOvr>
    <a:masterClrMapping/>
  </p:clrMapOvr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8993456"/>
      </p:ext>
    </p:extLst>
  </p:cSld>
  <p:clrMapOvr>
    <a:masterClrMapping/>
  </p:clrMapOvr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956516"/>
      </p:ext>
    </p:extLst>
  </p:cSld>
  <p:clrMapOvr>
    <a:masterClrMapping/>
  </p:clrMapOvr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8936381"/>
      </p:ext>
    </p:extLst>
  </p:cSld>
  <p:clrMapOvr>
    <a:masterClrMapping/>
  </p:clrMapOvr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7400182"/>
      </p:ext>
    </p:extLst>
  </p:cSld>
  <p:clrMapOvr>
    <a:masterClrMapping/>
  </p:clrMapOvr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0145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796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4395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527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53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0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75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3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66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796732630"/>
      </p:ext>
    </p:extLst>
  </p:cSld>
  <p:clrMapOvr>
    <a:masterClrMapping/>
  </p:clrMapOvr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999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1917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2010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9703302"/>
      </p:ext>
    </p:extLst>
  </p:cSld>
  <p:clrMapOvr>
    <a:masterClrMapping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85695878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6226833"/>
      </p:ext>
    </p:extLst>
  </p:cSld>
  <p:clrMapOvr>
    <a:masterClrMapping/>
  </p:clrMapOvr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0427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02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0820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040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1471337"/>
      </p:ext>
    </p:extLst>
  </p:cSld>
  <p:clrMapOvr>
    <a:masterClrMapping/>
  </p:clrMapOvr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153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0431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1357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8777712"/>
      </p:ext>
    </p:extLst>
  </p:cSld>
  <p:clrMapOvr>
    <a:masterClrMapping/>
  </p:clrMapOvr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17313838"/>
      </p:ext>
    </p:extLst>
  </p:cSld>
  <p:clrMapOvr>
    <a:masterClrMapping/>
  </p:clrMapOvr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49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75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0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64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503325793"/>
      </p:ext>
    </p:extLst>
  </p:cSld>
  <p:clrMapOvr>
    <a:masterClrMapping/>
  </p:clrMapOvr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3829293"/>
      </p:ext>
    </p:extLst>
  </p:cSld>
  <p:clrMapOvr>
    <a:masterClrMapping/>
  </p:clrMapOvr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228108"/>
      </p:ext>
    </p:extLst>
  </p:cSld>
  <p:clrMapOvr>
    <a:masterClrMapping/>
  </p:clrMapOvr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331921"/>
      </p:ext>
    </p:extLst>
  </p:cSld>
  <p:clrMapOvr>
    <a:masterClrMapping/>
  </p:clrMapOvr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43574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813166"/>
      </p:ext>
    </p:extLst>
  </p:cSld>
  <p:clrMapOvr>
    <a:masterClrMapping/>
  </p:clrMapOvr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66115"/>
      </p:ext>
    </p:extLst>
  </p:cSld>
  <p:clrMapOvr>
    <a:masterClrMapping/>
  </p:clrMapOvr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707685"/>
      </p:ext>
    </p:extLst>
  </p:cSld>
  <p:clrMapOvr>
    <a:masterClrMapping/>
  </p:clrMapOvr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873645"/>
      </p:ext>
    </p:extLst>
  </p:cSld>
  <p:clrMapOvr>
    <a:masterClrMapping/>
  </p:clrMapOvr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240024"/>
      </p:ext>
    </p:extLst>
  </p:cSld>
  <p:clrMapOvr>
    <a:masterClrMapping/>
  </p:clrMapOvr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597040"/>
      </p:ext>
    </p:extLst>
  </p:cSld>
  <p:clrMapOvr>
    <a:masterClrMapping/>
  </p:clrMapOvr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3938678"/>
      </p:ext>
    </p:extLst>
  </p:cSld>
  <p:clrMapOvr>
    <a:masterClrMapping/>
  </p:clrMapOvr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828780"/>
      </p:ext>
    </p:extLst>
  </p:cSld>
  <p:clrMapOvr>
    <a:masterClrMapping/>
  </p:clrMapOvr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689568"/>
      </p:ext>
    </p:extLst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9549572"/>
      </p:ext>
    </p:extLst>
  </p:cSld>
  <p:clrMapOvr>
    <a:masterClrMapping/>
  </p:clrMapOvr>
  <p:transition spd="med"/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838062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011137"/>
      </p:ext>
    </p:extLst>
  </p:cSld>
  <p:clrMapOvr>
    <a:masterClrMapping/>
  </p:clrMapOvr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0068541"/>
      </p:ext>
    </p:extLst>
  </p:cSld>
  <p:clrMapOvr>
    <a:masterClrMapping/>
  </p:clrMapOvr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3356642"/>
      </p:ext>
    </p:extLst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5171526"/>
      </p:ext>
    </p:extLst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7430343"/>
      </p:ext>
    </p:extLst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8082353"/>
      </p:ext>
    </p:extLst>
  </p:cSld>
  <p:clrMapOvr>
    <a:masterClrMapping/>
  </p:clrMapOvr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8232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339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0908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242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165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833458"/>
      </p:ext>
    </p:extLst>
  </p:cSld>
  <p:clrMapOvr>
    <a:masterClrMapping/>
  </p:clrMapOvr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308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6591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2904057"/>
      </p:ext>
    </p:extLst>
  </p:cSld>
  <p:clrMapOvr>
    <a:masterClrMapping/>
  </p:clrMapOvr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84396672"/>
      </p:ext>
    </p:extLst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2474719"/>
      </p:ext>
    </p:extLst>
  </p:cSld>
  <p:clrMapOvr>
    <a:masterClrMapping/>
  </p:clrMapOvr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0114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701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995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80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732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22414"/>
      </p:ext>
    </p:extLst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6207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9457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4437433"/>
      </p:ext>
    </p:extLst>
  </p:cSld>
  <p:clrMapOvr>
    <a:masterClrMapping/>
  </p:clrMapOvr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23752496"/>
      </p:ext>
    </p:extLst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5842377"/>
      </p:ext>
    </p:extLst>
  </p:cSld>
  <p:clrMapOvr>
    <a:masterClrMapping/>
  </p:clrMapOvr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6913172"/>
      </p:ext>
    </p:extLst>
  </p:cSld>
  <p:clrMapOvr>
    <a:masterClrMapping/>
  </p:clrMapOvr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74280642"/>
      </p:ext>
    </p:extLst>
  </p:cSld>
  <p:clrMapOvr>
    <a:masterClrMapping/>
  </p:clrMapOvr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5689235"/>
      </p:ext>
    </p:extLst>
  </p:cSld>
  <p:clrMapOvr>
    <a:masterClrMapping/>
  </p:clrMapOvr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3690782"/>
      </p:ext>
    </p:extLst>
  </p:cSld>
  <p:clrMapOvr>
    <a:masterClrMapping/>
  </p:clrMapOvr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0745167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393472"/>
      </p:ext>
    </p:extLst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965667462"/>
      </p:ext>
    </p:extLst>
  </p:cSld>
  <p:clrMapOvr>
    <a:masterClrMapping/>
  </p:clrMapOvr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0880182"/>
      </p:ext>
    </p:extLst>
  </p:cSld>
  <p:clrMapOvr>
    <a:masterClrMapping/>
  </p:clrMapOvr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2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6366876"/>
      </p:ext>
    </p:extLst>
  </p:cSld>
  <p:clrMapOvr>
    <a:masterClrMapping/>
  </p:clrMapOvr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558173"/>
      </p:ext>
    </p:extLst>
  </p:cSld>
  <p:clrMapOvr>
    <a:masterClrMapping/>
  </p:clrMapOvr>
  <p:transition spd="med"/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704517"/>
      </p:ext>
    </p:extLst>
  </p:cSld>
  <p:clrMapOvr>
    <a:masterClrMapping/>
  </p:clrMapOvr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837102"/>
      </p:ext>
    </p:extLst>
  </p:cSld>
  <p:clrMapOvr>
    <a:masterClrMapping/>
  </p:clrMapOvr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5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67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366595"/>
      </p:ext>
    </p:extLst>
  </p:cSld>
  <p:clrMapOvr>
    <a:masterClrMapping/>
  </p:clrMapOvr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121605"/>
      </p:ext>
    </p:extLst>
  </p:cSld>
  <p:clrMapOvr>
    <a:masterClrMapping/>
  </p:clrMapOvr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40575"/>
      </p:ext>
    </p:extLst>
  </p:cSld>
  <p:clrMapOvr>
    <a:masterClrMapping/>
  </p:clrMapOvr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57088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316329"/>
      </p:ext>
    </p:extLst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332135"/>
      </p:ext>
    </p:extLst>
  </p:cSld>
  <p:clrMapOvr>
    <a:masterClrMapping/>
  </p:clrMapOvr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41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304695"/>
      </p:ext>
    </p:extLst>
  </p:cSld>
  <p:clrMapOvr>
    <a:masterClrMapping/>
  </p:clrMapOvr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41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896830"/>
      </p:ext>
    </p:extLst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00881"/>
      </p:ext>
    </p:extLst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903640"/>
      </p:ext>
    </p:extLst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10749" y="6377941"/>
            <a:ext cx="2927762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462" y="6377941"/>
            <a:ext cx="2104328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9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475632"/>
      </p:ext>
    </p:extLst>
  </p:cSld>
  <p:clrMapOvr>
    <a:masterClrMapping/>
  </p:clrMapOvr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755541"/>
      </p:ext>
    </p:extLst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225651"/>
      </p:ext>
    </p:extLst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861499"/>
      </p:ext>
    </p:extLst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73854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894835"/>
      </p:ext>
    </p:extLst>
  </p:cSld>
  <p:clrMapOvr>
    <a:masterClrMapping/>
  </p:clrMapOvr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714636"/>
      </p:ext>
    </p:extLst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715852"/>
      </p:ext>
    </p:extLst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526118"/>
      </p:ext>
    </p:extLst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557742"/>
      </p:ext>
    </p:extLst>
  </p:cSld>
  <p:clrMapOvr>
    <a:masterClrMapping/>
  </p:clrMapOvr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09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624634"/>
      </p:ext>
    </p:extLst>
  </p:cSld>
  <p:clrMapOvr>
    <a:masterClrMapping/>
  </p:clrMapOvr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944918"/>
      </p:ext>
    </p:extLst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27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27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823598"/>
      </p:ext>
    </p:extLst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63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51617463"/>
      </p:ext>
    </p:extLst>
  </p:cSld>
  <p:clrMapOvr>
    <a:masterClrMapping/>
  </p:clrMapOvr>
  <p:transition spd="med"/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6615094"/>
      </p:ext>
    </p:extLst>
  </p:cSld>
  <p:clrMapOvr>
    <a:masterClrMapping/>
  </p:clrMapOvr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48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98744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0" name="Shape 50"/>
          <p:cNvSpPr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0">
              <a:spcBef>
                <a:spcPts val="500"/>
              </a:spcBef>
              <a:buSzTx/>
              <a:buFontTx/>
              <a:buNone/>
              <a:defRPr sz="2400" b="1"/>
            </a:lvl2pPr>
            <a:lvl3pPr marL="0" indent="0">
              <a:spcBef>
                <a:spcPts val="500"/>
              </a:spcBef>
              <a:buSzTx/>
              <a:buFontTx/>
              <a:buNone/>
              <a:defRPr sz="2400" b="1"/>
            </a:lvl3pPr>
            <a:lvl4pPr marL="0" indent="0">
              <a:spcBef>
                <a:spcPts val="500"/>
              </a:spcBef>
              <a:buSzTx/>
              <a:buFontTx/>
              <a:buNone/>
              <a:defRPr sz="2400" b="1"/>
            </a:lvl4pPr>
            <a:lvl5pPr marL="0" indent="0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1" name="Shape 51"/>
          <p:cNvSpPr>
            <a:spLocks noGrp="1"/>
          </p:cNvSpPr>
          <p:nvPr>
            <p:ph type="body" sz="quarter" idx="13"/>
          </p:nvPr>
        </p:nvSpPr>
        <p:spPr>
          <a:xfrm>
            <a:off x="4645165" y="1535111"/>
            <a:ext cx="4041775" cy="639765"/>
          </a:xfrm>
          <a:prstGeom prst="rect">
            <a:avLst/>
          </a:prstGeom>
        </p:spPr>
        <p:txBody>
          <a:bodyPr anchor="b"/>
          <a:lstStyle/>
          <a:p>
            <a:endParaRPr/>
          </a:p>
        </p:txBody>
      </p:sp>
      <p:sp>
        <p:nvSpPr>
          <p:cNvPr id="52" name="Shape 52"/>
          <p:cNvSpPr>
            <a:spLocks noGrp="1"/>
          </p:cNvSpPr>
          <p:nvPr>
            <p:ph type="sldNum" sz="quarter" idx="2"/>
          </p:nvPr>
        </p:nvSpPr>
        <p:spPr>
          <a:xfrm>
            <a:off x="832844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8511602"/>
      </p:ext>
    </p:extLst>
  </p:cSld>
  <p:clrMapOvr>
    <a:masterClrMapping/>
  </p:clrMapOvr>
  <p:transition spd="med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982279"/>
      </p:ext>
    </p:extLst>
  </p:cSld>
  <p:clrMapOvr>
    <a:masterClrMapping/>
  </p:clrMapOvr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4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5027363"/>
      </p:ext>
    </p:extLst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1030743"/>
      </p:ext>
    </p:extLst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4966652"/>
      </p:ext>
    </p:extLst>
  </p:cSld>
  <p:clrMapOvr>
    <a:masterClrMapping/>
  </p:clrMapOvr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2126337"/>
      </p:ext>
    </p:extLst>
  </p:cSld>
  <p:clrMapOvr>
    <a:masterClrMapping/>
  </p:clrMapOvr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25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42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9401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25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622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2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48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48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3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8382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25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42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3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445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08" y="1919641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71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826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7364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9457983"/>
      </p:ext>
    </p:extLst>
  </p:cSld>
  <p:clrMapOvr>
    <a:masterClrMapping/>
  </p:clrMapOvr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76" y="184257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65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15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74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6016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2781358"/>
      </p:ext>
    </p:extLst>
  </p:cSld>
  <p:clrMapOvr>
    <a:masterClrMapping/>
  </p:clrMapOvr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57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15651290"/>
      </p:ext>
    </p:extLst>
  </p:cSld>
  <p:clrMapOvr>
    <a:masterClrMapping/>
  </p:clrMapOvr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4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5994930"/>
      </p:ext>
    </p:extLst>
  </p:cSld>
  <p:clrMapOvr>
    <a:masterClrMapping/>
  </p:clrMapOvr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25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42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9504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25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439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2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48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48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3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5586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25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42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03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594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08" y="1919641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03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616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7742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241233"/>
      </p:ext>
    </p:extLst>
  </p:cSld>
  <p:clrMapOvr>
    <a:masterClrMapping/>
  </p:clrMapOvr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76" y="184257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65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15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74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8322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5300840"/>
      </p:ext>
    </p:extLst>
  </p:cSld>
  <p:clrMapOvr>
    <a:masterClrMapping/>
  </p:clrMapOvr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48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32176565"/>
      </p:ext>
    </p:extLst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42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5587826"/>
      </p:ext>
    </p:extLst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3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452608"/>
      </p:ext>
    </p:extLst>
  </p:cSld>
  <p:clrMapOvr>
    <a:masterClrMapping/>
  </p:clrMapOvr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6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8327786"/>
      </p:ext>
    </p:extLst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602635"/>
      </p:ext>
    </p:extLst>
  </p:cSld>
  <p:clrMapOvr>
    <a:masterClrMapping/>
  </p:clrMapOvr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3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5517197"/>
      </p:ext>
    </p:extLst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6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63239898"/>
      </p:ext>
    </p:extLst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59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15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75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54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69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92732493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844320"/>
      </p:ext>
    </p:extLst>
  </p:cSld>
  <p:clrMapOvr>
    <a:masterClrMapping/>
  </p:clrMapOvr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3" y="0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7864525"/>
      </p:ext>
    </p:extLst>
  </p:cSld>
  <p:clrMapOvr>
    <a:masterClrMapping/>
  </p:clrMapOvr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2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7337145"/>
      </p:ext>
    </p:extLst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31" y="6300771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861629"/>
      </p:ext>
    </p:extLst>
  </p:cSld>
  <p:clrMapOvr>
    <a:masterClrMapping/>
  </p:clrMapOvr>
  <p:transition spd="med"/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0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989422"/>
      </p:ext>
    </p:extLst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360463"/>
      </p:ext>
    </p:extLst>
  </p:cSld>
  <p:clrMapOvr>
    <a:masterClrMapping/>
  </p:clrMapOvr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8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204158"/>
      </p:ext>
    </p:extLst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845869"/>
      </p:ext>
    </p:extLst>
  </p:cSld>
  <p:clrMapOvr>
    <a:masterClrMapping/>
  </p:clrMapOvr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64748"/>
      </p:ext>
    </p:extLst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737954"/>
      </p:ext>
    </p:extLst>
  </p:cSld>
  <p:clrMapOvr>
    <a:masterClrMapping/>
  </p:clrMapOvr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88336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5870605"/>
      </p:ext>
    </p:extLst>
  </p:cSld>
  <p:clrMapOvr>
    <a:masterClrMapping/>
  </p:clrMapOvr>
  <p:transition spd="med"/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047423"/>
      </p:ext>
    </p:extLst>
  </p:cSld>
  <p:clrMapOvr>
    <a:masterClrMapping/>
  </p:clrMapOvr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72786"/>
      </p:ext>
    </p:extLst>
  </p:cSld>
  <p:clrMapOvr>
    <a:masterClrMapping/>
  </p:clrMapOvr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5797668"/>
      </p:ext>
    </p:extLst>
  </p:cSld>
  <p:clrMapOvr>
    <a:masterClrMapping/>
  </p:clrMapOvr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115453"/>
      </p:ext>
    </p:extLst>
  </p:cSld>
  <p:clrMapOvr>
    <a:masterClrMapping/>
  </p:clrMapOvr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>
            <a:spLocks noGrp="1"/>
          </p:cNvSpPr>
          <p:nvPr>
            <p:ph type="sldNum" sz="quarter" idx="2"/>
          </p:nvPr>
        </p:nvSpPr>
        <p:spPr>
          <a:xfrm>
            <a:off x="6289221" y="6221813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6873748"/>
      </p:ext>
    </p:extLst>
  </p:cSld>
  <p:clrMapOvr>
    <a:masterClrMapping/>
  </p:clrMapOvr>
  <p:transition spd="med"/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5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5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49046"/>
      </p:ext>
    </p:extLst>
  </p:cSld>
  <p:clrMapOvr>
    <a:masterClrMapping/>
  </p:clrMapOvr>
  <p:transition spd="med"/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3999900" cy="45552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536633"/>
            <a:ext cx="3999900" cy="45552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091287"/>
      </p:ext>
    </p:extLst>
  </p:cSld>
  <p:clrMapOvr>
    <a:masterClrMapping/>
  </p:clrMapOvr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160340"/>
      </p:ext>
    </p:extLst>
  </p:cSld>
  <p:clrMapOvr>
    <a:masterClrMapping/>
  </p:clrMapOvr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740800"/>
            <a:ext cx="2808000" cy="10076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852800"/>
            <a:ext cx="2808000" cy="42392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marL="457200" lvl="0" indent="-30480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15090"/>
      </p:ext>
    </p:extLst>
  </p:cSld>
  <p:clrMapOvr>
    <a:masterClrMapping/>
  </p:clrMapOvr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600200"/>
            <a:ext cx="6367800" cy="54544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31429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5757202"/>
      </p:ext>
    </p:extLst>
  </p:cSld>
  <p:clrMapOvr>
    <a:masterClrMapping/>
  </p:clrMapOvr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67"/>
            <a:ext cx="457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endParaRPr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644233"/>
            <a:ext cx="4045200" cy="19764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3737433"/>
            <a:ext cx="4045200" cy="16468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965433"/>
            <a:ext cx="3837000" cy="49268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509290"/>
      </p:ext>
    </p:extLst>
  </p:cSld>
  <p:clrMapOvr>
    <a:masterClrMapping/>
  </p:clrMapOvr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800"/>
          </a:xfrm>
          <a:prstGeom prst="rect">
            <a:avLst/>
          </a:prstGeom>
        </p:spPr>
        <p:txBody>
          <a:bodyPr wrap="square" lIns="91425" tIns="91425" rIns="91425" bIns="91425" anchor="ctr" anchorCtr="0"/>
          <a:lstStyle>
            <a:lvl1pPr marL="457200" lvl="0" indent="-2286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91036"/>
      </p:ext>
    </p:extLst>
  </p:cSld>
  <p:clrMapOvr>
    <a:masterClrMapping/>
  </p:clrMapOvr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474833"/>
            <a:ext cx="8520600" cy="2618000"/>
          </a:xfrm>
          <a:prstGeom prst="rect">
            <a:avLst/>
          </a:prstGeom>
        </p:spPr>
        <p:txBody>
          <a:bodyPr wrap="square" lIns="91425" tIns="91425" rIns="91425" bIns="91425" anchor="b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4202967"/>
            <a:ext cx="8520600" cy="1734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marL="457200" lvl="0" indent="-342900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134505"/>
      </p:ext>
    </p:extLst>
  </p:cSld>
  <p:clrMapOvr>
    <a:masterClrMapping/>
  </p:clrMapOvr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542392"/>
      </p:ext>
    </p:extLst>
  </p:cSld>
  <p:clrMapOvr>
    <a:masterClrMapping/>
  </p:clrMapOvr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marL="457200" lvl="0" indent="-342900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rtl="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rtl="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rtl="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rtl="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ru"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027067"/>
      </p:ext>
    </p:extLst>
  </p:cSld>
  <p:clrMapOvr>
    <a:masterClrMapping/>
  </p:clrMapOvr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title"/>
          </p:nvPr>
        </p:nvSpPr>
        <p:spPr>
          <a:xfrm>
            <a:off x="685800" y="2130983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4" name="Shape 14"/>
          <p:cNvSpPr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" name="Shape 15"/>
          <p:cNvSpPr>
            <a:spLocks noGrp="1"/>
          </p:cNvSpPr>
          <p:nvPr>
            <p:ph type="sldNum" sz="quarter" idx="2"/>
          </p:nvPr>
        </p:nvSpPr>
        <p:spPr>
          <a:xfrm>
            <a:off x="8412008" y="640097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284495"/>
      </p:ext>
    </p:extLst>
  </p:cSld>
  <p:clrMapOvr>
    <a:masterClrMapping/>
  </p:clrMapOvr>
  <p:transition spd="med"/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3" name="Shape 2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" name="Shape 2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3091569"/>
      </p:ext>
    </p:extLst>
  </p:cSld>
  <p:clrMapOvr>
    <a:masterClrMapping/>
  </p:clrMapOvr>
  <p:transition spd="med"/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hape 31"/>
          <p:cNvSpPr>
            <a:spLocks noGrp="1"/>
          </p:cNvSpPr>
          <p:nvPr>
            <p:ph type="title"/>
          </p:nvPr>
        </p:nvSpPr>
        <p:spPr>
          <a:xfrm>
            <a:off x="722315" y="4407458"/>
            <a:ext cx="7772401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t>Текст заголовка</a:t>
            </a:r>
          </a:p>
        </p:txBody>
      </p:sp>
      <p:sp>
        <p:nvSpPr>
          <p:cNvPr id="32" name="Shape 32"/>
          <p:cNvSpPr>
            <a:spLocks noGrp="1"/>
          </p:cNvSpPr>
          <p:nvPr>
            <p:ph type="body" sz="quarter" idx="1"/>
          </p:nvPr>
        </p:nvSpPr>
        <p:spPr>
          <a:xfrm>
            <a:off x="722315" y="2906721"/>
            <a:ext cx="7772401" cy="1500189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3" name="Shape 33"/>
          <p:cNvSpPr>
            <a:spLocks noGrp="1"/>
          </p:cNvSpPr>
          <p:nvPr>
            <p:ph type="sldNum" sz="quarter" idx="2"/>
          </p:nvPr>
        </p:nvSpPr>
        <p:spPr>
          <a:xfrm>
            <a:off x="830169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9095428"/>
      </p:ext>
    </p:extLst>
  </p:cSld>
  <p:clrMapOvr>
    <a:masterClrMapping/>
  </p:clrMapOvr>
  <p:transition spd="med"/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797" y="630130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64026778"/>
      </p:ext>
    </p:extLst>
  </p:cSld>
  <p:clrMapOvr>
    <a:masterClrMapping/>
  </p:clrMapOvr>
  <p:transition spd="med"/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0" name="Shape 50"/>
          <p:cNvSpPr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0">
              <a:spcBef>
                <a:spcPts val="500"/>
              </a:spcBef>
              <a:buSzTx/>
              <a:buFontTx/>
              <a:buNone/>
              <a:defRPr sz="2400" b="1"/>
            </a:lvl2pPr>
            <a:lvl3pPr marL="0" indent="0">
              <a:spcBef>
                <a:spcPts val="500"/>
              </a:spcBef>
              <a:buSzTx/>
              <a:buFontTx/>
              <a:buNone/>
              <a:defRPr sz="2400" b="1"/>
            </a:lvl3pPr>
            <a:lvl4pPr marL="0" indent="0">
              <a:spcBef>
                <a:spcPts val="500"/>
              </a:spcBef>
              <a:buSzTx/>
              <a:buFontTx/>
              <a:buNone/>
              <a:defRPr sz="2400" b="1"/>
            </a:lvl4pPr>
            <a:lvl5pPr marL="0" indent="0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1" name="Shape 51"/>
          <p:cNvSpPr>
            <a:spLocks noGrp="1"/>
          </p:cNvSpPr>
          <p:nvPr>
            <p:ph type="body" sz="quarter" idx="13"/>
          </p:nvPr>
        </p:nvSpPr>
        <p:spPr>
          <a:xfrm>
            <a:off x="4645151" y="1535111"/>
            <a:ext cx="4041775" cy="639765"/>
          </a:xfrm>
          <a:prstGeom prst="rect">
            <a:avLst/>
          </a:prstGeom>
        </p:spPr>
        <p:txBody>
          <a:bodyPr anchor="b"/>
          <a:lstStyle/>
          <a:p>
            <a:endParaRPr/>
          </a:p>
        </p:txBody>
      </p:sp>
      <p:sp>
        <p:nvSpPr>
          <p:cNvPr id="52" name="Shape 52"/>
          <p:cNvSpPr>
            <a:spLocks noGrp="1"/>
          </p:cNvSpPr>
          <p:nvPr>
            <p:ph type="sldNum" sz="quarter" idx="2"/>
          </p:nvPr>
        </p:nvSpPr>
        <p:spPr>
          <a:xfrm>
            <a:off x="8328583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5607178"/>
      </p:ext>
    </p:extLst>
  </p:cSld>
  <p:clrMapOvr>
    <a:masterClrMapping/>
  </p:clrMapOvr>
  <p:transition spd="med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54524403"/>
      </p:ext>
    </p:extLst>
  </p:cSld>
  <p:clrMapOvr>
    <a:masterClrMapping/>
  </p:clrMapOvr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2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85" name="Shape 85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2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2" cy="8048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0">
              <a:spcBef>
                <a:spcPts val="300"/>
              </a:spcBef>
              <a:buSzTx/>
              <a:buFontTx/>
              <a:buNone/>
              <a:defRPr sz="1400"/>
            </a:lvl2pPr>
            <a:lvl3pPr marL="0" indent="0">
              <a:spcBef>
                <a:spcPts val="300"/>
              </a:spcBef>
              <a:buSzTx/>
              <a:buFontTx/>
              <a:buNone/>
              <a:defRPr sz="1400"/>
            </a:lvl3pPr>
            <a:lvl4pPr marL="0" indent="0">
              <a:spcBef>
                <a:spcPts val="300"/>
              </a:spcBef>
              <a:buSzTx/>
              <a:buFontTx/>
              <a:buNone/>
              <a:defRPr sz="1400"/>
            </a:lvl4pPr>
            <a:lvl5pPr marL="0" indent="0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7" name="Shape 87"/>
          <p:cNvSpPr>
            <a:spLocks noGrp="1"/>
          </p:cNvSpPr>
          <p:nvPr>
            <p:ph type="sldNum" sz="quarter" idx="2"/>
          </p:nvPr>
        </p:nvSpPr>
        <p:spPr>
          <a:xfrm>
            <a:off x="830169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1041632"/>
      </p:ext>
    </p:extLst>
  </p:cSld>
  <p:clrMapOvr>
    <a:masterClrMapping/>
  </p:clrMapOvr>
  <p:transition spd="med"/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Shape 9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5" name="Shape 95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6" name="Shape 96"/>
          <p:cNvSpPr>
            <a:spLocks noGrp="1"/>
          </p:cNvSpPr>
          <p:nvPr>
            <p:ph type="sldNum" sz="quarter" idx="2"/>
          </p:nvPr>
        </p:nvSpPr>
        <p:spPr>
          <a:xfrm>
            <a:off x="830169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7902529"/>
      </p:ext>
    </p:extLst>
  </p:cSld>
  <p:clrMapOvr>
    <a:masterClrMapping/>
  </p:clrMapOvr>
  <p:transition spd="med"/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Shape 103"/>
          <p:cNvSpPr>
            <a:spLocks noGrp="1"/>
          </p:cNvSpPr>
          <p:nvPr>
            <p:ph type="title"/>
          </p:nvPr>
        </p:nvSpPr>
        <p:spPr>
          <a:xfrm>
            <a:off x="6629400" y="274638"/>
            <a:ext cx="2057400" cy="585152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04" name="Shape 104"/>
          <p:cNvSpPr>
            <a:spLocks noGrp="1"/>
          </p:cNvSpPr>
          <p:nvPr>
            <p:ph type="body" idx="1"/>
          </p:nvPr>
        </p:nvSpPr>
        <p:spPr>
          <a:xfrm>
            <a:off x="457200" y="274638"/>
            <a:ext cx="6019800" cy="5851527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5" name="Shape 105"/>
          <p:cNvSpPr>
            <a:spLocks noGrp="1"/>
          </p:cNvSpPr>
          <p:nvPr>
            <p:ph type="sldNum" sz="quarter" idx="2"/>
          </p:nvPr>
        </p:nvSpPr>
        <p:spPr>
          <a:xfrm>
            <a:off x="830169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3622876"/>
      </p:ext>
    </p:extLst>
  </p:cSld>
  <p:clrMapOvr>
    <a:masterClrMapping/>
  </p:clrMapOvr>
  <p:transition spd="med"/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/>
          <p:nvPr/>
        </p:nvSpPr>
        <p:spPr>
          <a:xfrm>
            <a:off x="877551" y="1958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127" name="Shape 127"/>
          <p:cNvSpPr/>
          <p:nvPr/>
        </p:nvSpPr>
        <p:spPr>
          <a:xfrm>
            <a:off x="200725" y="228781"/>
            <a:ext cx="659934" cy="699975"/>
          </a:xfrm>
          <a:prstGeom prst="ellips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28" name="Shape 128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29" name="Shape 129"/>
          <p:cNvSpPr/>
          <p:nvPr/>
        </p:nvSpPr>
        <p:spPr>
          <a:xfrm>
            <a:off x="0" y="6629785"/>
            <a:ext cx="9144000" cy="22878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30" name="Shape 130"/>
          <p:cNvSpPr>
            <a:spLocks noGrp="1"/>
          </p:cNvSpPr>
          <p:nvPr>
            <p:ph type="sldNum" sz="quarter" idx="2"/>
          </p:nvPr>
        </p:nvSpPr>
        <p:spPr>
          <a:xfrm>
            <a:off x="6278135" y="6218411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71822470"/>
      </p:ext>
    </p:extLst>
  </p:cSld>
  <p:clrMapOvr>
    <a:masterClrMapping/>
  </p:clrMapOvr>
  <p:transition spd="med"/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/>
          <p:nvPr/>
        </p:nvSpPr>
        <p:spPr>
          <a:xfrm>
            <a:off x="877551" y="1958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148" name="Shape 148"/>
          <p:cNvSpPr/>
          <p:nvPr/>
        </p:nvSpPr>
        <p:spPr>
          <a:xfrm>
            <a:off x="200725" y="228781"/>
            <a:ext cx="659934" cy="699975"/>
          </a:xfrm>
          <a:prstGeom prst="ellipse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49" name="Shape 149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50" name="Shape 150"/>
          <p:cNvSpPr>
            <a:spLocks noGrp="1"/>
          </p:cNvSpPr>
          <p:nvPr>
            <p:ph type="sldNum" sz="quarter" idx="2"/>
          </p:nvPr>
        </p:nvSpPr>
        <p:spPr>
          <a:xfrm>
            <a:off x="6278135" y="6218411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1921407"/>
      </p:ext>
    </p:extLst>
  </p:cSld>
  <p:clrMapOvr>
    <a:masterClrMapping/>
  </p:clrMapOvr>
  <p:transition spd="med"/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/>
          <p:nvPr/>
        </p:nvSpPr>
        <p:spPr>
          <a:xfrm>
            <a:off x="877539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158" name="Shape 158"/>
          <p:cNvSpPr/>
          <p:nvPr/>
        </p:nvSpPr>
        <p:spPr>
          <a:xfrm>
            <a:off x="200725" y="228781"/>
            <a:ext cx="659934" cy="699975"/>
          </a:xfrm>
          <a:prstGeom prst="ellipse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59" name="Shape 159"/>
          <p:cNvSpPr/>
          <p:nvPr/>
        </p:nvSpPr>
        <p:spPr>
          <a:xfrm>
            <a:off x="346183" y="377799"/>
            <a:ext cx="369018" cy="4019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60" name="Shape 160"/>
          <p:cNvSpPr/>
          <p:nvPr/>
        </p:nvSpPr>
        <p:spPr>
          <a:xfrm>
            <a:off x="0" y="6629785"/>
            <a:ext cx="9144000" cy="228781"/>
          </a:xfrm>
          <a:prstGeom prst="rect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61" name="Shape 161"/>
          <p:cNvSpPr>
            <a:spLocks noGrp="1"/>
          </p:cNvSpPr>
          <p:nvPr>
            <p:ph type="sldNum" sz="quarter" idx="2"/>
          </p:nvPr>
        </p:nvSpPr>
        <p:spPr>
          <a:xfrm>
            <a:off x="6278135" y="6218411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718649"/>
      </p:ext>
    </p:extLst>
  </p:cSld>
  <p:clrMapOvr>
    <a:masterClrMapping/>
  </p:clrMapOvr>
  <p:transition spd="med"/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Shape 178"/>
          <p:cNvSpPr/>
          <p:nvPr/>
        </p:nvSpPr>
        <p:spPr>
          <a:xfrm>
            <a:off x="877539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179" name="Shape 179"/>
          <p:cNvSpPr/>
          <p:nvPr/>
        </p:nvSpPr>
        <p:spPr>
          <a:xfrm>
            <a:off x="200725" y="228781"/>
            <a:ext cx="659934" cy="699975"/>
          </a:xfrm>
          <a:prstGeom prst="ellipse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80" name="Shape 180"/>
          <p:cNvSpPr/>
          <p:nvPr/>
        </p:nvSpPr>
        <p:spPr>
          <a:xfrm>
            <a:off x="346183" y="377799"/>
            <a:ext cx="369018" cy="4019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81" name="Shape 181"/>
          <p:cNvSpPr>
            <a:spLocks noGrp="1"/>
          </p:cNvSpPr>
          <p:nvPr>
            <p:ph type="sldNum" sz="quarter" idx="2"/>
          </p:nvPr>
        </p:nvSpPr>
        <p:spPr>
          <a:xfrm>
            <a:off x="6278135" y="6218411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4317693"/>
      </p:ext>
    </p:extLst>
  </p:cSld>
  <p:clrMapOvr>
    <a:masterClrMapping/>
  </p:clrMapOvr>
  <p:transition spd="med"/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Shape 188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189" name="Shape 18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lIns="45664" tIns="45664" rIns="45664" bIns="45664"/>
          <a:lstStyle>
            <a:lvl1pPr marL="342475" indent="-342475" defTabSz="913270"/>
            <a:lvl2pPr marL="782804" indent="-326171" defTabSz="913270"/>
            <a:lvl3pPr marL="1217694" indent="-304423" defTabSz="913270"/>
            <a:lvl4pPr marL="1735215" indent="-365308" defTabSz="913270"/>
            <a:lvl5pPr marL="2191849" indent="-365307" defTabSz="913270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0" name="Shape 190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72031078"/>
      </p:ext>
    </p:extLst>
  </p:cSld>
  <p:clrMapOvr>
    <a:masterClrMapping/>
  </p:clrMapOvr>
  <p:transition spd="med"/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>
            <a:spLocks noGrp="1"/>
          </p:cNvSpPr>
          <p:nvPr>
            <p:ph type="title"/>
          </p:nvPr>
        </p:nvSpPr>
        <p:spPr>
          <a:xfrm>
            <a:off x="722315" y="4407463"/>
            <a:ext cx="7772401" cy="1362077"/>
          </a:xfrm>
          <a:prstGeom prst="rect">
            <a:avLst/>
          </a:prstGeom>
        </p:spPr>
        <p:txBody>
          <a:bodyPr lIns="45664" tIns="45664" rIns="45664" bIns="45664" anchor="t"/>
          <a:lstStyle>
            <a:lvl1pPr algn="l" defTabSz="913270">
              <a:defRPr sz="4000" b="1" cap="all"/>
            </a:lvl1pPr>
          </a:lstStyle>
          <a:p>
            <a:r>
              <a:t>Текст заголовка</a:t>
            </a:r>
          </a:p>
        </p:txBody>
      </p:sp>
      <p:sp>
        <p:nvSpPr>
          <p:cNvPr id="198" name="Shape 198"/>
          <p:cNvSpPr>
            <a:spLocks noGrp="1"/>
          </p:cNvSpPr>
          <p:nvPr>
            <p:ph type="body" sz="quarter" idx="1"/>
          </p:nvPr>
        </p:nvSpPr>
        <p:spPr>
          <a:xfrm>
            <a:off x="722315" y="2906721"/>
            <a:ext cx="7772401" cy="1500189"/>
          </a:xfrm>
          <a:prstGeom prst="rect">
            <a:avLst/>
          </a:prstGeom>
        </p:spPr>
        <p:txBody>
          <a:bodyPr lIns="45664" tIns="45664" rIns="45664" bIns="45664" anchor="b"/>
          <a:lstStyle>
            <a:lvl1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9" name="Shape 199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8054544"/>
      </p:ext>
    </p:extLst>
  </p:cSld>
  <p:clrMapOvr>
    <a:masterClrMapping/>
  </p:clrMapOvr>
  <p:transition spd="med"/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07" name="Shape 207"/>
          <p:cNvSpPr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 lIns="45664" tIns="45664" rIns="45664" bIns="45664"/>
          <a:lstStyle>
            <a:lvl1pPr marL="342475" indent="-342475" defTabSz="913270">
              <a:spcBef>
                <a:spcPts val="600"/>
              </a:spcBef>
              <a:defRPr sz="2800"/>
            </a:lvl1pPr>
            <a:lvl2pPr marL="789598" indent="-332966" defTabSz="913270">
              <a:spcBef>
                <a:spcPts val="600"/>
              </a:spcBef>
              <a:defRPr sz="2800"/>
            </a:lvl2pPr>
            <a:lvl3pPr marL="1232916" indent="-319645" defTabSz="913270">
              <a:spcBef>
                <a:spcPts val="600"/>
              </a:spcBef>
              <a:defRPr sz="2800"/>
            </a:lvl3pPr>
            <a:lvl4pPr marL="1725067" indent="-355160" defTabSz="913270">
              <a:spcBef>
                <a:spcPts val="600"/>
              </a:spcBef>
              <a:defRPr sz="2800"/>
            </a:lvl4pPr>
            <a:lvl5pPr marL="2181703" indent="-355161" defTabSz="91327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8" name="Shape 208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7821075"/>
      </p:ext>
    </p:extLst>
  </p:cSld>
  <p:clrMapOvr>
    <a:masterClrMapping/>
  </p:clrMapOvr>
  <p:transition spd="med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1657065"/>
      </p:ext>
    </p:extLst>
  </p:cSld>
  <p:clrMapOvr>
    <a:masterClrMapping/>
  </p:clrMapOvr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Shape 215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16" name="Shape 216"/>
          <p:cNvSpPr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lIns="45664" tIns="45664" rIns="45664" bIns="45664" anchor="b"/>
          <a:lstStyle>
            <a:lvl1pPr marL="0" indent="0" defTabSz="91327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0" defTabSz="913270">
              <a:spcBef>
                <a:spcPts val="500"/>
              </a:spcBef>
              <a:buSzTx/>
              <a:buFontTx/>
              <a:buNone/>
              <a:defRPr sz="2400" b="1"/>
            </a:lvl2pPr>
            <a:lvl3pPr marL="0" indent="0" defTabSz="913270">
              <a:spcBef>
                <a:spcPts val="500"/>
              </a:spcBef>
              <a:buSzTx/>
              <a:buFontTx/>
              <a:buNone/>
              <a:defRPr sz="2400" b="1"/>
            </a:lvl3pPr>
            <a:lvl4pPr marL="0" indent="0" defTabSz="913270">
              <a:spcBef>
                <a:spcPts val="500"/>
              </a:spcBef>
              <a:buSzTx/>
              <a:buFontTx/>
              <a:buNone/>
              <a:defRPr sz="2400" b="1"/>
            </a:lvl4pPr>
            <a:lvl5pPr marL="0" indent="0" defTabSz="913270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7" name="Shape 217"/>
          <p:cNvSpPr>
            <a:spLocks noGrp="1"/>
          </p:cNvSpPr>
          <p:nvPr>
            <p:ph type="body" sz="quarter" idx="13"/>
          </p:nvPr>
        </p:nvSpPr>
        <p:spPr>
          <a:xfrm>
            <a:off x="4645031" y="1535111"/>
            <a:ext cx="4041777" cy="639765"/>
          </a:xfrm>
          <a:prstGeom prst="rect">
            <a:avLst/>
          </a:prstGeom>
        </p:spPr>
        <p:txBody>
          <a:bodyPr anchor="b"/>
          <a:lstStyle/>
          <a:p>
            <a:endParaRPr/>
          </a:p>
        </p:txBody>
      </p:sp>
      <p:sp>
        <p:nvSpPr>
          <p:cNvPr id="218" name="Shape 218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7207340"/>
      </p:ext>
    </p:extLst>
  </p:cSld>
  <p:clrMapOvr>
    <a:masterClrMapping/>
  </p:clrMapOvr>
  <p:transition spd="med"/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26" name="Shape 226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2660532"/>
      </p:ext>
    </p:extLst>
  </p:cSld>
  <p:clrMapOvr>
    <a:masterClrMapping/>
  </p:clrMapOvr>
  <p:transition spd="med"/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Shape 250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2" cy="566738"/>
          </a:xfrm>
          <a:prstGeom prst="rect">
            <a:avLst/>
          </a:prstGeom>
        </p:spPr>
        <p:txBody>
          <a:bodyPr lIns="45664" tIns="45664" rIns="45664" bIns="45664" anchor="b"/>
          <a:lstStyle>
            <a:lvl1pPr algn="l" defTabSz="913270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251" name="Shape 251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2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52" name="Shape 252"/>
          <p:cNvSpPr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2" cy="804864"/>
          </a:xfrm>
          <a:prstGeom prst="rect">
            <a:avLst/>
          </a:prstGeom>
        </p:spPr>
        <p:txBody>
          <a:bodyPr lIns="45664" tIns="45664" rIns="45664" bIns="45664"/>
          <a:lstStyle>
            <a:lvl1pPr marL="0" indent="0" defTabSz="913270">
              <a:spcBef>
                <a:spcPts val="300"/>
              </a:spcBef>
              <a:buSzTx/>
              <a:buFontTx/>
              <a:buNone/>
              <a:defRPr sz="1400"/>
            </a:lvl1pPr>
            <a:lvl2pPr marL="0" indent="0" defTabSz="913270">
              <a:spcBef>
                <a:spcPts val="300"/>
              </a:spcBef>
              <a:buSzTx/>
              <a:buFontTx/>
              <a:buNone/>
              <a:defRPr sz="1400"/>
            </a:lvl2pPr>
            <a:lvl3pPr marL="0" indent="0" defTabSz="913270">
              <a:spcBef>
                <a:spcPts val="300"/>
              </a:spcBef>
              <a:buSzTx/>
              <a:buFontTx/>
              <a:buNone/>
              <a:defRPr sz="1400"/>
            </a:lvl3pPr>
            <a:lvl4pPr marL="0" indent="0" defTabSz="913270">
              <a:spcBef>
                <a:spcPts val="300"/>
              </a:spcBef>
              <a:buSzTx/>
              <a:buFontTx/>
              <a:buNone/>
              <a:defRPr sz="1400"/>
            </a:lvl4pPr>
            <a:lvl5pPr marL="0" indent="0" defTabSz="913270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3" name="Shape 253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9706027"/>
      </p:ext>
    </p:extLst>
  </p:cSld>
  <p:clrMapOvr>
    <a:masterClrMapping/>
  </p:clrMapOvr>
  <p:transition spd="med"/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Shape 260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61" name="Shape 26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lIns="45664" tIns="45664" rIns="45664" bIns="45664"/>
          <a:lstStyle>
            <a:lvl1pPr marL="342475" indent="-342475" defTabSz="913270"/>
            <a:lvl2pPr marL="782804" indent="-326171" defTabSz="913270"/>
            <a:lvl3pPr marL="1217694" indent="-304423" defTabSz="913270"/>
            <a:lvl4pPr marL="1735215" indent="-365308" defTabSz="913270"/>
            <a:lvl5pPr marL="2191849" indent="-365307" defTabSz="913270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2" name="Shape 262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1431413"/>
      </p:ext>
    </p:extLst>
  </p:cSld>
  <p:clrMapOvr>
    <a:masterClrMapping/>
  </p:clrMapOvr>
  <p:transition spd="med"/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Shape 269"/>
          <p:cNvSpPr>
            <a:spLocks noGrp="1"/>
          </p:cNvSpPr>
          <p:nvPr>
            <p:ph type="title"/>
          </p:nvPr>
        </p:nvSpPr>
        <p:spPr>
          <a:xfrm>
            <a:off x="6629400" y="274642"/>
            <a:ext cx="2057400" cy="5851527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70" name="Shape 270"/>
          <p:cNvSpPr>
            <a:spLocks noGrp="1"/>
          </p:cNvSpPr>
          <p:nvPr>
            <p:ph type="body" idx="1"/>
          </p:nvPr>
        </p:nvSpPr>
        <p:spPr>
          <a:xfrm>
            <a:off x="457200" y="274642"/>
            <a:ext cx="6019800" cy="5851527"/>
          </a:xfrm>
          <a:prstGeom prst="rect">
            <a:avLst/>
          </a:prstGeom>
        </p:spPr>
        <p:txBody>
          <a:bodyPr lIns="45664" tIns="45664" rIns="45664" bIns="45664"/>
          <a:lstStyle>
            <a:lvl1pPr marL="342475" indent="-342475" defTabSz="913270"/>
            <a:lvl2pPr marL="782804" indent="-326171" defTabSz="913270"/>
            <a:lvl3pPr marL="1217694" indent="-304423" defTabSz="913270"/>
            <a:lvl4pPr marL="1735215" indent="-365308" defTabSz="913270"/>
            <a:lvl5pPr marL="2191849" indent="-365307" defTabSz="913270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1" name="Shape 271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2174474"/>
      </p:ext>
    </p:extLst>
  </p:cSld>
  <p:clrMapOvr>
    <a:masterClrMapping/>
  </p:clrMapOvr>
  <p:transition spd="med"/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Shape 285"/>
          <p:cNvSpPr/>
          <p:nvPr/>
        </p:nvSpPr>
        <p:spPr>
          <a:xfrm>
            <a:off x="877551" y="1958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286" name="Shape 286"/>
          <p:cNvSpPr/>
          <p:nvPr/>
        </p:nvSpPr>
        <p:spPr>
          <a:xfrm>
            <a:off x="200725" y="228781"/>
            <a:ext cx="659934" cy="699975"/>
          </a:xfrm>
          <a:prstGeom prst="ellips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87" name="Shape 287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88" name="Shape 288"/>
          <p:cNvSpPr/>
          <p:nvPr/>
        </p:nvSpPr>
        <p:spPr>
          <a:xfrm>
            <a:off x="0" y="6629782"/>
            <a:ext cx="9144000" cy="22878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89" name="Shape 289"/>
          <p:cNvSpPr>
            <a:spLocks noGrp="1"/>
          </p:cNvSpPr>
          <p:nvPr>
            <p:ph type="sldNum" sz="quarter" idx="2"/>
          </p:nvPr>
        </p:nvSpPr>
        <p:spPr>
          <a:xfrm>
            <a:off x="6278135" y="6218411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90853824"/>
      </p:ext>
    </p:extLst>
  </p:cSld>
  <p:clrMapOvr>
    <a:masterClrMapping/>
  </p:clrMapOvr>
  <p:transition spd="med"/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Shape 306"/>
          <p:cNvSpPr/>
          <p:nvPr/>
        </p:nvSpPr>
        <p:spPr>
          <a:xfrm>
            <a:off x="877551" y="1958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307" name="Shape 307"/>
          <p:cNvSpPr/>
          <p:nvPr/>
        </p:nvSpPr>
        <p:spPr>
          <a:xfrm>
            <a:off x="200725" y="228781"/>
            <a:ext cx="659934" cy="699975"/>
          </a:xfrm>
          <a:prstGeom prst="ellipse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08" name="Shape 308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78135" y="6218411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98697290"/>
      </p:ext>
    </p:extLst>
  </p:cSld>
  <p:clrMapOvr>
    <a:masterClrMapping/>
  </p:clrMapOvr>
  <p:transition spd="med"/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Shape 316"/>
          <p:cNvSpPr/>
          <p:nvPr/>
        </p:nvSpPr>
        <p:spPr>
          <a:xfrm>
            <a:off x="877539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317" name="Shape 317"/>
          <p:cNvSpPr/>
          <p:nvPr/>
        </p:nvSpPr>
        <p:spPr>
          <a:xfrm>
            <a:off x="200725" y="228781"/>
            <a:ext cx="659934" cy="699975"/>
          </a:xfrm>
          <a:prstGeom prst="ellipse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18" name="Shape 318"/>
          <p:cNvSpPr/>
          <p:nvPr/>
        </p:nvSpPr>
        <p:spPr>
          <a:xfrm>
            <a:off x="346183" y="377800"/>
            <a:ext cx="369018" cy="4019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319" name="Shape 319"/>
          <p:cNvSpPr/>
          <p:nvPr/>
        </p:nvSpPr>
        <p:spPr>
          <a:xfrm>
            <a:off x="0" y="6629782"/>
            <a:ext cx="9144000" cy="228781"/>
          </a:xfrm>
          <a:prstGeom prst="rect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20" name="Shape 320"/>
          <p:cNvSpPr>
            <a:spLocks noGrp="1"/>
          </p:cNvSpPr>
          <p:nvPr>
            <p:ph type="sldNum" sz="quarter" idx="2"/>
          </p:nvPr>
        </p:nvSpPr>
        <p:spPr>
          <a:xfrm>
            <a:off x="6278135" y="6218411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2638319"/>
      </p:ext>
    </p:extLst>
  </p:cSld>
  <p:clrMapOvr>
    <a:masterClrMapping/>
  </p:clrMapOvr>
  <p:transition spd="med"/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Shape 337"/>
          <p:cNvSpPr/>
          <p:nvPr/>
        </p:nvSpPr>
        <p:spPr>
          <a:xfrm>
            <a:off x="877539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338" name="Shape 338"/>
          <p:cNvSpPr/>
          <p:nvPr/>
        </p:nvSpPr>
        <p:spPr>
          <a:xfrm>
            <a:off x="200725" y="228781"/>
            <a:ext cx="659934" cy="699975"/>
          </a:xfrm>
          <a:prstGeom prst="ellipse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39" name="Shape 339"/>
          <p:cNvSpPr/>
          <p:nvPr/>
        </p:nvSpPr>
        <p:spPr>
          <a:xfrm>
            <a:off x="346183" y="377800"/>
            <a:ext cx="369018" cy="4019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340" name="Shape 340"/>
          <p:cNvSpPr>
            <a:spLocks noGrp="1"/>
          </p:cNvSpPr>
          <p:nvPr>
            <p:ph type="sldNum" sz="quarter" idx="2"/>
          </p:nvPr>
        </p:nvSpPr>
        <p:spPr>
          <a:xfrm>
            <a:off x="6278135" y="6218411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0636463"/>
      </p:ext>
    </p:extLst>
  </p:cSld>
  <p:clrMapOvr>
    <a:masterClrMapping/>
  </p:clrMapOvr>
  <p:transition spd="med"/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Shape 347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348" name="Shape 34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/>
            <a:lvl2pPr marL="783217" indent="-326341" defTabSz="913754"/>
            <a:lvl3pPr marL="1218339" indent="-304584" defTabSz="913754"/>
            <a:lvl4pPr marL="1736133" indent="-365502" defTabSz="913754"/>
            <a:lvl5pPr marL="2193010" indent="-365501" defTabSz="913754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9" name="Shape 349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3326215"/>
      </p:ext>
    </p:extLst>
  </p:cSld>
  <p:clrMapOvr>
    <a:masterClrMapping/>
  </p:clrMapOvr>
  <p:transition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1135923"/>
      </p:ext>
    </p:extLst>
  </p:cSld>
  <p:clrMapOvr>
    <a:masterClrMapping/>
  </p:clrMapOvr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Shape 356"/>
          <p:cNvSpPr>
            <a:spLocks noGrp="1"/>
          </p:cNvSpPr>
          <p:nvPr>
            <p:ph type="title"/>
          </p:nvPr>
        </p:nvSpPr>
        <p:spPr>
          <a:xfrm>
            <a:off x="722315" y="4407461"/>
            <a:ext cx="7772401" cy="1362077"/>
          </a:xfrm>
          <a:prstGeom prst="rect">
            <a:avLst/>
          </a:prstGeom>
        </p:spPr>
        <p:txBody>
          <a:bodyPr lIns="45687" tIns="45687" rIns="45687" bIns="45687" anchor="t"/>
          <a:lstStyle>
            <a:lvl1pPr algn="l" defTabSz="913754">
              <a:defRPr sz="4000" b="1" cap="all"/>
            </a:lvl1pPr>
          </a:lstStyle>
          <a:p>
            <a:r>
              <a:t>Текст заголовка</a:t>
            </a:r>
          </a:p>
        </p:txBody>
      </p:sp>
      <p:sp>
        <p:nvSpPr>
          <p:cNvPr id="357" name="Shape 357"/>
          <p:cNvSpPr>
            <a:spLocks noGrp="1"/>
          </p:cNvSpPr>
          <p:nvPr>
            <p:ph type="body" sz="quarter" idx="1"/>
          </p:nvPr>
        </p:nvSpPr>
        <p:spPr>
          <a:xfrm>
            <a:off x="722315" y="2906721"/>
            <a:ext cx="7772401" cy="1500189"/>
          </a:xfrm>
          <a:prstGeom prst="rect">
            <a:avLst/>
          </a:prstGeom>
        </p:spPr>
        <p:txBody>
          <a:bodyPr lIns="45687" tIns="45687" rIns="45687" bIns="45687" anchor="b"/>
          <a:lstStyle>
            <a:lvl1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8" name="Shape 358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2682463"/>
      </p:ext>
    </p:extLst>
  </p:cSld>
  <p:clrMapOvr>
    <a:masterClrMapping/>
  </p:clrMapOvr>
  <p:transition spd="med"/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Shape 365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366" name="Shape 366"/>
          <p:cNvSpPr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>
              <a:spcBef>
                <a:spcPts val="600"/>
              </a:spcBef>
              <a:defRPr sz="2800"/>
            </a:lvl1pPr>
            <a:lvl2pPr marL="790016" indent="-333141" defTabSz="913754">
              <a:spcBef>
                <a:spcPts val="600"/>
              </a:spcBef>
              <a:defRPr sz="2800"/>
            </a:lvl2pPr>
            <a:lvl3pPr marL="1233568" indent="-319814" defTabSz="913754">
              <a:spcBef>
                <a:spcPts val="600"/>
              </a:spcBef>
              <a:defRPr sz="2800"/>
            </a:lvl3pPr>
            <a:lvl4pPr marL="1725981" indent="-355349" defTabSz="913754">
              <a:spcBef>
                <a:spcPts val="600"/>
              </a:spcBef>
              <a:defRPr sz="2800"/>
            </a:lvl4pPr>
            <a:lvl5pPr marL="2182858" indent="-355349" defTabSz="913754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67" name="Shape 367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070334"/>
      </p:ext>
    </p:extLst>
  </p:cSld>
  <p:clrMapOvr>
    <a:masterClrMapping/>
  </p:clrMapOvr>
  <p:transition spd="med"/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Shape 374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375" name="Shape 375"/>
          <p:cNvSpPr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lIns="45687" tIns="45687" rIns="45687" bIns="45687" anchor="b"/>
          <a:lstStyle>
            <a:lvl1pPr marL="0" indent="0" defTabSz="913754">
              <a:spcBef>
                <a:spcPts val="500"/>
              </a:spcBef>
              <a:buSzTx/>
              <a:buFontTx/>
              <a:buNone/>
              <a:defRPr sz="2400" b="1"/>
            </a:lvl1pPr>
            <a:lvl2pPr marL="0" indent="0" defTabSz="913754">
              <a:spcBef>
                <a:spcPts val="500"/>
              </a:spcBef>
              <a:buSzTx/>
              <a:buFontTx/>
              <a:buNone/>
              <a:defRPr sz="2400" b="1"/>
            </a:lvl2pPr>
            <a:lvl3pPr marL="0" indent="0" defTabSz="913754">
              <a:spcBef>
                <a:spcPts val="500"/>
              </a:spcBef>
              <a:buSzTx/>
              <a:buFontTx/>
              <a:buNone/>
              <a:defRPr sz="2400" b="1"/>
            </a:lvl3pPr>
            <a:lvl4pPr marL="0" indent="0" defTabSz="913754">
              <a:spcBef>
                <a:spcPts val="500"/>
              </a:spcBef>
              <a:buSzTx/>
              <a:buFontTx/>
              <a:buNone/>
              <a:defRPr sz="2400" b="1"/>
            </a:lvl4pPr>
            <a:lvl5pPr marL="0" indent="0" defTabSz="913754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76" name="Shape 376"/>
          <p:cNvSpPr>
            <a:spLocks noGrp="1"/>
          </p:cNvSpPr>
          <p:nvPr>
            <p:ph type="body" sz="quarter" idx="13"/>
          </p:nvPr>
        </p:nvSpPr>
        <p:spPr>
          <a:xfrm>
            <a:off x="4645028" y="1535111"/>
            <a:ext cx="4041777" cy="639765"/>
          </a:xfrm>
          <a:prstGeom prst="rect">
            <a:avLst/>
          </a:prstGeom>
        </p:spPr>
        <p:txBody>
          <a:bodyPr anchor="b"/>
          <a:lstStyle/>
          <a:p>
            <a:endParaRPr/>
          </a:p>
        </p:txBody>
      </p:sp>
      <p:sp>
        <p:nvSpPr>
          <p:cNvPr id="377" name="Shape 377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45433"/>
      </p:ext>
    </p:extLst>
  </p:cSld>
  <p:clrMapOvr>
    <a:masterClrMapping/>
  </p:clrMapOvr>
  <p:transition spd="med"/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Shape 384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385" name="Shape 385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5319704"/>
      </p:ext>
    </p:extLst>
  </p:cSld>
  <p:clrMapOvr>
    <a:masterClrMapping/>
  </p:clrMapOvr>
  <p:transition spd="med"/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Shape 392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09508887"/>
      </p:ext>
    </p:extLst>
  </p:cSld>
  <p:clrMapOvr>
    <a:masterClrMapping/>
  </p:clrMapOvr>
  <p:transition spd="med"/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Shape 399"/>
          <p:cNvSpPr>
            <a:spLocks noGrp="1"/>
          </p:cNvSpPr>
          <p:nvPr>
            <p:ph type="title"/>
          </p:nvPr>
        </p:nvSpPr>
        <p:spPr>
          <a:xfrm>
            <a:off x="457218" y="273050"/>
            <a:ext cx="3008315" cy="1162050"/>
          </a:xfrm>
          <a:prstGeom prst="rect">
            <a:avLst/>
          </a:prstGeom>
        </p:spPr>
        <p:txBody>
          <a:bodyPr lIns="45687" tIns="45687" rIns="45687" bIns="45687" anchor="b"/>
          <a:lstStyle>
            <a:lvl1pPr algn="l" defTabSz="913754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400" name="Shape 400"/>
          <p:cNvSpPr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/>
            <a:lvl2pPr marL="783217" indent="-326341" defTabSz="913754"/>
            <a:lvl3pPr marL="1218339" indent="-304584" defTabSz="913754"/>
            <a:lvl4pPr marL="1736133" indent="-365502" defTabSz="913754"/>
            <a:lvl5pPr marL="2193010" indent="-365501" defTabSz="913754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01" name="Shape 401"/>
          <p:cNvSpPr>
            <a:spLocks noGrp="1"/>
          </p:cNvSpPr>
          <p:nvPr>
            <p:ph type="body" sz="half" idx="13"/>
          </p:nvPr>
        </p:nvSpPr>
        <p:spPr>
          <a:xfrm>
            <a:off x="457217" y="1435102"/>
            <a:ext cx="3008317" cy="4691063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02" name="Shape 402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98396553"/>
      </p:ext>
    </p:extLst>
  </p:cSld>
  <p:clrMapOvr>
    <a:masterClrMapping/>
  </p:clrMapOvr>
  <p:transition spd="med"/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Shape 409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2" cy="566738"/>
          </a:xfrm>
          <a:prstGeom prst="rect">
            <a:avLst/>
          </a:prstGeom>
        </p:spPr>
        <p:txBody>
          <a:bodyPr lIns="45687" tIns="45687" rIns="45687" bIns="45687" anchor="b"/>
          <a:lstStyle>
            <a:lvl1pPr algn="l" defTabSz="913754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410" name="Shape 410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2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11" name="Shape 411"/>
          <p:cNvSpPr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2" cy="804864"/>
          </a:xfrm>
          <a:prstGeom prst="rect">
            <a:avLst/>
          </a:prstGeom>
        </p:spPr>
        <p:txBody>
          <a:bodyPr lIns="45687" tIns="45687" rIns="45687" bIns="45687"/>
          <a:lstStyle>
            <a:lvl1pPr marL="0" indent="0" defTabSz="913754">
              <a:spcBef>
                <a:spcPts val="300"/>
              </a:spcBef>
              <a:buSzTx/>
              <a:buFontTx/>
              <a:buNone/>
              <a:defRPr sz="1400"/>
            </a:lvl1pPr>
            <a:lvl2pPr marL="0" indent="0" defTabSz="913754">
              <a:spcBef>
                <a:spcPts val="300"/>
              </a:spcBef>
              <a:buSzTx/>
              <a:buFontTx/>
              <a:buNone/>
              <a:defRPr sz="1400"/>
            </a:lvl2pPr>
            <a:lvl3pPr marL="0" indent="0" defTabSz="913754">
              <a:spcBef>
                <a:spcPts val="300"/>
              </a:spcBef>
              <a:buSzTx/>
              <a:buFontTx/>
              <a:buNone/>
              <a:defRPr sz="1400"/>
            </a:lvl3pPr>
            <a:lvl4pPr marL="0" indent="0" defTabSz="913754">
              <a:spcBef>
                <a:spcPts val="300"/>
              </a:spcBef>
              <a:buSzTx/>
              <a:buFontTx/>
              <a:buNone/>
              <a:defRPr sz="1400"/>
            </a:lvl4pPr>
            <a:lvl5pPr marL="0" indent="0" defTabSz="913754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2" name="Shape 412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97321694"/>
      </p:ext>
    </p:extLst>
  </p:cSld>
  <p:clrMapOvr>
    <a:masterClrMapping/>
  </p:clrMapOvr>
  <p:transition spd="med"/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Shape 419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420" name="Shape 42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/>
            <a:lvl2pPr marL="783217" indent="-326341" defTabSz="913754"/>
            <a:lvl3pPr marL="1218339" indent="-304584" defTabSz="913754"/>
            <a:lvl4pPr marL="1736133" indent="-365502" defTabSz="913754"/>
            <a:lvl5pPr marL="2193010" indent="-365501" defTabSz="913754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1" name="Shape 421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1999633"/>
      </p:ext>
    </p:extLst>
  </p:cSld>
  <p:clrMapOvr>
    <a:masterClrMapping/>
  </p:clrMapOvr>
  <p:transition spd="med"/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Shape 428"/>
          <p:cNvSpPr>
            <a:spLocks noGrp="1"/>
          </p:cNvSpPr>
          <p:nvPr>
            <p:ph type="title"/>
          </p:nvPr>
        </p:nvSpPr>
        <p:spPr>
          <a:xfrm>
            <a:off x="6629400" y="274642"/>
            <a:ext cx="2057400" cy="5851527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429" name="Shape 429"/>
          <p:cNvSpPr>
            <a:spLocks noGrp="1"/>
          </p:cNvSpPr>
          <p:nvPr>
            <p:ph type="body" idx="1"/>
          </p:nvPr>
        </p:nvSpPr>
        <p:spPr>
          <a:xfrm>
            <a:off x="457200" y="274642"/>
            <a:ext cx="6019800" cy="5851527"/>
          </a:xfrm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/>
            <a:lvl2pPr marL="783217" indent="-326341" defTabSz="913754"/>
            <a:lvl3pPr marL="1218339" indent="-304584" defTabSz="913754"/>
            <a:lvl4pPr marL="1736133" indent="-365502" defTabSz="913754"/>
            <a:lvl5pPr marL="2193010" indent="-365501" defTabSz="913754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30" name="Shape 430"/>
          <p:cNvSpPr>
            <a:spLocks noGrp="1"/>
          </p:cNvSpPr>
          <p:nvPr>
            <p:ph type="sldNum" sz="quarter" idx="2"/>
          </p:nvPr>
        </p:nvSpPr>
        <p:spPr>
          <a:xfrm>
            <a:off x="8412210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79244417"/>
      </p:ext>
    </p:extLst>
  </p:cSld>
  <p:clrMapOvr>
    <a:masterClrMapping/>
  </p:clrMapOvr>
  <p:transition spd="med"/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" name="Shape 43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38" name="Shape 43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39" name="Shape 439"/>
          <p:cNvSpPr>
            <a:spLocks noGrp="1"/>
          </p:cNvSpPr>
          <p:nvPr>
            <p:ph type="sldNum" sz="quarter" idx="2"/>
          </p:nvPr>
        </p:nvSpPr>
        <p:spPr>
          <a:xfrm>
            <a:off x="8412008" y="640097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6967607"/>
      </p:ext>
    </p:extLst>
  </p:cSld>
  <p:clrMapOvr>
    <a:masterClrMapping/>
  </p:clrMapOvr>
  <p:transition spd="med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7811689"/>
      </p:ext>
    </p:extLst>
  </p:cSld>
  <p:clrMapOvr>
    <a:masterClrMapping/>
  </p:clrMapOvr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77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15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75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54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8125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190984841"/>
      </p:ext>
    </p:extLst>
  </p:cSld>
  <p:clrMapOvr>
    <a:masterClrMapping/>
  </p:clrMapOvr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3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8448938"/>
      </p:ext>
    </p:extLst>
  </p:cSld>
  <p:clrMapOvr>
    <a:masterClrMapping/>
  </p:clrMapOvr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4443257" y="880583"/>
            <a:ext cx="15947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1" name="Линия"/>
          <p:cNvSpPr/>
          <p:nvPr/>
        </p:nvSpPr>
        <p:spPr>
          <a:xfrm flipH="1">
            <a:off x="4541273" y="880583"/>
            <a:ext cx="15947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2" name="Линия"/>
          <p:cNvSpPr/>
          <p:nvPr/>
        </p:nvSpPr>
        <p:spPr>
          <a:xfrm flipH="1">
            <a:off x="4507784" y="880583"/>
            <a:ext cx="15947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3" name="Линия"/>
          <p:cNvSpPr/>
          <p:nvPr/>
        </p:nvSpPr>
        <p:spPr>
          <a:xfrm>
            <a:off x="4332231" y="1280109"/>
            <a:ext cx="479542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4" name="Прямоугольник"/>
          <p:cNvSpPr/>
          <p:nvPr/>
        </p:nvSpPr>
        <p:spPr>
          <a:xfrm>
            <a:off x="-1042" y="-5954"/>
            <a:ext cx="9146084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294891"/>
                </a:solidFill>
              </a:defRPr>
            </a:pPr>
            <a:endParaRPr sz="3200" kern="0">
              <a:solidFill>
                <a:srgbClr val="294891"/>
              </a:solidFill>
              <a:sym typeface="Helvetica Light"/>
            </a:endParaRPr>
          </a:p>
        </p:txBody>
      </p:sp>
      <p:sp>
        <p:nvSpPr>
          <p:cNvPr id="25" name="Прямоугольник"/>
          <p:cNvSpPr/>
          <p:nvPr/>
        </p:nvSpPr>
        <p:spPr>
          <a:xfrm>
            <a:off x="-1042" y="6546820"/>
            <a:ext cx="9146084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rcRect l="39743" r="39743" b="36077"/>
          <a:stretch>
            <a:fillRect/>
          </a:stretch>
        </p:blipFill>
        <p:spPr>
          <a:xfrm>
            <a:off x="8540159" y="476088"/>
            <a:ext cx="392809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0813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5070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Изображение"/>
          <p:cNvSpPr>
            <a:spLocks noGrp="1"/>
          </p:cNvSpPr>
          <p:nvPr>
            <p:ph type="pic" idx="13"/>
          </p:nvPr>
        </p:nvSpPr>
        <p:spPr>
          <a:xfrm>
            <a:off x="-6772" y="-17860"/>
            <a:ext cx="9157646" cy="6893719"/>
          </a:xfrm>
          <a:prstGeom prst="rect">
            <a:avLst/>
          </a:prstGeom>
          <a:effectLst>
            <a:outerShdw blurRad="50800" dist="25400" dir="5400000" rotWithShape="0">
              <a:srgbClr val="000000">
                <a:alpha val="50000"/>
              </a:srgbClr>
            </a:outerShdw>
          </a:effectLst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35" name="Прямоугольник"/>
          <p:cNvSpPr>
            <a:spLocks noGrp="1"/>
          </p:cNvSpPr>
          <p:nvPr>
            <p:ph type="body" sz="quarter" idx="14"/>
          </p:nvPr>
        </p:nvSpPr>
        <p:spPr>
          <a:xfrm>
            <a:off x="1240144" y="4245008"/>
            <a:ext cx="6663716" cy="1707246"/>
          </a:xfrm>
          <a:prstGeom prst="rect">
            <a:avLst/>
          </a:prstGeom>
          <a:solidFill>
            <a:srgbClr val="000000">
              <a:alpha val="34000"/>
            </a:srgbClr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6" name="Eodem modo typi, qui nunc nobis videntur parum clari, fiant sollemnes in futurum."/>
          <p:cNvSpPr txBox="1">
            <a:spLocks noGrp="1"/>
          </p:cNvSpPr>
          <p:nvPr>
            <p:ph type="body" sz="quarter" idx="15"/>
          </p:nvPr>
        </p:nvSpPr>
        <p:spPr>
          <a:xfrm>
            <a:off x="2020079" y="4760744"/>
            <a:ext cx="5103853" cy="676147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37" name="Изображение"/>
          <p:cNvSpPr>
            <a:spLocks noGrp="1"/>
          </p:cNvSpPr>
          <p:nvPr>
            <p:ph type="pic" sz="quarter" idx="16"/>
          </p:nvPr>
        </p:nvSpPr>
        <p:spPr>
          <a:xfrm>
            <a:off x="1733254" y="3537818"/>
            <a:ext cx="941192" cy="1053053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pic>
        <p:nvPicPr>
          <p:cNvPr id="38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062146" y="172630"/>
            <a:ext cx="3455001" cy="1546105"/>
          </a:xfrm>
          <a:prstGeom prst="rect">
            <a:avLst/>
          </a:prstGeom>
          <a:ln w="12700">
            <a:miter lim="400000"/>
          </a:ln>
        </p:spPr>
      </p:pic>
      <p:sp>
        <p:nvSpPr>
          <p:cNvPr id="3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5060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"/>
          <p:cNvSpPr/>
          <p:nvPr/>
        </p:nvSpPr>
        <p:spPr>
          <a:xfrm>
            <a:off x="-2381" y="-5954"/>
            <a:ext cx="9148762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7" name="Прямоугольник"/>
          <p:cNvSpPr/>
          <p:nvPr/>
        </p:nvSpPr>
        <p:spPr>
          <a:xfrm>
            <a:off x="-2653" y="6527770"/>
            <a:ext cx="9144000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8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3853719" y="707164"/>
            <a:ext cx="1463440" cy="1951254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49" name="Robert Dolor"/>
          <p:cNvSpPr txBox="1">
            <a:spLocks noGrp="1"/>
          </p:cNvSpPr>
          <p:nvPr>
            <p:ph type="body" sz="quarter" idx="14"/>
          </p:nvPr>
        </p:nvSpPr>
        <p:spPr>
          <a:xfrm>
            <a:off x="3482584" y="2818378"/>
            <a:ext cx="2168543" cy="506870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9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Robert Dolor</a:t>
            </a:r>
          </a:p>
        </p:txBody>
      </p:sp>
      <p:sp>
        <p:nvSpPr>
          <p:cNvPr id="50" name="Комментарий в прямоугольнике"/>
          <p:cNvSpPr/>
          <p:nvPr/>
        </p:nvSpPr>
        <p:spPr>
          <a:xfrm flipH="1">
            <a:off x="2565759" y="3613260"/>
            <a:ext cx="317302" cy="3518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8"/>
                </a:lnTo>
                <a:lnTo>
                  <a:pt x="13779" y="14778"/>
                </a:lnTo>
                <a:lnTo>
                  <a:pt x="15947" y="21600"/>
                </a:lnTo>
                <a:lnTo>
                  <a:pt x="18105" y="14778"/>
                </a:lnTo>
                <a:lnTo>
                  <a:pt x="21600" y="14778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1" name="Typi non habent claritatem insitam; est usus legentis in iis qui facit eorum claritatem. Investigationes demonstraverunt lectores legere me lius quod ii legunt saepius. Claritas est etiam processus ut."/>
          <p:cNvSpPr txBox="1">
            <a:spLocks noGrp="1"/>
          </p:cNvSpPr>
          <p:nvPr>
            <p:ph type="body" sz="quarter" idx="15"/>
          </p:nvPr>
        </p:nvSpPr>
        <p:spPr>
          <a:xfrm>
            <a:off x="2500804" y="4134716"/>
            <a:ext cx="4142396" cy="799258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 Claritas est etiam processus ut.</a:t>
            </a:r>
          </a:p>
        </p:txBody>
      </p:sp>
      <p:sp>
        <p:nvSpPr>
          <p:cNvPr id="52" name="Simple title here"/>
          <p:cNvSpPr txBox="1">
            <a:spLocks noGrp="1"/>
          </p:cNvSpPr>
          <p:nvPr>
            <p:ph type="body" sz="quarter" idx="16"/>
          </p:nvPr>
        </p:nvSpPr>
        <p:spPr>
          <a:xfrm>
            <a:off x="3920539" y="3387243"/>
            <a:ext cx="1302922" cy="214482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 cap="all">
                <a:solidFill>
                  <a:srgbClr val="92919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53" name="“Eodem modo typi, qui nunc nobis videntur parum clari, fiant sollemnes in futurum.”"/>
          <p:cNvSpPr txBox="1">
            <a:spLocks noGrp="1"/>
          </p:cNvSpPr>
          <p:nvPr>
            <p:ph type="body" sz="quarter" idx="17"/>
          </p:nvPr>
        </p:nvSpPr>
        <p:spPr>
          <a:xfrm>
            <a:off x="2555890" y="5375099"/>
            <a:ext cx="4005432" cy="46070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i="1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“Eodem modo typi, qui nunc nobis videntur parum clari, fiant sollemnes in futurum.”</a:t>
            </a:r>
          </a:p>
        </p:txBody>
      </p:sp>
      <p:sp>
        <p:nvSpPr>
          <p:cNvPr id="5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68763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tem Descriptions &amp;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ervices Provided"/>
          <p:cNvSpPr txBox="1">
            <a:spLocks noGrp="1"/>
          </p:cNvSpPr>
          <p:nvPr>
            <p:ph type="body" sz="quarter" idx="13"/>
          </p:nvPr>
        </p:nvSpPr>
        <p:spPr>
          <a:xfrm>
            <a:off x="2424955" y="1096283"/>
            <a:ext cx="4294125" cy="691536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1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Services Provided</a:t>
            </a:r>
          </a:p>
        </p:txBody>
      </p:sp>
      <p:sp>
        <p:nvSpPr>
          <p:cNvPr id="62" name="Прямоугольник"/>
          <p:cNvSpPr/>
          <p:nvPr/>
        </p:nvSpPr>
        <p:spPr>
          <a:xfrm>
            <a:off x="-6607" y="-5954"/>
            <a:ext cx="9157221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3" name="Прямоугольник"/>
          <p:cNvSpPr/>
          <p:nvPr/>
        </p:nvSpPr>
        <p:spPr>
          <a:xfrm>
            <a:off x="-373" y="6527770"/>
            <a:ext cx="9144746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4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3731386" y="1884811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92919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65" name="Кружок"/>
          <p:cNvSpPr/>
          <p:nvPr/>
        </p:nvSpPr>
        <p:spPr>
          <a:xfrm>
            <a:off x="5780984" y="2818284"/>
            <a:ext cx="942428" cy="1256722"/>
          </a:xfrm>
          <a:prstGeom prst="ellipse">
            <a:avLst/>
          </a:prstGeom>
          <a:solidFill>
            <a:srgbClr val="F7F6F8"/>
          </a:solidFill>
          <a:ln w="12700">
            <a:solidFill>
              <a:srgbClr val="F7F6F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6" name="Кружок"/>
          <p:cNvSpPr/>
          <p:nvPr/>
        </p:nvSpPr>
        <p:spPr>
          <a:xfrm>
            <a:off x="4100788" y="2818284"/>
            <a:ext cx="942428" cy="1256722"/>
          </a:xfrm>
          <a:prstGeom prst="ellipse">
            <a:avLst/>
          </a:prstGeom>
          <a:solidFill>
            <a:srgbClr val="F7F6F8"/>
          </a:solidFill>
          <a:ln w="12700">
            <a:solidFill>
              <a:srgbClr val="F7F6F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7" name="Кружок"/>
          <p:cNvSpPr/>
          <p:nvPr/>
        </p:nvSpPr>
        <p:spPr>
          <a:xfrm>
            <a:off x="2420587" y="2818284"/>
            <a:ext cx="942428" cy="1256722"/>
          </a:xfrm>
          <a:prstGeom prst="ellipse">
            <a:avLst/>
          </a:prstGeom>
          <a:solidFill>
            <a:srgbClr val="F7F6F8"/>
          </a:solidFill>
          <a:ln w="12700">
            <a:solidFill>
              <a:srgbClr val="F7F6F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8" name="Изображение"/>
          <p:cNvSpPr>
            <a:spLocks noGrp="1"/>
          </p:cNvSpPr>
          <p:nvPr>
            <p:ph type="pic" sz="quarter" idx="15"/>
          </p:nvPr>
        </p:nvSpPr>
        <p:spPr>
          <a:xfrm>
            <a:off x="2618744" y="3082460"/>
            <a:ext cx="546367" cy="728489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69" name="Изображение"/>
          <p:cNvSpPr>
            <a:spLocks noGrp="1"/>
          </p:cNvSpPr>
          <p:nvPr>
            <p:ph type="pic" sz="quarter" idx="16"/>
          </p:nvPr>
        </p:nvSpPr>
        <p:spPr>
          <a:xfrm>
            <a:off x="4308430" y="3155999"/>
            <a:ext cx="527168" cy="567300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70" name="Accumsan et iusto odio dignissim qui"/>
          <p:cNvSpPr txBox="1">
            <a:spLocks noGrp="1"/>
          </p:cNvSpPr>
          <p:nvPr>
            <p:ph type="body" sz="quarter" idx="17"/>
          </p:nvPr>
        </p:nvSpPr>
        <p:spPr>
          <a:xfrm>
            <a:off x="2293667" y="4754149"/>
            <a:ext cx="1196311" cy="558792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A2A1A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Accumsan et iusto odio dignissim qui</a:t>
            </a:r>
          </a:p>
        </p:txBody>
      </p:sp>
      <p:sp>
        <p:nvSpPr>
          <p:cNvPr id="71" name="Изображение"/>
          <p:cNvSpPr>
            <a:spLocks noGrp="1"/>
          </p:cNvSpPr>
          <p:nvPr>
            <p:ph type="pic" sz="quarter" idx="18"/>
          </p:nvPr>
        </p:nvSpPr>
        <p:spPr>
          <a:xfrm>
            <a:off x="6041268" y="3124265"/>
            <a:ext cx="421901" cy="666308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72" name="Accumsan et iusto odio dignissim qui"/>
          <p:cNvSpPr txBox="1">
            <a:spLocks noGrp="1"/>
          </p:cNvSpPr>
          <p:nvPr>
            <p:ph type="body" sz="quarter" idx="19"/>
          </p:nvPr>
        </p:nvSpPr>
        <p:spPr>
          <a:xfrm>
            <a:off x="3997209" y="4754149"/>
            <a:ext cx="1176372" cy="558792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A2A1A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Accumsan et iusto odio dignissim qui</a:t>
            </a:r>
          </a:p>
        </p:txBody>
      </p:sp>
      <p:sp>
        <p:nvSpPr>
          <p:cNvPr id="73" name="Accumsan et iusto odio dignissim qui"/>
          <p:cNvSpPr txBox="1">
            <a:spLocks noGrp="1"/>
          </p:cNvSpPr>
          <p:nvPr>
            <p:ph type="body" sz="quarter" idx="20"/>
          </p:nvPr>
        </p:nvSpPr>
        <p:spPr>
          <a:xfrm>
            <a:off x="5654063" y="4754149"/>
            <a:ext cx="1196311" cy="558792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A2A1A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Accumsan et iusto odio dignissim qui</a:t>
            </a:r>
          </a:p>
        </p:txBody>
      </p:sp>
      <p:sp>
        <p:nvSpPr>
          <p:cNvPr id="74" name="Lorem ipsum"/>
          <p:cNvSpPr txBox="1">
            <a:spLocks noGrp="1"/>
          </p:cNvSpPr>
          <p:nvPr>
            <p:ph type="body" sz="quarter" idx="21"/>
          </p:nvPr>
        </p:nvSpPr>
        <p:spPr>
          <a:xfrm>
            <a:off x="2372665" y="4409318"/>
            <a:ext cx="1038272" cy="354618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Lorem ipsum</a:t>
            </a:r>
          </a:p>
        </p:txBody>
      </p:sp>
      <p:sp>
        <p:nvSpPr>
          <p:cNvPr id="75" name="Lorem ipsum"/>
          <p:cNvSpPr txBox="1">
            <a:spLocks noGrp="1"/>
          </p:cNvSpPr>
          <p:nvPr>
            <p:ph type="body" sz="quarter" idx="22"/>
          </p:nvPr>
        </p:nvSpPr>
        <p:spPr>
          <a:xfrm>
            <a:off x="4036747" y="4409318"/>
            <a:ext cx="1038272" cy="354618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Lorem ipsum</a:t>
            </a:r>
          </a:p>
        </p:txBody>
      </p:sp>
      <p:sp>
        <p:nvSpPr>
          <p:cNvPr id="76" name="Lorem ipsum"/>
          <p:cNvSpPr txBox="1">
            <a:spLocks noGrp="1"/>
          </p:cNvSpPr>
          <p:nvPr>
            <p:ph type="body" sz="quarter" idx="23"/>
          </p:nvPr>
        </p:nvSpPr>
        <p:spPr>
          <a:xfrm>
            <a:off x="5733064" y="4409318"/>
            <a:ext cx="1038272" cy="354618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Lorem ipsum</a:t>
            </a:r>
          </a:p>
        </p:txBody>
      </p:sp>
      <p:sp>
        <p:nvSpPr>
          <p:cNvPr id="7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842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bout The Stud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Линия"/>
          <p:cNvSpPr/>
          <p:nvPr/>
        </p:nvSpPr>
        <p:spPr>
          <a:xfrm>
            <a:off x="4164873" y="4202325"/>
            <a:ext cx="3160901" cy="1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85" name="Комментарий в прямоугольнике"/>
          <p:cNvSpPr/>
          <p:nvPr/>
        </p:nvSpPr>
        <p:spPr>
          <a:xfrm flipH="1">
            <a:off x="1876891" y="954998"/>
            <a:ext cx="403622" cy="4474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6" name="Прямоугольник"/>
          <p:cNvSpPr/>
          <p:nvPr/>
        </p:nvSpPr>
        <p:spPr>
          <a:xfrm>
            <a:off x="3192" y="-5954"/>
            <a:ext cx="9137627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87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5722920" y="1289728"/>
            <a:ext cx="1589939" cy="2119918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88" name="Typi non habent claritatem insitam; est usus legentis in iis qui facit eorum claritatem. Investigationes demonstraverunt lectores legere me lius quod ii legunt saepius. Claritas est etiam processus dynamicus, qui sequitur"/>
          <p:cNvSpPr txBox="1">
            <a:spLocks noGrp="1"/>
          </p:cNvSpPr>
          <p:nvPr>
            <p:ph type="body" sz="quarter" idx="14"/>
          </p:nvPr>
        </p:nvSpPr>
        <p:spPr>
          <a:xfrm>
            <a:off x="1816930" y="2488536"/>
            <a:ext cx="3233486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 Claritas est etiam processus dynamicus, qui sequitur </a:t>
            </a:r>
          </a:p>
        </p:txBody>
      </p:sp>
      <p:sp>
        <p:nvSpPr>
          <p:cNvPr id="89" name="Линия"/>
          <p:cNvSpPr/>
          <p:nvPr/>
        </p:nvSpPr>
        <p:spPr>
          <a:xfrm>
            <a:off x="4164973" y="4202325"/>
            <a:ext cx="598165" cy="1"/>
          </a:xfrm>
          <a:prstGeom prst="line">
            <a:avLst/>
          </a:prstGeom>
          <a:ln w="25400">
            <a:solidFill>
              <a:srgbClr val="4ECF73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90" name="Кружок"/>
          <p:cNvSpPr/>
          <p:nvPr/>
        </p:nvSpPr>
        <p:spPr>
          <a:xfrm>
            <a:off x="4572394" y="4158048"/>
            <a:ext cx="66146" cy="88195"/>
          </a:xfrm>
          <a:prstGeom prst="ellipse">
            <a:avLst/>
          </a:prstGeom>
          <a:solidFill>
            <a:srgbClr val="4ECF73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1" name="Линия"/>
          <p:cNvSpPr/>
          <p:nvPr/>
        </p:nvSpPr>
        <p:spPr>
          <a:xfrm>
            <a:off x="4164873" y="4676082"/>
            <a:ext cx="3160901" cy="1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92" name="Линия"/>
          <p:cNvSpPr/>
          <p:nvPr/>
        </p:nvSpPr>
        <p:spPr>
          <a:xfrm>
            <a:off x="4164871" y="4676082"/>
            <a:ext cx="1221920" cy="1"/>
          </a:xfrm>
          <a:prstGeom prst="line">
            <a:avLst/>
          </a:prstGeom>
          <a:ln w="25400">
            <a:solidFill>
              <a:srgbClr val="1ACA9B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93" name="Кружок"/>
          <p:cNvSpPr/>
          <p:nvPr/>
        </p:nvSpPr>
        <p:spPr>
          <a:xfrm>
            <a:off x="5251051" y="4631986"/>
            <a:ext cx="66146" cy="88195"/>
          </a:xfrm>
          <a:prstGeom prst="ellipse">
            <a:avLst/>
          </a:prstGeom>
          <a:solidFill>
            <a:srgbClr val="1ACA9B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4" name="About The Studio"/>
          <p:cNvSpPr txBox="1">
            <a:spLocks noGrp="1"/>
          </p:cNvSpPr>
          <p:nvPr>
            <p:ph type="body" sz="quarter" idx="15"/>
          </p:nvPr>
        </p:nvSpPr>
        <p:spPr>
          <a:xfrm>
            <a:off x="1670444" y="1631399"/>
            <a:ext cx="2933175" cy="506870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9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About The Studio</a:t>
            </a:r>
          </a:p>
        </p:txBody>
      </p:sp>
      <p:sp>
        <p:nvSpPr>
          <p:cNvPr id="95" name="Прямоугольник"/>
          <p:cNvSpPr/>
          <p:nvPr/>
        </p:nvSpPr>
        <p:spPr>
          <a:xfrm>
            <a:off x="-8618" y="6536699"/>
            <a:ext cx="9144000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96" name="Investigationes demonstraverunt lectores legere me lius quod ii legunt saepius. Claritas est etiam processus dynamicus, qui sequitur"/>
          <p:cNvSpPr txBox="1">
            <a:spLocks noGrp="1"/>
          </p:cNvSpPr>
          <p:nvPr>
            <p:ph type="body" sz="quarter" idx="16"/>
          </p:nvPr>
        </p:nvSpPr>
        <p:spPr>
          <a:xfrm>
            <a:off x="4191226" y="5487307"/>
            <a:ext cx="3108194" cy="276038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Investigationes demonstraverunt lectores legere me lius quod ii legunt saepius. Claritas est etiam processus dynamicus, qui sequitur </a:t>
            </a:r>
          </a:p>
        </p:txBody>
      </p:sp>
      <p:sp>
        <p:nvSpPr>
          <p:cNvPr id="97" name="Eodem modo typi, qui nunc nobis videntur parum clari, fiant sollemnes in futurum."/>
          <p:cNvSpPr txBox="1">
            <a:spLocks noGrp="1"/>
          </p:cNvSpPr>
          <p:nvPr>
            <p:ph type="body" sz="quarter" idx="17"/>
          </p:nvPr>
        </p:nvSpPr>
        <p:spPr>
          <a:xfrm>
            <a:off x="1827609" y="4431078"/>
            <a:ext cx="1589777" cy="1060868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98" name="Линия"/>
          <p:cNvSpPr/>
          <p:nvPr/>
        </p:nvSpPr>
        <p:spPr>
          <a:xfrm>
            <a:off x="4164873" y="5185007"/>
            <a:ext cx="3160901" cy="1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99" name="Линия"/>
          <p:cNvSpPr/>
          <p:nvPr/>
        </p:nvSpPr>
        <p:spPr>
          <a:xfrm>
            <a:off x="4164872" y="5185007"/>
            <a:ext cx="2020736" cy="1"/>
          </a:xfrm>
          <a:prstGeom prst="line">
            <a:avLst/>
          </a:prstGeom>
          <a:ln w="25400">
            <a:solidFill>
              <a:schemeClr val="accent1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100" name="Кружок"/>
          <p:cNvSpPr/>
          <p:nvPr/>
        </p:nvSpPr>
        <p:spPr>
          <a:xfrm>
            <a:off x="6027931" y="5140910"/>
            <a:ext cx="66146" cy="88195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01" name="(2020)  Title here"/>
          <p:cNvSpPr txBox="1">
            <a:spLocks noGrp="1"/>
          </p:cNvSpPr>
          <p:nvPr>
            <p:ph type="body" sz="quarter" idx="18"/>
          </p:nvPr>
        </p:nvSpPr>
        <p:spPr>
          <a:xfrm>
            <a:off x="4155507" y="4242519"/>
            <a:ext cx="3179632" cy="16831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102" name="23%"/>
          <p:cNvSpPr txBox="1">
            <a:spLocks noGrp="1"/>
          </p:cNvSpPr>
          <p:nvPr>
            <p:ph type="body" sz="quarter" idx="19"/>
          </p:nvPr>
        </p:nvSpPr>
        <p:spPr>
          <a:xfrm>
            <a:off x="4427866" y="3450994"/>
            <a:ext cx="355200" cy="110703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23</a:t>
            </a:r>
            <a:r>
              <a:rPr sz="800"/>
              <a:t>%</a:t>
            </a:r>
          </a:p>
        </p:txBody>
      </p:sp>
      <p:sp>
        <p:nvSpPr>
          <p:cNvPr id="103" name="(2020)  Title here"/>
          <p:cNvSpPr txBox="1">
            <a:spLocks noGrp="1"/>
          </p:cNvSpPr>
          <p:nvPr>
            <p:ph type="body" sz="quarter" idx="20"/>
          </p:nvPr>
        </p:nvSpPr>
        <p:spPr>
          <a:xfrm>
            <a:off x="4155507" y="4724668"/>
            <a:ext cx="3179632" cy="16831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104" name="48%"/>
          <p:cNvSpPr txBox="1">
            <a:spLocks noGrp="1"/>
          </p:cNvSpPr>
          <p:nvPr>
            <p:ph type="body" sz="quarter" idx="21"/>
          </p:nvPr>
        </p:nvSpPr>
        <p:spPr>
          <a:xfrm>
            <a:off x="5106522" y="3916902"/>
            <a:ext cx="355200" cy="110703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48</a:t>
            </a:r>
            <a:r>
              <a:rPr sz="800"/>
              <a:t>%</a:t>
            </a:r>
          </a:p>
        </p:txBody>
      </p:sp>
      <p:sp>
        <p:nvSpPr>
          <p:cNvPr id="105" name="(2020)  Title here"/>
          <p:cNvSpPr txBox="1">
            <a:spLocks noGrp="1"/>
          </p:cNvSpPr>
          <p:nvPr>
            <p:ph type="body" sz="quarter" idx="22"/>
          </p:nvPr>
        </p:nvSpPr>
        <p:spPr>
          <a:xfrm>
            <a:off x="4155507" y="5233868"/>
            <a:ext cx="3179632" cy="16831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106" name="70%"/>
          <p:cNvSpPr txBox="1">
            <a:spLocks noGrp="1"/>
          </p:cNvSpPr>
          <p:nvPr>
            <p:ph type="body" sz="quarter" idx="23"/>
          </p:nvPr>
        </p:nvSpPr>
        <p:spPr>
          <a:xfrm>
            <a:off x="5883405" y="4435899"/>
            <a:ext cx="355200" cy="110703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0</a:t>
            </a:r>
            <a:r>
              <a:rPr sz="800"/>
              <a:t>%</a:t>
            </a:r>
          </a:p>
        </p:txBody>
      </p:sp>
      <p:sp>
        <p:nvSpPr>
          <p:cNvPr id="10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026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Изображение"/>
          <p:cNvSpPr>
            <a:spLocks noGrp="1"/>
          </p:cNvSpPr>
          <p:nvPr>
            <p:ph type="pic" idx="13"/>
          </p:nvPr>
        </p:nvSpPr>
        <p:spPr>
          <a:xfrm>
            <a:off x="-2405" y="0"/>
            <a:ext cx="9148809" cy="6858000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115" name="Прямоугольник"/>
          <p:cNvSpPr>
            <a:spLocks noGrp="1"/>
          </p:cNvSpPr>
          <p:nvPr>
            <p:ph type="body" sz="quarter" idx="14"/>
          </p:nvPr>
        </p:nvSpPr>
        <p:spPr>
          <a:xfrm>
            <a:off x="1743799" y="2584307"/>
            <a:ext cx="5687444" cy="1707246"/>
          </a:xfrm>
          <a:prstGeom prst="rect">
            <a:avLst/>
          </a:prstGeom>
          <a:solidFill>
            <a:srgbClr val="000000">
              <a:alpha val="34000"/>
            </a:srgbClr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 </a:t>
            </a:r>
          </a:p>
        </p:txBody>
      </p:sp>
      <p:sp>
        <p:nvSpPr>
          <p:cNvPr id="116" name="98"/>
          <p:cNvSpPr txBox="1">
            <a:spLocks noGrp="1"/>
          </p:cNvSpPr>
          <p:nvPr>
            <p:ph type="body" sz="quarter" idx="15"/>
          </p:nvPr>
        </p:nvSpPr>
        <p:spPr>
          <a:xfrm>
            <a:off x="4020732" y="5057580"/>
            <a:ext cx="1102547" cy="1183978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300">
                <a:solidFill>
                  <a:srgbClr val="6C6C6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98</a:t>
            </a:r>
          </a:p>
        </p:txBody>
      </p:sp>
      <p:sp>
        <p:nvSpPr>
          <p:cNvPr id="117" name="congue"/>
          <p:cNvSpPr txBox="1">
            <a:spLocks noGrp="1"/>
          </p:cNvSpPr>
          <p:nvPr>
            <p:ph type="body" sz="quarter" idx="16"/>
          </p:nvPr>
        </p:nvSpPr>
        <p:spPr>
          <a:xfrm>
            <a:off x="4163540" y="6004881"/>
            <a:ext cx="817211" cy="337593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ngue</a:t>
            </a:r>
          </a:p>
        </p:txBody>
      </p:sp>
      <p:sp>
        <p:nvSpPr>
          <p:cNvPr id="118" name="Eodem modo typi, qui nunc nobis videntur parum clari, fiant sollemnes in futurum."/>
          <p:cNvSpPr txBox="1">
            <a:spLocks noGrp="1"/>
          </p:cNvSpPr>
          <p:nvPr>
            <p:ph type="body" sz="quarter" idx="17"/>
          </p:nvPr>
        </p:nvSpPr>
        <p:spPr>
          <a:xfrm>
            <a:off x="2584805" y="2945976"/>
            <a:ext cx="4005432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119" name="Линия"/>
          <p:cNvSpPr>
            <a:spLocks noGrp="1"/>
          </p:cNvSpPr>
          <p:nvPr>
            <p:ph type="body" sz="quarter" idx="18"/>
          </p:nvPr>
        </p:nvSpPr>
        <p:spPr>
          <a:xfrm>
            <a:off x="4458779" y="809144"/>
            <a:ext cx="159477" cy="527711"/>
          </a:xfrm>
          <a:prstGeom prst="line">
            <a:avLst/>
          </a:prstGeom>
          <a:ln w="25400">
            <a:solidFill>
              <a:srgbClr val="6C6C6C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0" name="Линия"/>
          <p:cNvSpPr>
            <a:spLocks noGrp="1"/>
          </p:cNvSpPr>
          <p:nvPr>
            <p:ph type="body" sz="quarter" idx="19"/>
          </p:nvPr>
        </p:nvSpPr>
        <p:spPr>
          <a:xfrm flipH="1">
            <a:off x="4556792" y="809144"/>
            <a:ext cx="159477" cy="527711"/>
          </a:xfrm>
          <a:prstGeom prst="line">
            <a:avLst/>
          </a:prstGeom>
          <a:ln w="25400">
            <a:solidFill>
              <a:srgbClr val="6C6C6C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1" name="Линия"/>
          <p:cNvSpPr>
            <a:spLocks noGrp="1"/>
          </p:cNvSpPr>
          <p:nvPr>
            <p:ph type="body" sz="quarter" idx="20"/>
          </p:nvPr>
        </p:nvSpPr>
        <p:spPr>
          <a:xfrm flipH="1">
            <a:off x="4523306" y="809144"/>
            <a:ext cx="159477" cy="527711"/>
          </a:xfrm>
          <a:prstGeom prst="line">
            <a:avLst/>
          </a:prstGeom>
          <a:ln>
            <a:solidFill>
              <a:srgbClr val="6C6C6C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2" name="Линия"/>
          <p:cNvSpPr>
            <a:spLocks noGrp="1"/>
          </p:cNvSpPr>
          <p:nvPr>
            <p:ph type="body" sz="quarter" idx="21"/>
          </p:nvPr>
        </p:nvSpPr>
        <p:spPr>
          <a:xfrm>
            <a:off x="4347750" y="1208672"/>
            <a:ext cx="479542" cy="1"/>
          </a:xfrm>
          <a:prstGeom prst="line">
            <a:avLst/>
          </a:prstGeom>
          <a:ln>
            <a:solidFill>
              <a:srgbClr val="6C6C6C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3" name="Simple title here"/>
          <p:cNvSpPr txBox="1">
            <a:spLocks noGrp="1"/>
          </p:cNvSpPr>
          <p:nvPr>
            <p:ph type="body" sz="quarter" idx="22"/>
          </p:nvPr>
        </p:nvSpPr>
        <p:spPr>
          <a:xfrm>
            <a:off x="3746906" y="1527808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1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2470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ny Ann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Прямоугольник"/>
          <p:cNvSpPr/>
          <p:nvPr/>
        </p:nvSpPr>
        <p:spPr>
          <a:xfrm>
            <a:off x="-160" y="-5954"/>
            <a:ext cx="9144320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2" name="Прямоугольник"/>
          <p:cNvSpPr/>
          <p:nvPr/>
        </p:nvSpPr>
        <p:spPr>
          <a:xfrm>
            <a:off x="-2381" y="6536699"/>
            <a:ext cx="9148762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3" name="Company Annual 2020"/>
          <p:cNvSpPr txBox="1">
            <a:spLocks noGrp="1"/>
          </p:cNvSpPr>
          <p:nvPr>
            <p:ph type="body" sz="quarter" idx="13"/>
          </p:nvPr>
        </p:nvSpPr>
        <p:spPr>
          <a:xfrm>
            <a:off x="1857707" y="920114"/>
            <a:ext cx="5401801" cy="691536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1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Company Annual 2020</a:t>
            </a:r>
          </a:p>
        </p:txBody>
      </p:sp>
      <p:sp>
        <p:nvSpPr>
          <p:cNvPr id="134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3731386" y="1708641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92919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graphicFrame>
        <p:nvGraphicFramePr>
          <p:cNvPr id="135" name="2D‑круговая диаграмма"/>
          <p:cNvGraphicFramePr/>
          <p:nvPr/>
        </p:nvGraphicFramePr>
        <p:xfrm>
          <a:off x="2168235" y="3955801"/>
          <a:ext cx="1283447" cy="1711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6" name="Кружок"/>
          <p:cNvSpPr/>
          <p:nvPr/>
        </p:nvSpPr>
        <p:spPr>
          <a:xfrm>
            <a:off x="2209567" y="4010936"/>
            <a:ext cx="1200738" cy="1600984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37" name="76%"/>
          <p:cNvSpPr txBox="1">
            <a:spLocks noGrp="1"/>
          </p:cNvSpPr>
          <p:nvPr>
            <p:ph type="body" sz="quarter" idx="15"/>
          </p:nvPr>
        </p:nvSpPr>
        <p:spPr>
          <a:xfrm>
            <a:off x="2418021" y="4192747"/>
            <a:ext cx="783875" cy="475474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6</a:t>
            </a:r>
            <a:r>
              <a:rPr sz="1600"/>
              <a:t>%</a:t>
            </a:r>
          </a:p>
        </p:txBody>
      </p:sp>
      <p:sp>
        <p:nvSpPr>
          <p:cNvPr id="138" name="Claritas est etiam processus dynamicus,"/>
          <p:cNvSpPr txBox="1">
            <a:spLocks noGrp="1"/>
          </p:cNvSpPr>
          <p:nvPr>
            <p:ph type="body" sz="quarter" idx="16"/>
          </p:nvPr>
        </p:nvSpPr>
        <p:spPr>
          <a:xfrm>
            <a:off x="2365580" y="4645648"/>
            <a:ext cx="888757" cy="713211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st etiam processus dynamicus,</a:t>
            </a:r>
          </a:p>
        </p:txBody>
      </p:sp>
      <p:graphicFrame>
        <p:nvGraphicFramePr>
          <p:cNvPr id="139" name="2D‑круговая диаграмма"/>
          <p:cNvGraphicFramePr/>
          <p:nvPr/>
        </p:nvGraphicFramePr>
        <p:xfrm>
          <a:off x="3909701" y="3955801"/>
          <a:ext cx="1283447" cy="1711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0" name="Кружок"/>
          <p:cNvSpPr/>
          <p:nvPr/>
        </p:nvSpPr>
        <p:spPr>
          <a:xfrm>
            <a:off x="3950954" y="4010936"/>
            <a:ext cx="1200738" cy="1600984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1" name="89%"/>
          <p:cNvSpPr txBox="1">
            <a:spLocks noGrp="1"/>
          </p:cNvSpPr>
          <p:nvPr>
            <p:ph type="body" sz="quarter" idx="17"/>
          </p:nvPr>
        </p:nvSpPr>
        <p:spPr>
          <a:xfrm>
            <a:off x="4146093" y="4192747"/>
            <a:ext cx="783875" cy="475474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89</a:t>
            </a:r>
            <a:r>
              <a:rPr sz="1600"/>
              <a:t>%</a:t>
            </a:r>
          </a:p>
        </p:txBody>
      </p:sp>
      <p:sp>
        <p:nvSpPr>
          <p:cNvPr id="142" name="Claritas est etiam processus dynamicus,"/>
          <p:cNvSpPr txBox="1">
            <a:spLocks noGrp="1"/>
          </p:cNvSpPr>
          <p:nvPr>
            <p:ph type="body" sz="quarter" idx="18"/>
          </p:nvPr>
        </p:nvSpPr>
        <p:spPr>
          <a:xfrm>
            <a:off x="4107046" y="4645648"/>
            <a:ext cx="888757" cy="713211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st etiam processus dynamicus,</a:t>
            </a:r>
          </a:p>
        </p:txBody>
      </p:sp>
      <p:graphicFrame>
        <p:nvGraphicFramePr>
          <p:cNvPr id="143" name="2D‑круговая диаграмма"/>
          <p:cNvGraphicFramePr/>
          <p:nvPr/>
        </p:nvGraphicFramePr>
        <p:xfrm>
          <a:off x="5692359" y="3955801"/>
          <a:ext cx="1283447" cy="1711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4" name="Кружок"/>
          <p:cNvSpPr/>
          <p:nvPr/>
        </p:nvSpPr>
        <p:spPr>
          <a:xfrm>
            <a:off x="5733695" y="4010936"/>
            <a:ext cx="1200738" cy="1600984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45" name="50%"/>
          <p:cNvSpPr txBox="1">
            <a:spLocks noGrp="1"/>
          </p:cNvSpPr>
          <p:nvPr>
            <p:ph type="body" sz="quarter" idx="19"/>
          </p:nvPr>
        </p:nvSpPr>
        <p:spPr>
          <a:xfrm>
            <a:off x="5942145" y="4192747"/>
            <a:ext cx="783875" cy="475474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50</a:t>
            </a:r>
            <a:r>
              <a:rPr sz="1600"/>
              <a:t>%</a:t>
            </a:r>
          </a:p>
        </p:txBody>
      </p:sp>
      <p:sp>
        <p:nvSpPr>
          <p:cNvPr id="146" name="Claritas est etiam processus dynamicus,"/>
          <p:cNvSpPr txBox="1">
            <a:spLocks noGrp="1"/>
          </p:cNvSpPr>
          <p:nvPr>
            <p:ph type="body" sz="quarter" idx="20"/>
          </p:nvPr>
        </p:nvSpPr>
        <p:spPr>
          <a:xfrm>
            <a:off x="5889704" y="4645648"/>
            <a:ext cx="888757" cy="713211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st etiam processus dynamicus,</a:t>
            </a:r>
          </a:p>
        </p:txBody>
      </p:sp>
      <p:sp>
        <p:nvSpPr>
          <p:cNvPr id="147" name="Typi non habent claritatem insitam; est usus legentis in iis qui facit eorum claritatem. Investigationes demonstraverunt lectores legere me lius quod ii legunt saepius. Claritas est etiam processus dynamicus, qui sequitur"/>
          <p:cNvSpPr txBox="1">
            <a:spLocks noGrp="1"/>
          </p:cNvSpPr>
          <p:nvPr>
            <p:ph type="body" sz="quarter" idx="21"/>
          </p:nvPr>
        </p:nvSpPr>
        <p:spPr>
          <a:xfrm>
            <a:off x="2258468" y="2670449"/>
            <a:ext cx="4627075" cy="799258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 Claritas est etiam processus dynamicus, qui sequitur </a:t>
            </a:r>
          </a:p>
        </p:txBody>
      </p:sp>
      <p:sp>
        <p:nvSpPr>
          <p:cNvPr id="148" name="Линия"/>
          <p:cNvSpPr/>
          <p:nvPr/>
        </p:nvSpPr>
        <p:spPr>
          <a:xfrm>
            <a:off x="2382937" y="2141862"/>
            <a:ext cx="273464" cy="1978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6474" y="7907"/>
                </a:lnTo>
                <a:lnTo>
                  <a:pt x="11793" y="18988"/>
                </a:lnTo>
                <a:lnTo>
                  <a:pt x="21600" y="0"/>
                </a:lnTo>
              </a:path>
            </a:pathLst>
          </a:custGeom>
          <a:ln w="25400">
            <a:solidFill>
              <a:srgbClr val="E7E5E8"/>
            </a:solidFill>
            <a:miter lim="400000"/>
            <a:tailEnd type="stealth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149" name="Комментарий в прямоугольнике"/>
          <p:cNvSpPr/>
          <p:nvPr/>
        </p:nvSpPr>
        <p:spPr>
          <a:xfrm flipH="1">
            <a:off x="2301320" y="2077624"/>
            <a:ext cx="431602" cy="4786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6"/>
                </a:lnTo>
                <a:lnTo>
                  <a:pt x="13779" y="14776"/>
                </a:lnTo>
                <a:lnTo>
                  <a:pt x="15947" y="21600"/>
                </a:lnTo>
                <a:lnTo>
                  <a:pt x="18107" y="14776"/>
                </a:lnTo>
                <a:lnTo>
                  <a:pt x="21600" y="14776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4841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Изображение"/>
          <p:cNvSpPr>
            <a:spLocks noGrp="1"/>
          </p:cNvSpPr>
          <p:nvPr>
            <p:ph type="pic" idx="13"/>
          </p:nvPr>
        </p:nvSpPr>
        <p:spPr>
          <a:xfrm>
            <a:off x="2847" y="1395"/>
            <a:ext cx="9138449" cy="4867610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158" name="Прямоугольник"/>
          <p:cNvSpPr>
            <a:spLocks noGrp="1"/>
          </p:cNvSpPr>
          <p:nvPr>
            <p:ph type="body" sz="quarter" idx="14"/>
          </p:nvPr>
        </p:nvSpPr>
        <p:spPr>
          <a:xfrm>
            <a:off x="-3685" y="2085"/>
            <a:ext cx="9144001" cy="317470"/>
          </a:xfrm>
          <a:prstGeom prst="rect">
            <a:avLst/>
          </a:prstGeom>
          <a:solidFill>
            <a:srgbClr val="F7F6F8"/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59" name="Прямоугольник"/>
          <p:cNvSpPr/>
          <p:nvPr/>
        </p:nvSpPr>
        <p:spPr>
          <a:xfrm>
            <a:off x="6213" y="6536699"/>
            <a:ext cx="9144000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60" name="“Eodem modo typi, qui nunc nobis videntur parum clari, fiant sollemnes in futurum.”"/>
          <p:cNvSpPr txBox="1">
            <a:spLocks noGrp="1"/>
          </p:cNvSpPr>
          <p:nvPr>
            <p:ph type="body" sz="quarter" idx="15"/>
          </p:nvPr>
        </p:nvSpPr>
        <p:spPr>
          <a:xfrm>
            <a:off x="2555890" y="5472431"/>
            <a:ext cx="4005432" cy="46070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i="1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“Eodem modo typi, qui nunc nobis videntur parum clari, fiant sollemnes in futurum.”</a:t>
            </a:r>
          </a:p>
        </p:txBody>
      </p:sp>
      <p:sp>
        <p:nvSpPr>
          <p:cNvPr id="161" name="98"/>
          <p:cNvSpPr txBox="1">
            <a:spLocks noGrp="1"/>
          </p:cNvSpPr>
          <p:nvPr>
            <p:ph type="body" sz="quarter" idx="16"/>
          </p:nvPr>
        </p:nvSpPr>
        <p:spPr>
          <a:xfrm>
            <a:off x="4020732" y="1730059"/>
            <a:ext cx="1102547" cy="1183978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300">
                <a:solidFill>
                  <a:srgbClr val="FFFFFF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98</a:t>
            </a:r>
          </a:p>
        </p:txBody>
      </p:sp>
      <p:sp>
        <p:nvSpPr>
          <p:cNvPr id="162" name="congue"/>
          <p:cNvSpPr txBox="1">
            <a:spLocks noGrp="1"/>
          </p:cNvSpPr>
          <p:nvPr>
            <p:ph type="body" sz="quarter" idx="17"/>
          </p:nvPr>
        </p:nvSpPr>
        <p:spPr>
          <a:xfrm>
            <a:off x="4163540" y="2677360"/>
            <a:ext cx="817211" cy="337593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ngue</a:t>
            </a:r>
          </a:p>
        </p:txBody>
      </p:sp>
      <p:sp>
        <p:nvSpPr>
          <p:cNvPr id="163" name="Кружок"/>
          <p:cNvSpPr>
            <a:spLocks noGrp="1"/>
          </p:cNvSpPr>
          <p:nvPr>
            <p:ph type="body" sz="quarter" idx="18"/>
          </p:nvPr>
        </p:nvSpPr>
        <p:spPr>
          <a:xfrm>
            <a:off x="4237175" y="725116"/>
            <a:ext cx="669727" cy="892969"/>
          </a:xfrm>
          <a:prstGeom prst="ellipse">
            <a:avLst/>
          </a:prstGeom>
          <a:solidFill>
            <a:srgbClr val="FFFFFF"/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4" name="Линия"/>
          <p:cNvSpPr>
            <a:spLocks noGrp="1"/>
          </p:cNvSpPr>
          <p:nvPr>
            <p:ph type="body" sz="quarter" idx="19"/>
          </p:nvPr>
        </p:nvSpPr>
        <p:spPr>
          <a:xfrm>
            <a:off x="4443257" y="907745"/>
            <a:ext cx="159477" cy="527710"/>
          </a:xfrm>
          <a:prstGeom prst="line">
            <a:avLst/>
          </a:prstGeom>
          <a:ln w="25400">
            <a:solidFill>
              <a:srgbClr val="DD7B55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5" name="Линия"/>
          <p:cNvSpPr>
            <a:spLocks noGrp="1"/>
          </p:cNvSpPr>
          <p:nvPr>
            <p:ph type="body" sz="quarter" idx="20"/>
          </p:nvPr>
        </p:nvSpPr>
        <p:spPr>
          <a:xfrm flipH="1">
            <a:off x="4541273" y="907745"/>
            <a:ext cx="159477" cy="527710"/>
          </a:xfrm>
          <a:prstGeom prst="line">
            <a:avLst/>
          </a:prstGeom>
          <a:ln w="25400">
            <a:solidFill>
              <a:srgbClr val="DD7B55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6" name="Линия"/>
          <p:cNvSpPr>
            <a:spLocks noGrp="1"/>
          </p:cNvSpPr>
          <p:nvPr>
            <p:ph type="body" sz="quarter" idx="21"/>
          </p:nvPr>
        </p:nvSpPr>
        <p:spPr>
          <a:xfrm flipH="1">
            <a:off x="4507784" y="907745"/>
            <a:ext cx="159477" cy="527711"/>
          </a:xfrm>
          <a:prstGeom prst="line">
            <a:avLst/>
          </a:prstGeom>
          <a:ln>
            <a:solidFill>
              <a:srgbClr val="DD7B55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7" name="Линия"/>
          <p:cNvSpPr>
            <a:spLocks noGrp="1"/>
          </p:cNvSpPr>
          <p:nvPr>
            <p:ph type="body" sz="quarter" idx="22"/>
          </p:nvPr>
        </p:nvSpPr>
        <p:spPr>
          <a:xfrm>
            <a:off x="4332231" y="1316203"/>
            <a:ext cx="479542" cy="1"/>
          </a:xfrm>
          <a:prstGeom prst="line">
            <a:avLst/>
          </a:prstGeom>
          <a:ln>
            <a:solidFill>
              <a:srgbClr val="DD7B55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7086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0" name="Shape 60"/>
          <p:cNvSpPr>
            <a:spLocks noGrp="1"/>
          </p:cNvSpPr>
          <p:nvPr>
            <p:ph type="sldNum" sz="quarter" idx="2"/>
          </p:nvPr>
        </p:nvSpPr>
        <p:spPr>
          <a:xfrm>
            <a:off x="832844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4036968"/>
      </p:ext>
    </p:extLst>
  </p:cSld>
  <p:clrMapOvr>
    <a:masterClrMapping/>
  </p:clrMapOvr>
  <p:transition spd="med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6235381"/>
      </p:ext>
    </p:extLst>
  </p:cSld>
  <p:clrMapOvr>
    <a:masterClrMapping/>
  </p:clrMapOvr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Lorem Ipsum Dolor"/>
          <p:cNvSpPr txBox="1">
            <a:spLocks noGrp="1"/>
          </p:cNvSpPr>
          <p:nvPr>
            <p:ph type="body" sz="quarter" idx="13"/>
          </p:nvPr>
        </p:nvSpPr>
        <p:spPr>
          <a:xfrm>
            <a:off x="2296127" y="988002"/>
            <a:ext cx="4524958" cy="691536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1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Lorem Ipsum Dolor</a:t>
            </a:r>
          </a:p>
        </p:txBody>
      </p:sp>
      <p:sp>
        <p:nvSpPr>
          <p:cNvPr id="176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3731386" y="1776528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177" name="Прямоугольник"/>
          <p:cNvSpPr/>
          <p:nvPr/>
        </p:nvSpPr>
        <p:spPr>
          <a:xfrm>
            <a:off x="1428" y="-5954"/>
            <a:ext cx="9141155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8" name="Прямоугольник"/>
          <p:cNvSpPr/>
          <p:nvPr/>
        </p:nvSpPr>
        <p:spPr>
          <a:xfrm>
            <a:off x="1451" y="6536699"/>
            <a:ext cx="9144000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79" name="Прямоугольник"/>
          <p:cNvSpPr/>
          <p:nvPr/>
        </p:nvSpPr>
        <p:spPr>
          <a:xfrm>
            <a:off x="1799756" y="2637403"/>
            <a:ext cx="5544499" cy="317470"/>
          </a:xfrm>
          <a:prstGeom prst="rect">
            <a:avLst/>
          </a:prstGeom>
          <a:solidFill>
            <a:srgbClr val="C4C3C4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80" name="2020"/>
          <p:cNvSpPr txBox="1">
            <a:spLocks noGrp="1"/>
          </p:cNvSpPr>
          <p:nvPr>
            <p:ph type="body" sz="quarter" idx="15"/>
          </p:nvPr>
        </p:nvSpPr>
        <p:spPr>
          <a:xfrm>
            <a:off x="2292531" y="2674929"/>
            <a:ext cx="754943" cy="260649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0</a:t>
            </a:r>
          </a:p>
        </p:txBody>
      </p:sp>
      <p:sp>
        <p:nvSpPr>
          <p:cNvPr id="181" name="2022"/>
          <p:cNvSpPr txBox="1">
            <a:spLocks noGrp="1"/>
          </p:cNvSpPr>
          <p:nvPr>
            <p:ph type="body" sz="quarter" idx="16"/>
          </p:nvPr>
        </p:nvSpPr>
        <p:spPr>
          <a:xfrm>
            <a:off x="3551693" y="2682371"/>
            <a:ext cx="754943" cy="260649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2</a:t>
            </a:r>
          </a:p>
        </p:txBody>
      </p:sp>
      <p:sp>
        <p:nvSpPr>
          <p:cNvPr id="182" name="2024"/>
          <p:cNvSpPr txBox="1">
            <a:spLocks noGrp="1"/>
          </p:cNvSpPr>
          <p:nvPr>
            <p:ph type="body" sz="quarter" idx="17"/>
          </p:nvPr>
        </p:nvSpPr>
        <p:spPr>
          <a:xfrm>
            <a:off x="4810692" y="2674929"/>
            <a:ext cx="754943" cy="260649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4</a:t>
            </a:r>
          </a:p>
        </p:txBody>
      </p:sp>
      <p:sp>
        <p:nvSpPr>
          <p:cNvPr id="183" name="2026"/>
          <p:cNvSpPr txBox="1">
            <a:spLocks noGrp="1"/>
          </p:cNvSpPr>
          <p:nvPr>
            <p:ph type="body" sz="quarter" idx="18"/>
          </p:nvPr>
        </p:nvSpPr>
        <p:spPr>
          <a:xfrm>
            <a:off x="6069865" y="2674929"/>
            <a:ext cx="754943" cy="260649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6</a:t>
            </a:r>
          </a:p>
        </p:txBody>
      </p:sp>
      <p:sp>
        <p:nvSpPr>
          <p:cNvPr id="184" name="Треугольник"/>
          <p:cNvSpPr/>
          <p:nvPr/>
        </p:nvSpPr>
        <p:spPr>
          <a:xfrm rot="10800000" flipH="1">
            <a:off x="2595052" y="3253011"/>
            <a:ext cx="149852" cy="199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6C6C6C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85" name="Треугольник"/>
          <p:cNvSpPr/>
          <p:nvPr/>
        </p:nvSpPr>
        <p:spPr>
          <a:xfrm rot="10800000" flipH="1">
            <a:off x="3854137" y="3253011"/>
            <a:ext cx="149852" cy="199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6C6C6C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86" name="In iis qui facit claritatem. Investigationes demonstraverunt lectores legere me lius quod."/>
          <p:cNvSpPr txBox="1">
            <a:spLocks noGrp="1"/>
          </p:cNvSpPr>
          <p:nvPr>
            <p:ph type="body" sz="quarter" idx="19"/>
          </p:nvPr>
        </p:nvSpPr>
        <p:spPr>
          <a:xfrm>
            <a:off x="2167970" y="3915473"/>
            <a:ext cx="1004019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187" name="Треугольник"/>
          <p:cNvSpPr/>
          <p:nvPr/>
        </p:nvSpPr>
        <p:spPr>
          <a:xfrm rot="10800000" flipH="1">
            <a:off x="5113225" y="3253011"/>
            <a:ext cx="149852" cy="199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6C6C6C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88" name="Треугольник"/>
          <p:cNvSpPr/>
          <p:nvPr/>
        </p:nvSpPr>
        <p:spPr>
          <a:xfrm rot="10800000" flipH="1">
            <a:off x="6372310" y="3253011"/>
            <a:ext cx="149852" cy="1998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6C6C6C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89" name="In iis qui facit claritatem. Investigationes demonstraverunt lectores legere me lius quod."/>
          <p:cNvSpPr txBox="1">
            <a:spLocks noGrp="1"/>
          </p:cNvSpPr>
          <p:nvPr>
            <p:ph type="body" sz="quarter" idx="20"/>
          </p:nvPr>
        </p:nvSpPr>
        <p:spPr>
          <a:xfrm>
            <a:off x="3427055" y="3915473"/>
            <a:ext cx="1004019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190" name="In iis qui facit claritatem. Investigationes demonstraverunt lectores legere me lius quod."/>
          <p:cNvSpPr txBox="1">
            <a:spLocks noGrp="1"/>
          </p:cNvSpPr>
          <p:nvPr>
            <p:ph type="body" sz="quarter" idx="21"/>
          </p:nvPr>
        </p:nvSpPr>
        <p:spPr>
          <a:xfrm>
            <a:off x="4686143" y="3915473"/>
            <a:ext cx="1004019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191" name="In iis qui facit claritatem. Investigationes demonstraverunt lectores legere me lius quod."/>
          <p:cNvSpPr txBox="1">
            <a:spLocks noGrp="1"/>
          </p:cNvSpPr>
          <p:nvPr>
            <p:ph type="body" sz="quarter" idx="22"/>
          </p:nvPr>
        </p:nvSpPr>
        <p:spPr>
          <a:xfrm>
            <a:off x="5945228" y="3915473"/>
            <a:ext cx="1004019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192" name="Eodem modo typi, qui nunc nobis videntur parum clari, fiant sollemnes in futurum."/>
          <p:cNvSpPr txBox="1">
            <a:spLocks noGrp="1"/>
          </p:cNvSpPr>
          <p:nvPr>
            <p:ph type="body" sz="quarter" idx="23"/>
          </p:nvPr>
        </p:nvSpPr>
        <p:spPr>
          <a:xfrm>
            <a:off x="2167588" y="5490961"/>
            <a:ext cx="5140130" cy="199093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19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353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Изображение"/>
          <p:cNvSpPr>
            <a:spLocks noGrp="1"/>
          </p:cNvSpPr>
          <p:nvPr>
            <p:ph type="pic" idx="13"/>
          </p:nvPr>
        </p:nvSpPr>
        <p:spPr>
          <a:xfrm>
            <a:off x="936" y="-15113"/>
            <a:ext cx="9142132" cy="6875503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201" name="Прямоугольник"/>
          <p:cNvSpPr>
            <a:spLocks noGrp="1"/>
          </p:cNvSpPr>
          <p:nvPr>
            <p:ph type="body" sz="half" idx="14"/>
          </p:nvPr>
        </p:nvSpPr>
        <p:spPr>
          <a:xfrm>
            <a:off x="1805752" y="2467703"/>
            <a:ext cx="5532500" cy="2578318"/>
          </a:xfrm>
          <a:prstGeom prst="rect">
            <a:avLst/>
          </a:prstGeom>
          <a:solidFill>
            <a:srgbClr val="010E33">
              <a:alpha val="29179"/>
            </a:srgbClr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02" name="Lorem Ipsum Dolor"/>
          <p:cNvSpPr txBox="1">
            <a:spLocks noGrp="1"/>
          </p:cNvSpPr>
          <p:nvPr>
            <p:ph type="body" sz="quarter" idx="15"/>
          </p:nvPr>
        </p:nvSpPr>
        <p:spPr>
          <a:xfrm>
            <a:off x="2309522" y="690346"/>
            <a:ext cx="4524958" cy="691536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100">
                <a:solidFill>
                  <a:srgbClr val="FFFFFF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Lorem Ipsum Dolor</a:t>
            </a:r>
          </a:p>
        </p:txBody>
      </p:sp>
      <p:sp>
        <p:nvSpPr>
          <p:cNvPr id="203" name="Simple title here"/>
          <p:cNvSpPr txBox="1">
            <a:spLocks noGrp="1"/>
          </p:cNvSpPr>
          <p:nvPr>
            <p:ph type="body" sz="quarter" idx="16"/>
          </p:nvPr>
        </p:nvSpPr>
        <p:spPr>
          <a:xfrm>
            <a:off x="3744780" y="1479058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204" name="Прямоугольник"/>
          <p:cNvSpPr>
            <a:spLocks noGrp="1"/>
          </p:cNvSpPr>
          <p:nvPr>
            <p:ph type="body" sz="quarter" idx="17"/>
          </p:nvPr>
        </p:nvSpPr>
        <p:spPr>
          <a:xfrm>
            <a:off x="1799756" y="2217792"/>
            <a:ext cx="5544499" cy="317470"/>
          </a:xfrm>
          <a:prstGeom prst="rect">
            <a:avLst/>
          </a:prstGeom>
          <a:solidFill>
            <a:srgbClr val="F7F6F8"/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05" name="2028"/>
          <p:cNvSpPr txBox="1">
            <a:spLocks noGrp="1"/>
          </p:cNvSpPr>
          <p:nvPr>
            <p:ph type="body" sz="quarter" idx="18"/>
          </p:nvPr>
        </p:nvSpPr>
        <p:spPr>
          <a:xfrm>
            <a:off x="2292531" y="2255318"/>
            <a:ext cx="754943" cy="260649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2C2C2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8</a:t>
            </a:r>
          </a:p>
        </p:txBody>
      </p:sp>
      <p:sp>
        <p:nvSpPr>
          <p:cNvPr id="206" name="2030"/>
          <p:cNvSpPr txBox="1">
            <a:spLocks noGrp="1"/>
          </p:cNvSpPr>
          <p:nvPr>
            <p:ph type="body" sz="quarter" idx="19"/>
          </p:nvPr>
        </p:nvSpPr>
        <p:spPr>
          <a:xfrm>
            <a:off x="3551693" y="2262759"/>
            <a:ext cx="754943" cy="260649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2C2C2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30</a:t>
            </a:r>
          </a:p>
        </p:txBody>
      </p:sp>
      <p:sp>
        <p:nvSpPr>
          <p:cNvPr id="207" name="2032"/>
          <p:cNvSpPr txBox="1">
            <a:spLocks noGrp="1"/>
          </p:cNvSpPr>
          <p:nvPr>
            <p:ph type="body" sz="quarter" idx="20"/>
          </p:nvPr>
        </p:nvSpPr>
        <p:spPr>
          <a:xfrm>
            <a:off x="4810692" y="2255318"/>
            <a:ext cx="754943" cy="260649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2C2C2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32</a:t>
            </a:r>
          </a:p>
        </p:txBody>
      </p:sp>
      <p:sp>
        <p:nvSpPr>
          <p:cNvPr id="208" name="2034"/>
          <p:cNvSpPr txBox="1">
            <a:spLocks noGrp="1"/>
          </p:cNvSpPr>
          <p:nvPr>
            <p:ph type="body" sz="quarter" idx="21"/>
          </p:nvPr>
        </p:nvSpPr>
        <p:spPr>
          <a:xfrm>
            <a:off x="6069865" y="2255318"/>
            <a:ext cx="754943" cy="260649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2C2C2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34</a:t>
            </a:r>
          </a:p>
        </p:txBody>
      </p:sp>
      <p:sp>
        <p:nvSpPr>
          <p:cNvPr id="209" name="Треугольник"/>
          <p:cNvSpPr>
            <a:spLocks noGrp="1"/>
          </p:cNvSpPr>
          <p:nvPr>
            <p:ph type="body" sz="quarter" idx="22"/>
          </p:nvPr>
        </p:nvSpPr>
        <p:spPr>
          <a:xfrm rot="10800000" flipH="1">
            <a:off x="2595052" y="2851446"/>
            <a:ext cx="149852" cy="1998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10" name="Треугольник"/>
          <p:cNvSpPr>
            <a:spLocks noGrp="1"/>
          </p:cNvSpPr>
          <p:nvPr>
            <p:ph type="body" sz="quarter" idx="23"/>
          </p:nvPr>
        </p:nvSpPr>
        <p:spPr>
          <a:xfrm rot="10800000" flipH="1">
            <a:off x="3854137" y="2851446"/>
            <a:ext cx="149852" cy="1998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11" name="In iis qui facit claritatem. Investigationes demonstraverunt lectores legere me lius quod."/>
          <p:cNvSpPr txBox="1">
            <a:spLocks noGrp="1"/>
          </p:cNvSpPr>
          <p:nvPr>
            <p:ph type="body" sz="quarter" idx="24"/>
          </p:nvPr>
        </p:nvSpPr>
        <p:spPr>
          <a:xfrm>
            <a:off x="2167970" y="3495861"/>
            <a:ext cx="1004019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212" name="Треугольник"/>
          <p:cNvSpPr>
            <a:spLocks noGrp="1"/>
          </p:cNvSpPr>
          <p:nvPr>
            <p:ph type="body" sz="quarter" idx="25"/>
          </p:nvPr>
        </p:nvSpPr>
        <p:spPr>
          <a:xfrm rot="10800000" flipH="1">
            <a:off x="5113225" y="2851446"/>
            <a:ext cx="149852" cy="1998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13" name="Треугольник"/>
          <p:cNvSpPr>
            <a:spLocks noGrp="1"/>
          </p:cNvSpPr>
          <p:nvPr>
            <p:ph type="body" sz="quarter" idx="26"/>
          </p:nvPr>
        </p:nvSpPr>
        <p:spPr>
          <a:xfrm rot="10800000" flipH="1">
            <a:off x="6372310" y="2851446"/>
            <a:ext cx="149852" cy="1998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14" name="In iis qui facit claritatem. Investigationes demonstraverunt lectores legere me lius quod."/>
          <p:cNvSpPr txBox="1">
            <a:spLocks noGrp="1"/>
          </p:cNvSpPr>
          <p:nvPr>
            <p:ph type="body" sz="quarter" idx="27"/>
          </p:nvPr>
        </p:nvSpPr>
        <p:spPr>
          <a:xfrm>
            <a:off x="3427055" y="3495861"/>
            <a:ext cx="1004019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215" name="In iis qui facit claritatem. Investigationes demonstraverunt lectores legere me lius quod."/>
          <p:cNvSpPr txBox="1">
            <a:spLocks noGrp="1"/>
          </p:cNvSpPr>
          <p:nvPr>
            <p:ph type="body" sz="quarter" idx="28"/>
          </p:nvPr>
        </p:nvSpPr>
        <p:spPr>
          <a:xfrm>
            <a:off x="4686143" y="3495861"/>
            <a:ext cx="1004019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216" name="In iis qui facit claritatem. Investigationes demonstraverunt lectores legere me lius quod."/>
          <p:cNvSpPr txBox="1">
            <a:spLocks noGrp="1"/>
          </p:cNvSpPr>
          <p:nvPr>
            <p:ph type="body" sz="quarter" idx="29"/>
          </p:nvPr>
        </p:nvSpPr>
        <p:spPr>
          <a:xfrm>
            <a:off x="5945228" y="3495861"/>
            <a:ext cx="1004019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217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30"/>
          </p:nvPr>
        </p:nvSpPr>
        <p:spPr>
          <a:xfrm>
            <a:off x="1799756" y="5452493"/>
            <a:ext cx="5544499" cy="614592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1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85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Demonstraverunt"/>
          <p:cNvSpPr txBox="1">
            <a:spLocks noGrp="1"/>
          </p:cNvSpPr>
          <p:nvPr>
            <p:ph type="body" sz="quarter" idx="13"/>
          </p:nvPr>
        </p:nvSpPr>
        <p:spPr>
          <a:xfrm>
            <a:off x="2514937" y="844156"/>
            <a:ext cx="4087338" cy="691536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1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Demonstraverunt</a:t>
            </a:r>
          </a:p>
        </p:txBody>
      </p:sp>
      <p:sp>
        <p:nvSpPr>
          <p:cNvPr id="226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3731386" y="1632680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227" name="Прямоугольник"/>
          <p:cNvSpPr/>
          <p:nvPr/>
        </p:nvSpPr>
        <p:spPr>
          <a:xfrm>
            <a:off x="-6395" y="-5954"/>
            <a:ext cx="9130005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28" name="Прямоугольник"/>
          <p:cNvSpPr/>
          <p:nvPr/>
        </p:nvSpPr>
        <p:spPr>
          <a:xfrm>
            <a:off x="-1286" y="6536699"/>
            <a:ext cx="9146571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29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5"/>
          </p:nvPr>
        </p:nvSpPr>
        <p:spPr>
          <a:xfrm>
            <a:off x="1941227" y="3029197"/>
            <a:ext cx="2453707" cy="830035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30" name="Комментарий в прямоугольнике"/>
          <p:cNvSpPr/>
          <p:nvPr/>
        </p:nvSpPr>
        <p:spPr>
          <a:xfrm flipH="1">
            <a:off x="2017282" y="2354234"/>
            <a:ext cx="403622" cy="4474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31" name="1"/>
          <p:cNvSpPr txBox="1">
            <a:spLocks noGrp="1"/>
          </p:cNvSpPr>
          <p:nvPr>
            <p:ph type="body" sz="quarter" idx="16"/>
          </p:nvPr>
        </p:nvSpPr>
        <p:spPr>
          <a:xfrm>
            <a:off x="2135666" y="2393259"/>
            <a:ext cx="153568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1</a:t>
            </a:r>
          </a:p>
        </p:txBody>
      </p:sp>
      <p:sp>
        <p:nvSpPr>
          <p:cNvPr id="232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7"/>
          </p:nvPr>
        </p:nvSpPr>
        <p:spPr>
          <a:xfrm>
            <a:off x="4745132" y="3029197"/>
            <a:ext cx="2453707" cy="830035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33" name="Комментарий в прямоугольнике"/>
          <p:cNvSpPr/>
          <p:nvPr/>
        </p:nvSpPr>
        <p:spPr>
          <a:xfrm flipH="1">
            <a:off x="4796647" y="2363322"/>
            <a:ext cx="403622" cy="4474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34" name="2"/>
          <p:cNvSpPr txBox="1">
            <a:spLocks noGrp="1"/>
          </p:cNvSpPr>
          <p:nvPr>
            <p:ph type="body" sz="quarter" idx="18"/>
          </p:nvPr>
        </p:nvSpPr>
        <p:spPr>
          <a:xfrm>
            <a:off x="4915031" y="2393417"/>
            <a:ext cx="153568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2</a:t>
            </a:r>
          </a:p>
        </p:txBody>
      </p:sp>
      <p:sp>
        <p:nvSpPr>
          <p:cNvPr id="235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9"/>
          </p:nvPr>
        </p:nvSpPr>
        <p:spPr>
          <a:xfrm>
            <a:off x="1945165" y="5023121"/>
            <a:ext cx="2453708" cy="830035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36" name="Комментарий в прямоугольнике"/>
          <p:cNvSpPr/>
          <p:nvPr/>
        </p:nvSpPr>
        <p:spPr>
          <a:xfrm flipH="1">
            <a:off x="2021239" y="4347977"/>
            <a:ext cx="403622" cy="4474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37" name="3"/>
          <p:cNvSpPr txBox="1">
            <a:spLocks noGrp="1"/>
          </p:cNvSpPr>
          <p:nvPr>
            <p:ph type="body" sz="quarter" idx="20"/>
          </p:nvPr>
        </p:nvSpPr>
        <p:spPr>
          <a:xfrm>
            <a:off x="2139626" y="4378072"/>
            <a:ext cx="153568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3</a:t>
            </a:r>
          </a:p>
        </p:txBody>
      </p:sp>
      <p:sp>
        <p:nvSpPr>
          <p:cNvPr id="238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21"/>
          </p:nvPr>
        </p:nvSpPr>
        <p:spPr>
          <a:xfrm>
            <a:off x="4749179" y="5023121"/>
            <a:ext cx="2453707" cy="830035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39" name="Комментарий в прямоугольнике"/>
          <p:cNvSpPr/>
          <p:nvPr/>
        </p:nvSpPr>
        <p:spPr>
          <a:xfrm flipH="1">
            <a:off x="4800604" y="4356877"/>
            <a:ext cx="403622" cy="447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40" name="4"/>
          <p:cNvSpPr txBox="1">
            <a:spLocks noGrp="1"/>
          </p:cNvSpPr>
          <p:nvPr>
            <p:ph type="body" sz="quarter" idx="22"/>
          </p:nvPr>
        </p:nvSpPr>
        <p:spPr>
          <a:xfrm>
            <a:off x="4918991" y="4387159"/>
            <a:ext cx="153568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4</a:t>
            </a:r>
          </a:p>
        </p:txBody>
      </p:sp>
      <p:sp>
        <p:nvSpPr>
          <p:cNvPr id="24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680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Simple title here"/>
          <p:cNvSpPr txBox="1">
            <a:spLocks noGrp="1"/>
          </p:cNvSpPr>
          <p:nvPr>
            <p:ph type="body" sz="quarter" idx="13"/>
          </p:nvPr>
        </p:nvSpPr>
        <p:spPr>
          <a:xfrm>
            <a:off x="3244621" y="1466053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249" name="Прямоугольник"/>
          <p:cNvSpPr/>
          <p:nvPr/>
        </p:nvSpPr>
        <p:spPr>
          <a:xfrm>
            <a:off x="-6153" y="-5954"/>
            <a:ext cx="9144000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50" name="Прямоугольник"/>
          <p:cNvSpPr/>
          <p:nvPr/>
        </p:nvSpPr>
        <p:spPr>
          <a:xfrm>
            <a:off x="-4176" y="6536699"/>
            <a:ext cx="9152352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51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4"/>
          </p:nvPr>
        </p:nvSpPr>
        <p:spPr>
          <a:xfrm>
            <a:off x="3226373" y="1967950"/>
            <a:ext cx="3061938" cy="676147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52" name="Комментарий в прямоугольнике"/>
          <p:cNvSpPr/>
          <p:nvPr/>
        </p:nvSpPr>
        <p:spPr>
          <a:xfrm flipH="1">
            <a:off x="3284590" y="842024"/>
            <a:ext cx="403622" cy="4474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53" name="1"/>
          <p:cNvSpPr txBox="1">
            <a:spLocks noGrp="1"/>
          </p:cNvSpPr>
          <p:nvPr>
            <p:ph type="body" sz="quarter" idx="15"/>
          </p:nvPr>
        </p:nvSpPr>
        <p:spPr>
          <a:xfrm>
            <a:off x="3402974" y="881053"/>
            <a:ext cx="153568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1</a:t>
            </a:r>
          </a:p>
        </p:txBody>
      </p:sp>
      <p:sp>
        <p:nvSpPr>
          <p:cNvPr id="254" name="Изображение"/>
          <p:cNvSpPr>
            <a:spLocks noGrp="1"/>
          </p:cNvSpPr>
          <p:nvPr>
            <p:ph type="pic" sz="quarter" idx="16"/>
          </p:nvPr>
        </p:nvSpPr>
        <p:spPr>
          <a:xfrm>
            <a:off x="1821801" y="771338"/>
            <a:ext cx="1237361" cy="1649815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graphicFrame>
        <p:nvGraphicFramePr>
          <p:cNvPr id="255" name="2D‑площадная диаграмма"/>
          <p:cNvGraphicFramePr/>
          <p:nvPr/>
        </p:nvGraphicFramePr>
        <p:xfrm>
          <a:off x="2044542" y="3605512"/>
          <a:ext cx="5165662" cy="1438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6" name="“Eodem modo typi, qui nunc nobis videntur parum clari, fiant sollemnes in futurum.”"/>
          <p:cNvSpPr txBox="1">
            <a:spLocks noGrp="1"/>
          </p:cNvSpPr>
          <p:nvPr>
            <p:ph type="body" sz="quarter" idx="17"/>
          </p:nvPr>
        </p:nvSpPr>
        <p:spPr>
          <a:xfrm>
            <a:off x="2417434" y="5470335"/>
            <a:ext cx="4401338" cy="46070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i="1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“Eodem modo typi, qui nunc nobis videntur parum clari, fiant sollemnes in futurum.”</a:t>
            </a:r>
          </a:p>
        </p:txBody>
      </p:sp>
      <p:sp>
        <p:nvSpPr>
          <p:cNvPr id="257" name="Кружок"/>
          <p:cNvSpPr/>
          <p:nvPr/>
        </p:nvSpPr>
        <p:spPr>
          <a:xfrm>
            <a:off x="6010654" y="3015700"/>
            <a:ext cx="893928" cy="1191905"/>
          </a:xfrm>
          <a:prstGeom prst="ellipse">
            <a:avLst/>
          </a:prstGeom>
          <a:solidFill>
            <a:srgbClr val="D8D7D8">
              <a:alpha val="60000"/>
            </a:srgbClr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58" name="89%"/>
          <p:cNvSpPr txBox="1">
            <a:spLocks noGrp="1"/>
          </p:cNvSpPr>
          <p:nvPr>
            <p:ph type="body" sz="quarter" idx="18"/>
          </p:nvPr>
        </p:nvSpPr>
        <p:spPr>
          <a:xfrm>
            <a:off x="6065715" y="3317610"/>
            <a:ext cx="783875" cy="588072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6800" cap="all">
                <a:solidFill>
                  <a:srgbClr val="FFFFFF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68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89</a:t>
            </a:r>
            <a:r>
              <a:rPr sz="2200"/>
              <a:t>%</a:t>
            </a:r>
          </a:p>
        </p:txBody>
      </p:sp>
      <p:sp>
        <p:nvSpPr>
          <p:cNvPr id="259" name="Стрелка"/>
          <p:cNvSpPr/>
          <p:nvPr/>
        </p:nvSpPr>
        <p:spPr>
          <a:xfrm rot="16200000">
            <a:off x="6447679" y="3068505"/>
            <a:ext cx="475737" cy="205657"/>
          </a:xfrm>
          <a:prstGeom prst="rightArrow">
            <a:avLst>
              <a:gd name="adj1" fmla="val 32000"/>
              <a:gd name="adj2" fmla="val 102811"/>
            </a:avLst>
          </a:prstGeom>
          <a:solidFill>
            <a:srgbClr val="1ACA9B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60" name="Eodem modo typi, qui nunc nobis videntur parum clari, fiant sollemnes in futurum."/>
          <p:cNvSpPr txBox="1">
            <a:spLocks noGrp="1"/>
          </p:cNvSpPr>
          <p:nvPr>
            <p:ph type="body" sz="quarter" idx="19"/>
          </p:nvPr>
        </p:nvSpPr>
        <p:spPr>
          <a:xfrm>
            <a:off x="4325984" y="3369897"/>
            <a:ext cx="1638471" cy="42992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26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891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 &amp;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Прямоугольник"/>
          <p:cNvSpPr/>
          <p:nvPr/>
        </p:nvSpPr>
        <p:spPr>
          <a:xfrm>
            <a:off x="1393" y="-5954"/>
            <a:ext cx="9141218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69" name="Прямоугольник"/>
          <p:cNvSpPr/>
          <p:nvPr/>
        </p:nvSpPr>
        <p:spPr>
          <a:xfrm>
            <a:off x="-5348" y="6536699"/>
            <a:ext cx="9154696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70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3"/>
          </p:nvPr>
        </p:nvSpPr>
        <p:spPr>
          <a:xfrm>
            <a:off x="1804505" y="2652764"/>
            <a:ext cx="2453707" cy="830035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71" name="Комментарий в прямоугольнике"/>
          <p:cNvSpPr/>
          <p:nvPr/>
        </p:nvSpPr>
        <p:spPr>
          <a:xfrm flipH="1">
            <a:off x="1856020" y="1986522"/>
            <a:ext cx="403622" cy="4474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72" name="2"/>
          <p:cNvSpPr txBox="1">
            <a:spLocks noGrp="1"/>
          </p:cNvSpPr>
          <p:nvPr>
            <p:ph type="body" sz="quarter" idx="14"/>
          </p:nvPr>
        </p:nvSpPr>
        <p:spPr>
          <a:xfrm>
            <a:off x="1974405" y="2016620"/>
            <a:ext cx="153568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2</a:t>
            </a:r>
          </a:p>
        </p:txBody>
      </p:sp>
      <p:sp>
        <p:nvSpPr>
          <p:cNvPr id="273" name="Demonstraverunt"/>
          <p:cNvSpPr txBox="1">
            <a:spLocks noGrp="1"/>
          </p:cNvSpPr>
          <p:nvPr>
            <p:ph type="body" sz="quarter" idx="15"/>
          </p:nvPr>
        </p:nvSpPr>
        <p:spPr>
          <a:xfrm>
            <a:off x="2501542" y="797750"/>
            <a:ext cx="4087338" cy="691536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1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Demonstraverunt</a:t>
            </a:r>
          </a:p>
        </p:txBody>
      </p:sp>
      <p:sp>
        <p:nvSpPr>
          <p:cNvPr id="274" name="Simple title here"/>
          <p:cNvSpPr txBox="1">
            <a:spLocks noGrp="1"/>
          </p:cNvSpPr>
          <p:nvPr>
            <p:ph type="body" sz="quarter" idx="16"/>
          </p:nvPr>
        </p:nvSpPr>
        <p:spPr>
          <a:xfrm>
            <a:off x="3717991" y="1586278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275" name="Фигура"/>
          <p:cNvSpPr/>
          <p:nvPr/>
        </p:nvSpPr>
        <p:spPr>
          <a:xfrm>
            <a:off x="5040050" y="3505393"/>
            <a:ext cx="440613" cy="9578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56" h="21346" extrusionOk="0">
                <a:moveTo>
                  <a:pt x="14907" y="13611"/>
                </a:moveTo>
                <a:cubicBezTo>
                  <a:pt x="14908" y="13576"/>
                  <a:pt x="14915" y="13542"/>
                  <a:pt x="14927" y="13508"/>
                </a:cubicBezTo>
                <a:cubicBezTo>
                  <a:pt x="14945" y="13527"/>
                  <a:pt x="14935" y="13561"/>
                  <a:pt x="14907" y="13611"/>
                </a:cubicBezTo>
                <a:cubicBezTo>
                  <a:pt x="14911" y="13596"/>
                  <a:pt x="14935" y="13561"/>
                  <a:pt x="14907" y="13611"/>
                </a:cubicBezTo>
                <a:close/>
                <a:moveTo>
                  <a:pt x="13846" y="3906"/>
                </a:moveTo>
                <a:cubicBezTo>
                  <a:pt x="13745" y="4068"/>
                  <a:pt x="13727" y="4129"/>
                  <a:pt x="13495" y="4231"/>
                </a:cubicBezTo>
                <a:cubicBezTo>
                  <a:pt x="13568" y="4090"/>
                  <a:pt x="13714" y="3995"/>
                  <a:pt x="13864" y="3877"/>
                </a:cubicBezTo>
                <a:lnTo>
                  <a:pt x="13846" y="3906"/>
                </a:lnTo>
                <a:cubicBezTo>
                  <a:pt x="13827" y="3937"/>
                  <a:pt x="13846" y="3906"/>
                  <a:pt x="13846" y="3906"/>
                </a:cubicBezTo>
                <a:close/>
                <a:moveTo>
                  <a:pt x="12475" y="14778"/>
                </a:moveTo>
                <a:cubicBezTo>
                  <a:pt x="12516" y="14778"/>
                  <a:pt x="12564" y="14776"/>
                  <a:pt x="12595" y="14795"/>
                </a:cubicBezTo>
                <a:cubicBezTo>
                  <a:pt x="12555" y="14785"/>
                  <a:pt x="12514" y="14778"/>
                  <a:pt x="12475" y="14778"/>
                </a:cubicBezTo>
                <a:cubicBezTo>
                  <a:pt x="12476" y="14778"/>
                  <a:pt x="12514" y="14778"/>
                  <a:pt x="12475" y="14778"/>
                </a:cubicBezTo>
                <a:close/>
                <a:moveTo>
                  <a:pt x="7113" y="17141"/>
                </a:moveTo>
                <a:cubicBezTo>
                  <a:pt x="7109" y="17139"/>
                  <a:pt x="7101" y="17127"/>
                  <a:pt x="7096" y="17118"/>
                </a:cubicBezTo>
                <a:cubicBezTo>
                  <a:pt x="7113" y="17112"/>
                  <a:pt x="7129" y="17104"/>
                  <a:pt x="7143" y="17096"/>
                </a:cubicBezTo>
                <a:cubicBezTo>
                  <a:pt x="7135" y="17114"/>
                  <a:pt x="7137" y="17132"/>
                  <a:pt x="7149" y="17150"/>
                </a:cubicBezTo>
                <a:lnTo>
                  <a:pt x="7113" y="17141"/>
                </a:lnTo>
                <a:cubicBezTo>
                  <a:pt x="7109" y="17139"/>
                  <a:pt x="7113" y="17141"/>
                  <a:pt x="7113" y="17141"/>
                </a:cubicBezTo>
                <a:close/>
                <a:moveTo>
                  <a:pt x="4271" y="153"/>
                </a:moveTo>
                <a:cubicBezTo>
                  <a:pt x="4271" y="153"/>
                  <a:pt x="4274" y="153"/>
                  <a:pt x="4271" y="153"/>
                </a:cubicBezTo>
                <a:cubicBezTo>
                  <a:pt x="4271" y="153"/>
                  <a:pt x="4271" y="153"/>
                  <a:pt x="4271" y="153"/>
                </a:cubicBezTo>
                <a:close/>
                <a:moveTo>
                  <a:pt x="21083" y="5876"/>
                </a:moveTo>
                <a:cubicBezTo>
                  <a:pt x="20878" y="5351"/>
                  <a:pt x="20177" y="5444"/>
                  <a:pt x="19555" y="5083"/>
                </a:cubicBezTo>
                <a:cubicBezTo>
                  <a:pt x="19066" y="4799"/>
                  <a:pt x="18685" y="4740"/>
                  <a:pt x="18023" y="4717"/>
                </a:cubicBezTo>
                <a:cubicBezTo>
                  <a:pt x="17537" y="4700"/>
                  <a:pt x="17283" y="4482"/>
                  <a:pt x="16812" y="4685"/>
                </a:cubicBezTo>
                <a:cubicBezTo>
                  <a:pt x="16950" y="4215"/>
                  <a:pt x="15462" y="3995"/>
                  <a:pt x="14945" y="4103"/>
                </a:cubicBezTo>
                <a:cubicBezTo>
                  <a:pt x="14955" y="4083"/>
                  <a:pt x="15053" y="3900"/>
                  <a:pt x="15053" y="3900"/>
                </a:cubicBezTo>
                <a:cubicBezTo>
                  <a:pt x="14663" y="3887"/>
                  <a:pt x="14273" y="3873"/>
                  <a:pt x="13883" y="3862"/>
                </a:cubicBezTo>
                <a:cubicBezTo>
                  <a:pt x="14117" y="3655"/>
                  <a:pt x="14501" y="3533"/>
                  <a:pt x="14274" y="3246"/>
                </a:cubicBezTo>
                <a:cubicBezTo>
                  <a:pt x="13791" y="3298"/>
                  <a:pt x="13738" y="2329"/>
                  <a:pt x="13421" y="2513"/>
                </a:cubicBezTo>
                <a:cubicBezTo>
                  <a:pt x="13222" y="2341"/>
                  <a:pt x="12877" y="2206"/>
                  <a:pt x="12575" y="2135"/>
                </a:cubicBezTo>
                <a:cubicBezTo>
                  <a:pt x="12586" y="2119"/>
                  <a:pt x="12595" y="2102"/>
                  <a:pt x="12600" y="2085"/>
                </a:cubicBezTo>
                <a:cubicBezTo>
                  <a:pt x="12472" y="2018"/>
                  <a:pt x="11718" y="1855"/>
                  <a:pt x="11552" y="2009"/>
                </a:cubicBezTo>
                <a:cubicBezTo>
                  <a:pt x="11407" y="1950"/>
                  <a:pt x="11152" y="1951"/>
                  <a:pt x="10982" y="1957"/>
                </a:cubicBezTo>
                <a:lnTo>
                  <a:pt x="10971" y="1915"/>
                </a:lnTo>
                <a:lnTo>
                  <a:pt x="10942" y="1935"/>
                </a:lnTo>
                <a:cubicBezTo>
                  <a:pt x="10847" y="1887"/>
                  <a:pt x="10590" y="1730"/>
                  <a:pt x="10461" y="1730"/>
                </a:cubicBezTo>
                <a:cubicBezTo>
                  <a:pt x="10603" y="1730"/>
                  <a:pt x="10202" y="1408"/>
                  <a:pt x="10132" y="1370"/>
                </a:cubicBezTo>
                <a:cubicBezTo>
                  <a:pt x="10175" y="1376"/>
                  <a:pt x="10205" y="1380"/>
                  <a:pt x="10205" y="1380"/>
                </a:cubicBezTo>
                <a:cubicBezTo>
                  <a:pt x="9946" y="1224"/>
                  <a:pt x="9692" y="1045"/>
                  <a:pt x="9292" y="1115"/>
                </a:cubicBezTo>
                <a:cubicBezTo>
                  <a:pt x="9308" y="1100"/>
                  <a:pt x="9312" y="1069"/>
                  <a:pt x="9318" y="1047"/>
                </a:cubicBezTo>
                <a:cubicBezTo>
                  <a:pt x="9756" y="901"/>
                  <a:pt x="8958" y="655"/>
                  <a:pt x="8719" y="691"/>
                </a:cubicBezTo>
                <a:cubicBezTo>
                  <a:pt x="8697" y="649"/>
                  <a:pt x="8672" y="637"/>
                  <a:pt x="8622" y="605"/>
                </a:cubicBezTo>
                <a:cubicBezTo>
                  <a:pt x="8595" y="615"/>
                  <a:pt x="8857" y="603"/>
                  <a:pt x="8946" y="583"/>
                </a:cubicBezTo>
                <a:lnTo>
                  <a:pt x="8946" y="424"/>
                </a:lnTo>
                <a:cubicBezTo>
                  <a:pt x="8584" y="419"/>
                  <a:pt x="8041" y="370"/>
                  <a:pt x="7753" y="527"/>
                </a:cubicBezTo>
                <a:cubicBezTo>
                  <a:pt x="7325" y="761"/>
                  <a:pt x="7238" y="462"/>
                  <a:pt x="6865" y="462"/>
                </a:cubicBezTo>
                <a:cubicBezTo>
                  <a:pt x="6651" y="462"/>
                  <a:pt x="6162" y="582"/>
                  <a:pt x="6100" y="423"/>
                </a:cubicBezTo>
                <a:cubicBezTo>
                  <a:pt x="6035" y="257"/>
                  <a:pt x="5794" y="173"/>
                  <a:pt x="5530" y="201"/>
                </a:cubicBezTo>
                <a:cubicBezTo>
                  <a:pt x="5798" y="201"/>
                  <a:pt x="4516" y="-254"/>
                  <a:pt x="5126" y="246"/>
                </a:cubicBezTo>
                <a:cubicBezTo>
                  <a:pt x="4964" y="310"/>
                  <a:pt x="4729" y="281"/>
                  <a:pt x="4573" y="365"/>
                </a:cubicBezTo>
                <a:cubicBezTo>
                  <a:pt x="4569" y="357"/>
                  <a:pt x="4565" y="351"/>
                  <a:pt x="4561" y="344"/>
                </a:cubicBezTo>
                <a:cubicBezTo>
                  <a:pt x="4686" y="310"/>
                  <a:pt x="4802" y="265"/>
                  <a:pt x="4906" y="212"/>
                </a:cubicBezTo>
                <a:cubicBezTo>
                  <a:pt x="4915" y="-229"/>
                  <a:pt x="4397" y="153"/>
                  <a:pt x="4270" y="153"/>
                </a:cubicBezTo>
                <a:cubicBezTo>
                  <a:pt x="4167" y="164"/>
                  <a:pt x="3359" y="353"/>
                  <a:pt x="3319" y="417"/>
                </a:cubicBezTo>
                <a:lnTo>
                  <a:pt x="3145" y="383"/>
                </a:lnTo>
                <a:cubicBezTo>
                  <a:pt x="2836" y="502"/>
                  <a:pt x="2710" y="657"/>
                  <a:pt x="2597" y="861"/>
                </a:cubicBezTo>
                <a:lnTo>
                  <a:pt x="2632" y="881"/>
                </a:lnTo>
                <a:lnTo>
                  <a:pt x="2609" y="891"/>
                </a:lnTo>
                <a:cubicBezTo>
                  <a:pt x="2609" y="891"/>
                  <a:pt x="2630" y="919"/>
                  <a:pt x="2631" y="920"/>
                </a:cubicBezTo>
                <a:cubicBezTo>
                  <a:pt x="2441" y="925"/>
                  <a:pt x="2439" y="994"/>
                  <a:pt x="2367" y="1082"/>
                </a:cubicBezTo>
                <a:cubicBezTo>
                  <a:pt x="2327" y="1132"/>
                  <a:pt x="2134" y="1188"/>
                  <a:pt x="2046" y="1216"/>
                </a:cubicBezTo>
                <a:cubicBezTo>
                  <a:pt x="2006" y="1191"/>
                  <a:pt x="1971" y="1160"/>
                  <a:pt x="1938" y="1132"/>
                </a:cubicBezTo>
                <a:lnTo>
                  <a:pt x="1757" y="1278"/>
                </a:lnTo>
                <a:lnTo>
                  <a:pt x="1868" y="1415"/>
                </a:lnTo>
                <a:lnTo>
                  <a:pt x="1840" y="1419"/>
                </a:lnTo>
                <a:lnTo>
                  <a:pt x="1824" y="1473"/>
                </a:lnTo>
                <a:lnTo>
                  <a:pt x="1805" y="1460"/>
                </a:lnTo>
                <a:cubicBezTo>
                  <a:pt x="1758" y="1481"/>
                  <a:pt x="1709" y="1500"/>
                  <a:pt x="1658" y="1517"/>
                </a:cubicBezTo>
                <a:cubicBezTo>
                  <a:pt x="1549" y="1674"/>
                  <a:pt x="1707" y="1979"/>
                  <a:pt x="1798" y="2121"/>
                </a:cubicBezTo>
                <a:lnTo>
                  <a:pt x="1623" y="2198"/>
                </a:lnTo>
                <a:cubicBezTo>
                  <a:pt x="1623" y="2198"/>
                  <a:pt x="1757" y="2274"/>
                  <a:pt x="1768" y="2279"/>
                </a:cubicBezTo>
                <a:cubicBezTo>
                  <a:pt x="1773" y="2424"/>
                  <a:pt x="1650" y="2661"/>
                  <a:pt x="1803" y="2773"/>
                </a:cubicBezTo>
                <a:cubicBezTo>
                  <a:pt x="1723" y="2851"/>
                  <a:pt x="1540" y="2983"/>
                  <a:pt x="1532" y="3078"/>
                </a:cubicBezTo>
                <a:cubicBezTo>
                  <a:pt x="1139" y="3076"/>
                  <a:pt x="1182" y="3360"/>
                  <a:pt x="947" y="3451"/>
                </a:cubicBezTo>
                <a:cubicBezTo>
                  <a:pt x="945" y="3436"/>
                  <a:pt x="951" y="3434"/>
                  <a:pt x="966" y="3447"/>
                </a:cubicBezTo>
                <a:cubicBezTo>
                  <a:pt x="608" y="3513"/>
                  <a:pt x="413" y="3554"/>
                  <a:pt x="434" y="3830"/>
                </a:cubicBezTo>
                <a:cubicBezTo>
                  <a:pt x="410" y="3843"/>
                  <a:pt x="192" y="4024"/>
                  <a:pt x="245" y="4024"/>
                </a:cubicBezTo>
                <a:lnTo>
                  <a:pt x="236" y="4024"/>
                </a:lnTo>
                <a:cubicBezTo>
                  <a:pt x="54" y="4141"/>
                  <a:pt x="48" y="4311"/>
                  <a:pt x="120" y="4482"/>
                </a:cubicBezTo>
                <a:cubicBezTo>
                  <a:pt x="-250" y="4580"/>
                  <a:pt x="355" y="4716"/>
                  <a:pt x="355" y="4730"/>
                </a:cubicBezTo>
                <a:cubicBezTo>
                  <a:pt x="361" y="4790"/>
                  <a:pt x="347" y="4826"/>
                  <a:pt x="446" y="4867"/>
                </a:cubicBezTo>
                <a:cubicBezTo>
                  <a:pt x="418" y="4880"/>
                  <a:pt x="385" y="4889"/>
                  <a:pt x="354" y="4898"/>
                </a:cubicBezTo>
                <a:lnTo>
                  <a:pt x="401" y="5044"/>
                </a:lnTo>
                <a:cubicBezTo>
                  <a:pt x="360" y="5065"/>
                  <a:pt x="295" y="5073"/>
                  <a:pt x="243" y="5074"/>
                </a:cubicBezTo>
                <a:cubicBezTo>
                  <a:pt x="-96" y="5327"/>
                  <a:pt x="100" y="5478"/>
                  <a:pt x="253" y="5724"/>
                </a:cubicBezTo>
                <a:cubicBezTo>
                  <a:pt x="-131" y="5758"/>
                  <a:pt x="906" y="6336"/>
                  <a:pt x="977" y="6405"/>
                </a:cubicBezTo>
                <a:cubicBezTo>
                  <a:pt x="1473" y="6884"/>
                  <a:pt x="1943" y="7410"/>
                  <a:pt x="2366" y="7917"/>
                </a:cubicBezTo>
                <a:cubicBezTo>
                  <a:pt x="2792" y="8429"/>
                  <a:pt x="2834" y="8747"/>
                  <a:pt x="3754" y="9047"/>
                </a:cubicBezTo>
                <a:cubicBezTo>
                  <a:pt x="4138" y="9172"/>
                  <a:pt x="4518" y="9326"/>
                  <a:pt x="4908" y="9441"/>
                </a:cubicBezTo>
                <a:cubicBezTo>
                  <a:pt x="5168" y="9517"/>
                  <a:pt x="5201" y="9759"/>
                  <a:pt x="5520" y="9800"/>
                </a:cubicBezTo>
                <a:cubicBezTo>
                  <a:pt x="5673" y="10251"/>
                  <a:pt x="5783" y="10655"/>
                  <a:pt x="5791" y="11117"/>
                </a:cubicBezTo>
                <a:cubicBezTo>
                  <a:pt x="5711" y="11122"/>
                  <a:pt x="5913" y="12338"/>
                  <a:pt x="5907" y="12464"/>
                </a:cubicBezTo>
                <a:cubicBezTo>
                  <a:pt x="5882" y="13059"/>
                  <a:pt x="5883" y="13548"/>
                  <a:pt x="6193" y="14121"/>
                </a:cubicBezTo>
                <a:lnTo>
                  <a:pt x="6225" y="14132"/>
                </a:lnTo>
                <a:cubicBezTo>
                  <a:pt x="6430" y="14543"/>
                  <a:pt x="6291" y="15161"/>
                  <a:pt x="6165" y="15567"/>
                </a:cubicBezTo>
                <a:lnTo>
                  <a:pt x="5959" y="15469"/>
                </a:lnTo>
                <a:cubicBezTo>
                  <a:pt x="6052" y="15704"/>
                  <a:pt x="6153" y="16040"/>
                  <a:pt x="6421" y="16224"/>
                </a:cubicBezTo>
                <a:cubicBezTo>
                  <a:pt x="6507" y="16420"/>
                  <a:pt x="6366" y="16837"/>
                  <a:pt x="6657" y="17019"/>
                </a:cubicBezTo>
                <a:lnTo>
                  <a:pt x="6608" y="17029"/>
                </a:lnTo>
                <a:cubicBezTo>
                  <a:pt x="6637" y="17135"/>
                  <a:pt x="6673" y="17242"/>
                  <a:pt x="6698" y="17348"/>
                </a:cubicBezTo>
                <a:cubicBezTo>
                  <a:pt x="6724" y="17460"/>
                  <a:pt x="6961" y="17753"/>
                  <a:pt x="7204" y="17552"/>
                </a:cubicBezTo>
                <a:cubicBezTo>
                  <a:pt x="7368" y="17415"/>
                  <a:pt x="7130" y="17379"/>
                  <a:pt x="7104" y="17271"/>
                </a:cubicBezTo>
                <a:cubicBezTo>
                  <a:pt x="7153" y="17247"/>
                  <a:pt x="7205" y="17224"/>
                  <a:pt x="7258" y="17204"/>
                </a:cubicBezTo>
                <a:cubicBezTo>
                  <a:pt x="7266" y="17207"/>
                  <a:pt x="7274" y="17209"/>
                  <a:pt x="7283" y="17212"/>
                </a:cubicBezTo>
                <a:cubicBezTo>
                  <a:pt x="7428" y="17330"/>
                  <a:pt x="7359" y="17669"/>
                  <a:pt x="7457" y="17825"/>
                </a:cubicBezTo>
                <a:cubicBezTo>
                  <a:pt x="7064" y="17733"/>
                  <a:pt x="6781" y="17992"/>
                  <a:pt x="7244" y="18037"/>
                </a:cubicBezTo>
                <a:cubicBezTo>
                  <a:pt x="7249" y="18089"/>
                  <a:pt x="7372" y="18164"/>
                  <a:pt x="7414" y="18219"/>
                </a:cubicBezTo>
                <a:cubicBezTo>
                  <a:pt x="7100" y="18171"/>
                  <a:pt x="6990" y="18391"/>
                  <a:pt x="6948" y="18541"/>
                </a:cubicBezTo>
                <a:cubicBezTo>
                  <a:pt x="6858" y="18867"/>
                  <a:pt x="7590" y="18545"/>
                  <a:pt x="7695" y="18694"/>
                </a:cubicBezTo>
                <a:cubicBezTo>
                  <a:pt x="7722" y="18862"/>
                  <a:pt x="7638" y="18904"/>
                  <a:pt x="7476" y="18960"/>
                </a:cubicBezTo>
                <a:cubicBezTo>
                  <a:pt x="7193" y="19058"/>
                  <a:pt x="7547" y="19380"/>
                  <a:pt x="7676" y="19483"/>
                </a:cubicBezTo>
                <a:cubicBezTo>
                  <a:pt x="7806" y="19585"/>
                  <a:pt x="8719" y="19925"/>
                  <a:pt x="8709" y="20034"/>
                </a:cubicBezTo>
                <a:cubicBezTo>
                  <a:pt x="8675" y="20055"/>
                  <a:pt x="8539" y="20057"/>
                  <a:pt x="8495" y="20060"/>
                </a:cubicBezTo>
                <a:cubicBezTo>
                  <a:pt x="8668" y="20215"/>
                  <a:pt x="8970" y="20245"/>
                  <a:pt x="9155" y="20402"/>
                </a:cubicBezTo>
                <a:cubicBezTo>
                  <a:pt x="9472" y="20673"/>
                  <a:pt x="9686" y="20866"/>
                  <a:pt x="10256" y="20922"/>
                </a:cubicBezTo>
                <a:cubicBezTo>
                  <a:pt x="10224" y="21093"/>
                  <a:pt x="10989" y="21099"/>
                  <a:pt x="11173" y="21106"/>
                </a:cubicBezTo>
                <a:cubicBezTo>
                  <a:pt x="11320" y="21272"/>
                  <a:pt x="11860" y="21266"/>
                  <a:pt x="12121" y="21346"/>
                </a:cubicBezTo>
                <a:cubicBezTo>
                  <a:pt x="12171" y="21325"/>
                  <a:pt x="12226" y="21311"/>
                  <a:pt x="12286" y="21303"/>
                </a:cubicBezTo>
                <a:cubicBezTo>
                  <a:pt x="12279" y="21275"/>
                  <a:pt x="12265" y="21249"/>
                  <a:pt x="12243" y="21224"/>
                </a:cubicBezTo>
                <a:cubicBezTo>
                  <a:pt x="12367" y="21226"/>
                  <a:pt x="12609" y="21245"/>
                  <a:pt x="12688" y="21175"/>
                </a:cubicBezTo>
                <a:cubicBezTo>
                  <a:pt x="13408" y="21075"/>
                  <a:pt x="12856" y="20944"/>
                  <a:pt x="12432" y="20879"/>
                </a:cubicBezTo>
                <a:cubicBezTo>
                  <a:pt x="12038" y="20821"/>
                  <a:pt x="11669" y="20556"/>
                  <a:pt x="11367" y="20396"/>
                </a:cubicBezTo>
                <a:lnTo>
                  <a:pt x="11371" y="20394"/>
                </a:lnTo>
                <a:cubicBezTo>
                  <a:pt x="11287" y="20307"/>
                  <a:pt x="11160" y="20275"/>
                  <a:pt x="11013" y="20336"/>
                </a:cubicBezTo>
                <a:cubicBezTo>
                  <a:pt x="10986" y="20329"/>
                  <a:pt x="10938" y="20310"/>
                  <a:pt x="10929" y="20303"/>
                </a:cubicBezTo>
                <a:cubicBezTo>
                  <a:pt x="10926" y="20288"/>
                  <a:pt x="10923" y="20273"/>
                  <a:pt x="10922" y="20258"/>
                </a:cubicBezTo>
                <a:lnTo>
                  <a:pt x="11154" y="20296"/>
                </a:lnTo>
                <a:lnTo>
                  <a:pt x="11240" y="20191"/>
                </a:lnTo>
                <a:cubicBezTo>
                  <a:pt x="10960" y="20056"/>
                  <a:pt x="10729" y="19885"/>
                  <a:pt x="10600" y="19679"/>
                </a:cubicBezTo>
                <a:cubicBezTo>
                  <a:pt x="11043" y="19491"/>
                  <a:pt x="10850" y="19267"/>
                  <a:pt x="11190" y="19008"/>
                </a:cubicBezTo>
                <a:cubicBezTo>
                  <a:pt x="11610" y="18689"/>
                  <a:pt x="10881" y="18589"/>
                  <a:pt x="10564" y="18488"/>
                </a:cubicBezTo>
                <a:cubicBezTo>
                  <a:pt x="9933" y="18287"/>
                  <a:pt x="10482" y="18110"/>
                  <a:pt x="10762" y="17956"/>
                </a:cubicBezTo>
                <a:cubicBezTo>
                  <a:pt x="11082" y="17780"/>
                  <a:pt x="10532" y="17572"/>
                  <a:pt x="10925" y="17461"/>
                </a:cubicBezTo>
                <a:cubicBezTo>
                  <a:pt x="11053" y="17363"/>
                  <a:pt x="11542" y="17241"/>
                  <a:pt x="11132" y="17081"/>
                </a:cubicBezTo>
                <a:cubicBezTo>
                  <a:pt x="10719" y="16920"/>
                  <a:pt x="10542" y="17195"/>
                  <a:pt x="10370" y="16756"/>
                </a:cubicBezTo>
                <a:cubicBezTo>
                  <a:pt x="10280" y="16736"/>
                  <a:pt x="10698" y="16839"/>
                  <a:pt x="10701" y="16840"/>
                </a:cubicBezTo>
                <a:cubicBezTo>
                  <a:pt x="10852" y="16881"/>
                  <a:pt x="11044" y="16917"/>
                  <a:pt x="11208" y="16880"/>
                </a:cubicBezTo>
                <a:cubicBezTo>
                  <a:pt x="11677" y="16774"/>
                  <a:pt x="11296" y="16620"/>
                  <a:pt x="11327" y="16476"/>
                </a:cubicBezTo>
                <a:lnTo>
                  <a:pt x="11391" y="16465"/>
                </a:lnTo>
                <a:cubicBezTo>
                  <a:pt x="11399" y="16341"/>
                  <a:pt x="11312" y="16265"/>
                  <a:pt x="11208" y="16169"/>
                </a:cubicBezTo>
                <a:cubicBezTo>
                  <a:pt x="11664" y="16259"/>
                  <a:pt x="12455" y="16159"/>
                  <a:pt x="12835" y="15994"/>
                </a:cubicBezTo>
                <a:cubicBezTo>
                  <a:pt x="13028" y="15910"/>
                  <a:pt x="13154" y="15698"/>
                  <a:pt x="13228" y="15565"/>
                </a:cubicBezTo>
                <a:cubicBezTo>
                  <a:pt x="13402" y="15253"/>
                  <a:pt x="12911" y="15333"/>
                  <a:pt x="12834" y="15144"/>
                </a:cubicBezTo>
                <a:cubicBezTo>
                  <a:pt x="12802" y="15022"/>
                  <a:pt x="12963" y="14987"/>
                  <a:pt x="12778" y="14873"/>
                </a:cubicBezTo>
                <a:cubicBezTo>
                  <a:pt x="13254" y="14989"/>
                  <a:pt x="14069" y="14954"/>
                  <a:pt x="14075" y="14543"/>
                </a:cubicBezTo>
                <a:cubicBezTo>
                  <a:pt x="14715" y="14565"/>
                  <a:pt x="14622" y="13934"/>
                  <a:pt x="14861" y="13689"/>
                </a:cubicBezTo>
                <a:cubicBezTo>
                  <a:pt x="14826" y="13753"/>
                  <a:pt x="14779" y="13815"/>
                  <a:pt x="14699" y="13862"/>
                </a:cubicBezTo>
                <a:lnTo>
                  <a:pt x="14810" y="13932"/>
                </a:lnTo>
                <a:lnTo>
                  <a:pt x="14823" y="13925"/>
                </a:lnTo>
                <a:lnTo>
                  <a:pt x="14866" y="13945"/>
                </a:lnTo>
                <a:cubicBezTo>
                  <a:pt x="15391" y="13663"/>
                  <a:pt x="15253" y="13268"/>
                  <a:pt x="15713" y="12979"/>
                </a:cubicBezTo>
                <a:cubicBezTo>
                  <a:pt x="16218" y="12660"/>
                  <a:pt x="15525" y="12151"/>
                  <a:pt x="15954" y="11777"/>
                </a:cubicBezTo>
                <a:cubicBezTo>
                  <a:pt x="16313" y="11463"/>
                  <a:pt x="17360" y="11121"/>
                  <a:pt x="17972" y="11165"/>
                </a:cubicBezTo>
                <a:cubicBezTo>
                  <a:pt x="18474" y="11201"/>
                  <a:pt x="18489" y="10927"/>
                  <a:pt x="18940" y="10851"/>
                </a:cubicBezTo>
                <a:cubicBezTo>
                  <a:pt x="18679" y="10613"/>
                  <a:pt x="19041" y="10505"/>
                  <a:pt x="19136" y="10300"/>
                </a:cubicBezTo>
                <a:cubicBezTo>
                  <a:pt x="19263" y="10026"/>
                  <a:pt x="19440" y="9737"/>
                  <a:pt x="19532" y="9473"/>
                </a:cubicBezTo>
                <a:cubicBezTo>
                  <a:pt x="19677" y="9053"/>
                  <a:pt x="19187" y="8394"/>
                  <a:pt x="19505" y="8013"/>
                </a:cubicBezTo>
                <a:cubicBezTo>
                  <a:pt x="20005" y="8053"/>
                  <a:pt x="20030" y="7526"/>
                  <a:pt x="20245" y="7340"/>
                </a:cubicBezTo>
                <a:cubicBezTo>
                  <a:pt x="20849" y="6817"/>
                  <a:pt x="21350" y="6573"/>
                  <a:pt x="21083" y="5876"/>
                </a:cubicBezTo>
                <a:cubicBezTo>
                  <a:pt x="21071" y="5847"/>
                  <a:pt x="21253" y="6319"/>
                  <a:pt x="21083" y="5876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22502" tIns="22502" rIns="22502" bIns="22502" anchor="ctr"/>
          <a:lstStyle/>
          <a:p>
            <a:pPr algn="ctr" defTabSz="269932" hangingPunct="0">
              <a:lnSpc>
                <a:spcPct val="80000"/>
              </a:lnSpc>
              <a:spcBef>
                <a:spcPts val="2058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 sz="42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venir Next"/>
              <a:ea typeface="Avenir Next"/>
              <a:cs typeface="Avenir Next"/>
              <a:sym typeface="Avenir Next"/>
            </a:endParaRPr>
          </a:p>
        </p:txBody>
      </p:sp>
      <p:sp>
        <p:nvSpPr>
          <p:cNvPr id="276" name="Фигура"/>
          <p:cNvSpPr/>
          <p:nvPr/>
        </p:nvSpPr>
        <p:spPr>
          <a:xfrm>
            <a:off x="5651769" y="2608919"/>
            <a:ext cx="490012" cy="5871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19" h="21364" extrusionOk="0">
                <a:moveTo>
                  <a:pt x="3010" y="6585"/>
                </a:moveTo>
                <a:cubicBezTo>
                  <a:pt x="2435" y="7097"/>
                  <a:pt x="992" y="7347"/>
                  <a:pt x="363" y="6890"/>
                </a:cubicBezTo>
                <a:cubicBezTo>
                  <a:pt x="444" y="6750"/>
                  <a:pt x="713" y="6786"/>
                  <a:pt x="499" y="6579"/>
                </a:cubicBezTo>
                <a:cubicBezTo>
                  <a:pt x="464" y="6545"/>
                  <a:pt x="118" y="6445"/>
                  <a:pt x="106" y="6460"/>
                </a:cubicBezTo>
                <a:cubicBezTo>
                  <a:pt x="240" y="6289"/>
                  <a:pt x="512" y="6444"/>
                  <a:pt x="654" y="6279"/>
                </a:cubicBezTo>
                <a:cubicBezTo>
                  <a:pt x="796" y="6113"/>
                  <a:pt x="-14" y="6151"/>
                  <a:pt x="0" y="6157"/>
                </a:cubicBezTo>
                <a:cubicBezTo>
                  <a:pt x="226" y="5657"/>
                  <a:pt x="953" y="5687"/>
                  <a:pt x="954" y="6266"/>
                </a:cubicBezTo>
                <a:cubicBezTo>
                  <a:pt x="1102" y="6190"/>
                  <a:pt x="1215" y="6074"/>
                  <a:pt x="1294" y="5918"/>
                </a:cubicBezTo>
                <a:cubicBezTo>
                  <a:pt x="1537" y="5893"/>
                  <a:pt x="2370" y="6107"/>
                  <a:pt x="2491" y="5816"/>
                </a:cubicBezTo>
                <a:cubicBezTo>
                  <a:pt x="2514" y="5759"/>
                  <a:pt x="3682" y="5987"/>
                  <a:pt x="3010" y="6585"/>
                </a:cubicBezTo>
                <a:cubicBezTo>
                  <a:pt x="2843" y="6734"/>
                  <a:pt x="3142" y="6468"/>
                  <a:pt x="3010" y="6585"/>
                </a:cubicBezTo>
                <a:close/>
                <a:moveTo>
                  <a:pt x="11005" y="300"/>
                </a:moveTo>
                <a:cubicBezTo>
                  <a:pt x="11317" y="195"/>
                  <a:pt x="11825" y="280"/>
                  <a:pt x="12088" y="495"/>
                </a:cubicBezTo>
                <a:cubicBezTo>
                  <a:pt x="12051" y="428"/>
                  <a:pt x="12017" y="355"/>
                  <a:pt x="12030" y="274"/>
                </a:cubicBezTo>
                <a:cubicBezTo>
                  <a:pt x="12514" y="182"/>
                  <a:pt x="14125" y="719"/>
                  <a:pt x="14503" y="1064"/>
                </a:cubicBezTo>
                <a:cubicBezTo>
                  <a:pt x="14355" y="1090"/>
                  <a:pt x="13593" y="1487"/>
                  <a:pt x="13494" y="1113"/>
                </a:cubicBezTo>
                <a:cubicBezTo>
                  <a:pt x="13514" y="1074"/>
                  <a:pt x="13535" y="1036"/>
                  <a:pt x="13555" y="997"/>
                </a:cubicBezTo>
                <a:cubicBezTo>
                  <a:pt x="13092" y="666"/>
                  <a:pt x="12573" y="887"/>
                  <a:pt x="12439" y="1482"/>
                </a:cubicBezTo>
                <a:cubicBezTo>
                  <a:pt x="12305" y="1656"/>
                  <a:pt x="11018" y="988"/>
                  <a:pt x="11664" y="897"/>
                </a:cubicBezTo>
                <a:cubicBezTo>
                  <a:pt x="11583" y="891"/>
                  <a:pt x="10294" y="541"/>
                  <a:pt x="11005" y="300"/>
                </a:cubicBezTo>
                <a:cubicBezTo>
                  <a:pt x="11317" y="195"/>
                  <a:pt x="10790" y="373"/>
                  <a:pt x="11005" y="300"/>
                </a:cubicBezTo>
                <a:close/>
                <a:moveTo>
                  <a:pt x="13416" y="415"/>
                </a:moveTo>
                <a:cubicBezTo>
                  <a:pt x="13177" y="380"/>
                  <a:pt x="12943" y="324"/>
                  <a:pt x="12720" y="200"/>
                </a:cubicBezTo>
                <a:cubicBezTo>
                  <a:pt x="13106" y="-111"/>
                  <a:pt x="14518" y="-25"/>
                  <a:pt x="14908" y="222"/>
                </a:cubicBezTo>
                <a:cubicBezTo>
                  <a:pt x="14603" y="635"/>
                  <a:pt x="13826" y="474"/>
                  <a:pt x="13416" y="415"/>
                </a:cubicBezTo>
                <a:cubicBezTo>
                  <a:pt x="13177" y="380"/>
                  <a:pt x="13560" y="435"/>
                  <a:pt x="13416" y="415"/>
                </a:cubicBezTo>
                <a:close/>
                <a:moveTo>
                  <a:pt x="17057" y="21008"/>
                </a:moveTo>
                <a:cubicBezTo>
                  <a:pt x="17044" y="21057"/>
                  <a:pt x="17025" y="21102"/>
                  <a:pt x="16998" y="21143"/>
                </a:cubicBezTo>
                <a:cubicBezTo>
                  <a:pt x="16638" y="21123"/>
                  <a:pt x="16355" y="21046"/>
                  <a:pt x="15994" y="21031"/>
                </a:cubicBezTo>
                <a:cubicBezTo>
                  <a:pt x="15992" y="20975"/>
                  <a:pt x="15985" y="20922"/>
                  <a:pt x="15986" y="20864"/>
                </a:cubicBezTo>
                <a:cubicBezTo>
                  <a:pt x="16167" y="20818"/>
                  <a:pt x="16655" y="20912"/>
                  <a:pt x="16834" y="20976"/>
                </a:cubicBezTo>
                <a:cubicBezTo>
                  <a:pt x="16831" y="20995"/>
                  <a:pt x="16840" y="21021"/>
                  <a:pt x="16837" y="21040"/>
                </a:cubicBezTo>
                <a:cubicBezTo>
                  <a:pt x="16925" y="21067"/>
                  <a:pt x="16976" y="21002"/>
                  <a:pt x="17057" y="21008"/>
                </a:cubicBezTo>
                <a:cubicBezTo>
                  <a:pt x="17069" y="21052"/>
                  <a:pt x="16976" y="21002"/>
                  <a:pt x="17057" y="21008"/>
                </a:cubicBezTo>
                <a:close/>
                <a:moveTo>
                  <a:pt x="15035" y="9329"/>
                </a:moveTo>
                <a:cubicBezTo>
                  <a:pt x="15040" y="9332"/>
                  <a:pt x="15043" y="9336"/>
                  <a:pt x="15046" y="9340"/>
                </a:cubicBezTo>
                <a:cubicBezTo>
                  <a:pt x="15083" y="9411"/>
                  <a:pt x="14747" y="9586"/>
                  <a:pt x="14719" y="9588"/>
                </a:cubicBezTo>
                <a:cubicBezTo>
                  <a:pt x="14509" y="9606"/>
                  <a:pt x="14814" y="9185"/>
                  <a:pt x="15035" y="9329"/>
                </a:cubicBezTo>
                <a:cubicBezTo>
                  <a:pt x="15040" y="9332"/>
                  <a:pt x="15025" y="9323"/>
                  <a:pt x="15035" y="9329"/>
                </a:cubicBezTo>
                <a:close/>
                <a:moveTo>
                  <a:pt x="10464" y="17106"/>
                </a:moveTo>
                <a:lnTo>
                  <a:pt x="10453" y="17083"/>
                </a:lnTo>
                <a:cubicBezTo>
                  <a:pt x="10426" y="17405"/>
                  <a:pt x="10539" y="17595"/>
                  <a:pt x="10345" y="17882"/>
                </a:cubicBezTo>
                <a:cubicBezTo>
                  <a:pt x="9796" y="17382"/>
                  <a:pt x="10473" y="17289"/>
                  <a:pt x="10464" y="17106"/>
                </a:cubicBezTo>
                <a:cubicBezTo>
                  <a:pt x="10464" y="17106"/>
                  <a:pt x="10457" y="16967"/>
                  <a:pt x="10464" y="17106"/>
                </a:cubicBezTo>
                <a:close/>
                <a:moveTo>
                  <a:pt x="10564" y="18237"/>
                </a:moveTo>
                <a:cubicBezTo>
                  <a:pt x="10602" y="18346"/>
                  <a:pt x="10551" y="18790"/>
                  <a:pt x="10530" y="18920"/>
                </a:cubicBezTo>
                <a:cubicBezTo>
                  <a:pt x="10485" y="19203"/>
                  <a:pt x="10300" y="18856"/>
                  <a:pt x="10290" y="19078"/>
                </a:cubicBezTo>
                <a:cubicBezTo>
                  <a:pt x="10271" y="19507"/>
                  <a:pt x="9961" y="18146"/>
                  <a:pt x="9970" y="18150"/>
                </a:cubicBezTo>
                <a:cubicBezTo>
                  <a:pt x="10234" y="18257"/>
                  <a:pt x="10411" y="17796"/>
                  <a:pt x="10564" y="18237"/>
                </a:cubicBezTo>
                <a:cubicBezTo>
                  <a:pt x="10578" y="18275"/>
                  <a:pt x="10539" y="18164"/>
                  <a:pt x="10564" y="18237"/>
                </a:cubicBezTo>
                <a:close/>
                <a:moveTo>
                  <a:pt x="5029" y="10651"/>
                </a:moveTo>
                <a:cubicBezTo>
                  <a:pt x="5077" y="10532"/>
                  <a:pt x="5345" y="10601"/>
                  <a:pt x="5317" y="10393"/>
                </a:cubicBezTo>
                <a:cubicBezTo>
                  <a:pt x="5309" y="10405"/>
                  <a:pt x="5301" y="10411"/>
                  <a:pt x="5295" y="10424"/>
                </a:cubicBezTo>
                <a:cubicBezTo>
                  <a:pt x="5232" y="10439"/>
                  <a:pt x="5176" y="10423"/>
                  <a:pt x="5111" y="10424"/>
                </a:cubicBezTo>
                <a:cubicBezTo>
                  <a:pt x="5102" y="10395"/>
                  <a:pt x="5323" y="9733"/>
                  <a:pt x="5376" y="9698"/>
                </a:cubicBezTo>
                <a:cubicBezTo>
                  <a:pt x="5467" y="9638"/>
                  <a:pt x="5548" y="9315"/>
                  <a:pt x="5670" y="9337"/>
                </a:cubicBezTo>
                <a:cubicBezTo>
                  <a:pt x="5754" y="9352"/>
                  <a:pt x="6274" y="9294"/>
                  <a:pt x="6258" y="9415"/>
                </a:cubicBezTo>
                <a:cubicBezTo>
                  <a:pt x="6253" y="9452"/>
                  <a:pt x="5825" y="9767"/>
                  <a:pt x="5928" y="9811"/>
                </a:cubicBezTo>
                <a:cubicBezTo>
                  <a:pt x="5995" y="9839"/>
                  <a:pt x="6642" y="9635"/>
                  <a:pt x="6636" y="9850"/>
                </a:cubicBezTo>
                <a:cubicBezTo>
                  <a:pt x="6630" y="10107"/>
                  <a:pt x="6142" y="10320"/>
                  <a:pt x="6302" y="10517"/>
                </a:cubicBezTo>
                <a:cubicBezTo>
                  <a:pt x="6401" y="10638"/>
                  <a:pt x="6622" y="10658"/>
                  <a:pt x="6653" y="10846"/>
                </a:cubicBezTo>
                <a:cubicBezTo>
                  <a:pt x="6671" y="10958"/>
                  <a:pt x="6675" y="11181"/>
                  <a:pt x="6785" y="11246"/>
                </a:cubicBezTo>
                <a:cubicBezTo>
                  <a:pt x="7128" y="11447"/>
                  <a:pt x="7055" y="11926"/>
                  <a:pt x="7226" y="12079"/>
                </a:cubicBezTo>
                <a:cubicBezTo>
                  <a:pt x="7345" y="12186"/>
                  <a:pt x="7646" y="11861"/>
                  <a:pt x="7721" y="12232"/>
                </a:cubicBezTo>
                <a:cubicBezTo>
                  <a:pt x="7759" y="12416"/>
                  <a:pt x="7449" y="12755"/>
                  <a:pt x="7292" y="12788"/>
                </a:cubicBezTo>
                <a:cubicBezTo>
                  <a:pt x="7264" y="12782"/>
                  <a:pt x="7615" y="12821"/>
                  <a:pt x="7617" y="12880"/>
                </a:cubicBezTo>
                <a:cubicBezTo>
                  <a:pt x="7622" y="13056"/>
                  <a:pt x="6316" y="13296"/>
                  <a:pt x="6190" y="13215"/>
                </a:cubicBezTo>
                <a:cubicBezTo>
                  <a:pt x="5876" y="13016"/>
                  <a:pt x="5422" y="13624"/>
                  <a:pt x="4985" y="13472"/>
                </a:cubicBezTo>
                <a:cubicBezTo>
                  <a:pt x="5239" y="13140"/>
                  <a:pt x="5940" y="13044"/>
                  <a:pt x="6110" y="12742"/>
                </a:cubicBezTo>
                <a:cubicBezTo>
                  <a:pt x="5925" y="12832"/>
                  <a:pt x="5802" y="12692"/>
                  <a:pt x="5782" y="12693"/>
                </a:cubicBezTo>
                <a:cubicBezTo>
                  <a:pt x="5654" y="12701"/>
                  <a:pt x="5527" y="12674"/>
                  <a:pt x="5405" y="12714"/>
                </a:cubicBezTo>
                <a:cubicBezTo>
                  <a:pt x="5071" y="12824"/>
                  <a:pt x="5664" y="12288"/>
                  <a:pt x="5650" y="12311"/>
                </a:cubicBezTo>
                <a:cubicBezTo>
                  <a:pt x="5754" y="12141"/>
                  <a:pt x="5455" y="11802"/>
                  <a:pt x="5686" y="11851"/>
                </a:cubicBezTo>
                <a:cubicBezTo>
                  <a:pt x="5913" y="11898"/>
                  <a:pt x="6249" y="11772"/>
                  <a:pt x="6176" y="11451"/>
                </a:cubicBezTo>
                <a:cubicBezTo>
                  <a:pt x="5978" y="11400"/>
                  <a:pt x="5859" y="11364"/>
                  <a:pt x="6069" y="11081"/>
                </a:cubicBezTo>
                <a:cubicBezTo>
                  <a:pt x="5935" y="11261"/>
                  <a:pt x="5499" y="11034"/>
                  <a:pt x="5491" y="11228"/>
                </a:cubicBezTo>
                <a:cubicBezTo>
                  <a:pt x="5230" y="11183"/>
                  <a:pt x="5585" y="10919"/>
                  <a:pt x="5602" y="10890"/>
                </a:cubicBezTo>
                <a:cubicBezTo>
                  <a:pt x="5707" y="10709"/>
                  <a:pt x="5363" y="10523"/>
                  <a:pt x="5390" y="10718"/>
                </a:cubicBezTo>
                <a:cubicBezTo>
                  <a:pt x="5581" y="10787"/>
                  <a:pt x="5302" y="10864"/>
                  <a:pt x="5290" y="10905"/>
                </a:cubicBezTo>
                <a:cubicBezTo>
                  <a:pt x="5166" y="10939"/>
                  <a:pt x="5297" y="10688"/>
                  <a:pt x="5272" y="10646"/>
                </a:cubicBezTo>
                <a:cubicBezTo>
                  <a:pt x="5255" y="10619"/>
                  <a:pt x="4940" y="10871"/>
                  <a:pt x="5029" y="10651"/>
                </a:cubicBezTo>
                <a:cubicBezTo>
                  <a:pt x="5047" y="10606"/>
                  <a:pt x="5016" y="10683"/>
                  <a:pt x="5029" y="10651"/>
                </a:cubicBezTo>
                <a:close/>
                <a:moveTo>
                  <a:pt x="19919" y="20951"/>
                </a:moveTo>
                <a:cubicBezTo>
                  <a:pt x="19993" y="20920"/>
                  <a:pt x="20069" y="20888"/>
                  <a:pt x="20137" y="20844"/>
                </a:cubicBezTo>
                <a:cubicBezTo>
                  <a:pt x="20138" y="20843"/>
                  <a:pt x="19724" y="21347"/>
                  <a:pt x="19988" y="21347"/>
                </a:cubicBezTo>
                <a:cubicBezTo>
                  <a:pt x="19707" y="21325"/>
                  <a:pt x="19367" y="21489"/>
                  <a:pt x="19252" y="21103"/>
                </a:cubicBezTo>
                <a:cubicBezTo>
                  <a:pt x="19317" y="21150"/>
                  <a:pt x="19413" y="21101"/>
                  <a:pt x="19487" y="21094"/>
                </a:cubicBezTo>
                <a:cubicBezTo>
                  <a:pt x="19505" y="21064"/>
                  <a:pt x="19515" y="21012"/>
                  <a:pt x="19515" y="20976"/>
                </a:cubicBezTo>
                <a:cubicBezTo>
                  <a:pt x="19659" y="20995"/>
                  <a:pt x="19780" y="21008"/>
                  <a:pt x="19919" y="20951"/>
                </a:cubicBezTo>
                <a:cubicBezTo>
                  <a:pt x="19993" y="20920"/>
                  <a:pt x="19780" y="21008"/>
                  <a:pt x="19919" y="20951"/>
                </a:cubicBezTo>
                <a:close/>
                <a:moveTo>
                  <a:pt x="3448" y="12512"/>
                </a:moveTo>
                <a:lnTo>
                  <a:pt x="3439" y="12467"/>
                </a:lnTo>
                <a:cubicBezTo>
                  <a:pt x="3441" y="12484"/>
                  <a:pt x="3910" y="11973"/>
                  <a:pt x="3927" y="11961"/>
                </a:cubicBezTo>
                <a:cubicBezTo>
                  <a:pt x="3801" y="11949"/>
                  <a:pt x="3649" y="11911"/>
                  <a:pt x="3652" y="11769"/>
                </a:cubicBezTo>
                <a:lnTo>
                  <a:pt x="3653" y="11732"/>
                </a:lnTo>
                <a:cubicBezTo>
                  <a:pt x="3638" y="11187"/>
                  <a:pt x="4036" y="11537"/>
                  <a:pt x="4296" y="11292"/>
                </a:cubicBezTo>
                <a:cubicBezTo>
                  <a:pt x="4019" y="11229"/>
                  <a:pt x="4821" y="10776"/>
                  <a:pt x="5082" y="10841"/>
                </a:cubicBezTo>
                <a:cubicBezTo>
                  <a:pt x="5103" y="10873"/>
                  <a:pt x="5214" y="11022"/>
                  <a:pt x="5230" y="11072"/>
                </a:cubicBezTo>
                <a:cubicBezTo>
                  <a:pt x="5337" y="11212"/>
                  <a:pt x="5329" y="11337"/>
                  <a:pt x="5207" y="11445"/>
                </a:cubicBezTo>
                <a:cubicBezTo>
                  <a:pt x="4948" y="11696"/>
                  <a:pt x="5225" y="11803"/>
                  <a:pt x="5096" y="12165"/>
                </a:cubicBezTo>
                <a:cubicBezTo>
                  <a:pt x="4944" y="12594"/>
                  <a:pt x="3961" y="12830"/>
                  <a:pt x="3623" y="12797"/>
                </a:cubicBezTo>
                <a:lnTo>
                  <a:pt x="3629" y="12759"/>
                </a:lnTo>
                <a:cubicBezTo>
                  <a:pt x="3593" y="12765"/>
                  <a:pt x="3565" y="12764"/>
                  <a:pt x="3528" y="12766"/>
                </a:cubicBezTo>
                <a:cubicBezTo>
                  <a:pt x="3509" y="12734"/>
                  <a:pt x="3505" y="12702"/>
                  <a:pt x="3523" y="12678"/>
                </a:cubicBezTo>
                <a:cubicBezTo>
                  <a:pt x="3435" y="12635"/>
                  <a:pt x="3431" y="12581"/>
                  <a:pt x="3510" y="12516"/>
                </a:cubicBezTo>
                <a:cubicBezTo>
                  <a:pt x="3502" y="12515"/>
                  <a:pt x="3448" y="12512"/>
                  <a:pt x="3448" y="12512"/>
                </a:cubicBezTo>
                <a:cubicBezTo>
                  <a:pt x="3448" y="12512"/>
                  <a:pt x="3448" y="12512"/>
                  <a:pt x="3448" y="12512"/>
                </a:cubicBezTo>
                <a:close/>
                <a:moveTo>
                  <a:pt x="11104" y="9151"/>
                </a:moveTo>
                <a:cubicBezTo>
                  <a:pt x="11102" y="9148"/>
                  <a:pt x="11098" y="9146"/>
                  <a:pt x="11094" y="9143"/>
                </a:cubicBezTo>
                <a:cubicBezTo>
                  <a:pt x="11097" y="9141"/>
                  <a:pt x="11101" y="9138"/>
                  <a:pt x="11105" y="9135"/>
                </a:cubicBezTo>
                <a:cubicBezTo>
                  <a:pt x="11105" y="9140"/>
                  <a:pt x="11105" y="9147"/>
                  <a:pt x="11104" y="9151"/>
                </a:cubicBezTo>
                <a:cubicBezTo>
                  <a:pt x="11102" y="9148"/>
                  <a:pt x="11105" y="9147"/>
                  <a:pt x="11104" y="9151"/>
                </a:cubicBezTo>
                <a:close/>
                <a:moveTo>
                  <a:pt x="21399" y="14198"/>
                </a:moveTo>
                <a:cubicBezTo>
                  <a:pt x="21409" y="14173"/>
                  <a:pt x="21499" y="14149"/>
                  <a:pt x="21520" y="14142"/>
                </a:cubicBezTo>
                <a:lnTo>
                  <a:pt x="21423" y="14087"/>
                </a:lnTo>
                <a:cubicBezTo>
                  <a:pt x="21320" y="14027"/>
                  <a:pt x="21586" y="13723"/>
                  <a:pt x="21296" y="13692"/>
                </a:cubicBezTo>
                <a:cubicBezTo>
                  <a:pt x="21112" y="13672"/>
                  <a:pt x="20805" y="13386"/>
                  <a:pt x="20627" y="13557"/>
                </a:cubicBezTo>
                <a:cubicBezTo>
                  <a:pt x="20375" y="13291"/>
                  <a:pt x="20136" y="13280"/>
                  <a:pt x="19764" y="13317"/>
                </a:cubicBezTo>
                <a:cubicBezTo>
                  <a:pt x="19859" y="13317"/>
                  <a:pt x="19308" y="12896"/>
                  <a:pt x="19323" y="12913"/>
                </a:cubicBezTo>
                <a:cubicBezTo>
                  <a:pt x="19229" y="12913"/>
                  <a:pt x="19162" y="12594"/>
                  <a:pt x="19105" y="12495"/>
                </a:cubicBezTo>
                <a:cubicBezTo>
                  <a:pt x="18878" y="12097"/>
                  <a:pt x="18551" y="12640"/>
                  <a:pt x="18342" y="12454"/>
                </a:cubicBezTo>
                <a:cubicBezTo>
                  <a:pt x="18213" y="12393"/>
                  <a:pt x="18189" y="12168"/>
                  <a:pt x="18086" y="12043"/>
                </a:cubicBezTo>
                <a:cubicBezTo>
                  <a:pt x="18386" y="11994"/>
                  <a:pt x="18733" y="11639"/>
                  <a:pt x="18199" y="11620"/>
                </a:cubicBezTo>
                <a:cubicBezTo>
                  <a:pt x="18172" y="11530"/>
                  <a:pt x="17896" y="11200"/>
                  <a:pt x="17799" y="11143"/>
                </a:cubicBezTo>
                <a:cubicBezTo>
                  <a:pt x="17967" y="10775"/>
                  <a:pt x="17329" y="10571"/>
                  <a:pt x="17149" y="10533"/>
                </a:cubicBezTo>
                <a:cubicBezTo>
                  <a:pt x="16689" y="10533"/>
                  <a:pt x="16796" y="10101"/>
                  <a:pt x="16546" y="9833"/>
                </a:cubicBezTo>
                <a:cubicBezTo>
                  <a:pt x="16590" y="9843"/>
                  <a:pt x="16633" y="9860"/>
                  <a:pt x="16674" y="9878"/>
                </a:cubicBezTo>
                <a:lnTo>
                  <a:pt x="16626" y="9776"/>
                </a:lnTo>
                <a:cubicBezTo>
                  <a:pt x="16769" y="9536"/>
                  <a:pt x="16634" y="9167"/>
                  <a:pt x="16725" y="8824"/>
                </a:cubicBezTo>
                <a:cubicBezTo>
                  <a:pt x="16306" y="8876"/>
                  <a:pt x="15803" y="8638"/>
                  <a:pt x="15397" y="8843"/>
                </a:cubicBezTo>
                <a:cubicBezTo>
                  <a:pt x="14990" y="9046"/>
                  <a:pt x="15218" y="9655"/>
                  <a:pt x="15490" y="9475"/>
                </a:cubicBezTo>
                <a:cubicBezTo>
                  <a:pt x="15446" y="9559"/>
                  <a:pt x="15400" y="9612"/>
                  <a:pt x="15302" y="9624"/>
                </a:cubicBezTo>
                <a:cubicBezTo>
                  <a:pt x="15527" y="10138"/>
                  <a:pt x="15043" y="10023"/>
                  <a:pt x="14840" y="9709"/>
                </a:cubicBezTo>
                <a:lnTo>
                  <a:pt x="14842" y="9700"/>
                </a:lnTo>
                <a:cubicBezTo>
                  <a:pt x="14833" y="9734"/>
                  <a:pt x="14822" y="9767"/>
                  <a:pt x="14810" y="9799"/>
                </a:cubicBezTo>
                <a:cubicBezTo>
                  <a:pt x="14723" y="9791"/>
                  <a:pt x="14635" y="9776"/>
                  <a:pt x="14548" y="9751"/>
                </a:cubicBezTo>
                <a:cubicBezTo>
                  <a:pt x="14418" y="9770"/>
                  <a:pt x="14357" y="9921"/>
                  <a:pt x="14366" y="10048"/>
                </a:cubicBezTo>
                <a:lnTo>
                  <a:pt x="14272" y="10101"/>
                </a:lnTo>
                <a:cubicBezTo>
                  <a:pt x="14229" y="10390"/>
                  <a:pt x="14291" y="10708"/>
                  <a:pt x="14374" y="10979"/>
                </a:cubicBezTo>
                <a:cubicBezTo>
                  <a:pt x="14374" y="10980"/>
                  <a:pt x="14706" y="11039"/>
                  <a:pt x="14271" y="10982"/>
                </a:cubicBezTo>
                <a:cubicBezTo>
                  <a:pt x="14155" y="10964"/>
                  <a:pt x="14030" y="11072"/>
                  <a:pt x="14168" y="11177"/>
                </a:cubicBezTo>
                <a:cubicBezTo>
                  <a:pt x="14151" y="11181"/>
                  <a:pt x="14133" y="11186"/>
                  <a:pt x="14115" y="11190"/>
                </a:cubicBezTo>
                <a:cubicBezTo>
                  <a:pt x="14118" y="11235"/>
                  <a:pt x="14112" y="11279"/>
                  <a:pt x="14095" y="11321"/>
                </a:cubicBezTo>
                <a:cubicBezTo>
                  <a:pt x="14319" y="11407"/>
                  <a:pt x="14597" y="11381"/>
                  <a:pt x="14839" y="11383"/>
                </a:cubicBezTo>
                <a:lnTo>
                  <a:pt x="14792" y="11431"/>
                </a:lnTo>
                <a:cubicBezTo>
                  <a:pt x="14873" y="11397"/>
                  <a:pt x="15020" y="11368"/>
                  <a:pt x="15097" y="11423"/>
                </a:cubicBezTo>
                <a:cubicBezTo>
                  <a:pt x="14771" y="11469"/>
                  <a:pt x="14345" y="11485"/>
                  <a:pt x="14023" y="11419"/>
                </a:cubicBezTo>
                <a:cubicBezTo>
                  <a:pt x="13755" y="11424"/>
                  <a:pt x="13655" y="11208"/>
                  <a:pt x="13442" y="11208"/>
                </a:cubicBezTo>
                <a:cubicBezTo>
                  <a:pt x="13013" y="11208"/>
                  <a:pt x="12497" y="11570"/>
                  <a:pt x="12077" y="11683"/>
                </a:cubicBezTo>
                <a:cubicBezTo>
                  <a:pt x="12021" y="11598"/>
                  <a:pt x="11938" y="11539"/>
                  <a:pt x="11850" y="11498"/>
                </a:cubicBezTo>
                <a:cubicBezTo>
                  <a:pt x="11906" y="11380"/>
                  <a:pt x="11866" y="11334"/>
                  <a:pt x="11769" y="11310"/>
                </a:cubicBezTo>
                <a:lnTo>
                  <a:pt x="11748" y="11359"/>
                </a:lnTo>
                <a:cubicBezTo>
                  <a:pt x="11689" y="11359"/>
                  <a:pt x="11635" y="11383"/>
                  <a:pt x="11585" y="11434"/>
                </a:cubicBezTo>
                <a:cubicBezTo>
                  <a:pt x="11468" y="11434"/>
                  <a:pt x="11068" y="11450"/>
                  <a:pt x="10966" y="11574"/>
                </a:cubicBezTo>
                <a:cubicBezTo>
                  <a:pt x="11003" y="11493"/>
                  <a:pt x="11068" y="11431"/>
                  <a:pt x="11053" y="11329"/>
                </a:cubicBezTo>
                <a:cubicBezTo>
                  <a:pt x="11360" y="11511"/>
                  <a:pt x="11588" y="10834"/>
                  <a:pt x="11473" y="10674"/>
                </a:cubicBezTo>
                <a:cubicBezTo>
                  <a:pt x="11548" y="11455"/>
                  <a:pt x="12215" y="10595"/>
                  <a:pt x="12459" y="10590"/>
                </a:cubicBezTo>
                <a:cubicBezTo>
                  <a:pt x="12794" y="10584"/>
                  <a:pt x="12838" y="10062"/>
                  <a:pt x="12863" y="9783"/>
                </a:cubicBezTo>
                <a:cubicBezTo>
                  <a:pt x="12881" y="9580"/>
                  <a:pt x="13458" y="9031"/>
                  <a:pt x="13427" y="8990"/>
                </a:cubicBezTo>
                <a:cubicBezTo>
                  <a:pt x="13815" y="8727"/>
                  <a:pt x="12477" y="8225"/>
                  <a:pt x="13133" y="7551"/>
                </a:cubicBezTo>
                <a:cubicBezTo>
                  <a:pt x="13342" y="7340"/>
                  <a:pt x="13527" y="7230"/>
                  <a:pt x="13796" y="7110"/>
                </a:cubicBezTo>
                <a:cubicBezTo>
                  <a:pt x="13875" y="7074"/>
                  <a:pt x="14210" y="6821"/>
                  <a:pt x="14230" y="6703"/>
                </a:cubicBezTo>
                <a:cubicBezTo>
                  <a:pt x="14239" y="6653"/>
                  <a:pt x="14134" y="6487"/>
                  <a:pt x="14081" y="6528"/>
                </a:cubicBezTo>
                <a:cubicBezTo>
                  <a:pt x="14339" y="5989"/>
                  <a:pt x="15221" y="5978"/>
                  <a:pt x="15459" y="6484"/>
                </a:cubicBezTo>
                <a:cubicBezTo>
                  <a:pt x="15284" y="6479"/>
                  <a:pt x="14555" y="7035"/>
                  <a:pt x="14534" y="7238"/>
                </a:cubicBezTo>
                <a:cubicBezTo>
                  <a:pt x="14055" y="7196"/>
                  <a:pt x="14378" y="8563"/>
                  <a:pt x="14576" y="8615"/>
                </a:cubicBezTo>
                <a:cubicBezTo>
                  <a:pt x="14918" y="8705"/>
                  <a:pt x="14912" y="8954"/>
                  <a:pt x="15299" y="8832"/>
                </a:cubicBezTo>
                <a:cubicBezTo>
                  <a:pt x="16051" y="8597"/>
                  <a:pt x="16518" y="8623"/>
                  <a:pt x="17126" y="8089"/>
                </a:cubicBezTo>
                <a:cubicBezTo>
                  <a:pt x="17989" y="7332"/>
                  <a:pt x="17131" y="7189"/>
                  <a:pt x="16960" y="6564"/>
                </a:cubicBezTo>
                <a:cubicBezTo>
                  <a:pt x="16891" y="6310"/>
                  <a:pt x="16962" y="6056"/>
                  <a:pt x="16770" y="5802"/>
                </a:cubicBezTo>
                <a:cubicBezTo>
                  <a:pt x="16593" y="5570"/>
                  <a:pt x="16691" y="5715"/>
                  <a:pt x="16751" y="5394"/>
                </a:cubicBezTo>
                <a:cubicBezTo>
                  <a:pt x="16807" y="5092"/>
                  <a:pt x="16443" y="5099"/>
                  <a:pt x="16319" y="4938"/>
                </a:cubicBezTo>
                <a:cubicBezTo>
                  <a:pt x="16366" y="4885"/>
                  <a:pt x="16402" y="4805"/>
                  <a:pt x="16433" y="4739"/>
                </a:cubicBezTo>
                <a:cubicBezTo>
                  <a:pt x="16397" y="4728"/>
                  <a:pt x="16370" y="4705"/>
                  <a:pt x="16352" y="4670"/>
                </a:cubicBezTo>
                <a:cubicBezTo>
                  <a:pt x="16486" y="4552"/>
                  <a:pt x="16817" y="4457"/>
                  <a:pt x="16817" y="4297"/>
                </a:cubicBezTo>
                <a:lnTo>
                  <a:pt x="16777" y="4292"/>
                </a:lnTo>
                <a:lnTo>
                  <a:pt x="16781" y="4239"/>
                </a:lnTo>
                <a:cubicBezTo>
                  <a:pt x="16681" y="4213"/>
                  <a:pt x="16582" y="4186"/>
                  <a:pt x="16483" y="4156"/>
                </a:cubicBezTo>
                <a:cubicBezTo>
                  <a:pt x="16600" y="4125"/>
                  <a:pt x="16712" y="4098"/>
                  <a:pt x="16819" y="4044"/>
                </a:cubicBezTo>
                <a:lnTo>
                  <a:pt x="16812" y="4008"/>
                </a:lnTo>
                <a:cubicBezTo>
                  <a:pt x="16788" y="3879"/>
                  <a:pt x="16102" y="3767"/>
                  <a:pt x="16024" y="3831"/>
                </a:cubicBezTo>
                <a:cubicBezTo>
                  <a:pt x="16035" y="3485"/>
                  <a:pt x="15559" y="3828"/>
                  <a:pt x="15481" y="3933"/>
                </a:cubicBezTo>
                <a:cubicBezTo>
                  <a:pt x="15481" y="3810"/>
                  <a:pt x="15465" y="3728"/>
                  <a:pt x="15353" y="3712"/>
                </a:cubicBezTo>
                <a:cubicBezTo>
                  <a:pt x="15350" y="3712"/>
                  <a:pt x="15455" y="3766"/>
                  <a:pt x="15313" y="3766"/>
                </a:cubicBezTo>
                <a:lnTo>
                  <a:pt x="15313" y="3708"/>
                </a:lnTo>
                <a:cubicBezTo>
                  <a:pt x="14920" y="3686"/>
                  <a:pt x="14462" y="3793"/>
                  <a:pt x="14080" y="3879"/>
                </a:cubicBezTo>
                <a:lnTo>
                  <a:pt x="14055" y="3979"/>
                </a:lnTo>
                <a:cubicBezTo>
                  <a:pt x="14083" y="3996"/>
                  <a:pt x="14112" y="4012"/>
                  <a:pt x="14141" y="4027"/>
                </a:cubicBezTo>
                <a:cubicBezTo>
                  <a:pt x="14126" y="4044"/>
                  <a:pt x="13707" y="4059"/>
                  <a:pt x="13848" y="4178"/>
                </a:cubicBezTo>
                <a:cubicBezTo>
                  <a:pt x="13839" y="4188"/>
                  <a:pt x="13730" y="4250"/>
                  <a:pt x="13705" y="4250"/>
                </a:cubicBezTo>
                <a:cubicBezTo>
                  <a:pt x="13546" y="4221"/>
                  <a:pt x="13373" y="4049"/>
                  <a:pt x="13215" y="4159"/>
                </a:cubicBezTo>
                <a:cubicBezTo>
                  <a:pt x="13149" y="4204"/>
                  <a:pt x="12175" y="4604"/>
                  <a:pt x="12746" y="4666"/>
                </a:cubicBezTo>
                <a:cubicBezTo>
                  <a:pt x="12622" y="4865"/>
                  <a:pt x="12457" y="4653"/>
                  <a:pt x="12460" y="4524"/>
                </a:cubicBezTo>
                <a:cubicBezTo>
                  <a:pt x="12221" y="4504"/>
                  <a:pt x="11580" y="4848"/>
                  <a:pt x="11551" y="5086"/>
                </a:cubicBezTo>
                <a:cubicBezTo>
                  <a:pt x="11780" y="5070"/>
                  <a:pt x="12010" y="5019"/>
                  <a:pt x="12238" y="4987"/>
                </a:cubicBezTo>
                <a:cubicBezTo>
                  <a:pt x="11896" y="5054"/>
                  <a:pt x="11014" y="6216"/>
                  <a:pt x="10964" y="6583"/>
                </a:cubicBezTo>
                <a:cubicBezTo>
                  <a:pt x="10736" y="6624"/>
                  <a:pt x="10558" y="6970"/>
                  <a:pt x="10381" y="6977"/>
                </a:cubicBezTo>
                <a:cubicBezTo>
                  <a:pt x="10180" y="6977"/>
                  <a:pt x="10128" y="6767"/>
                  <a:pt x="10029" y="7058"/>
                </a:cubicBezTo>
                <a:cubicBezTo>
                  <a:pt x="9982" y="7191"/>
                  <a:pt x="9499" y="7414"/>
                  <a:pt x="9402" y="7408"/>
                </a:cubicBezTo>
                <a:cubicBezTo>
                  <a:pt x="9414" y="7463"/>
                  <a:pt x="9398" y="7484"/>
                  <a:pt x="9354" y="7470"/>
                </a:cubicBezTo>
                <a:cubicBezTo>
                  <a:pt x="9353" y="7486"/>
                  <a:pt x="9333" y="7546"/>
                  <a:pt x="9329" y="7554"/>
                </a:cubicBezTo>
                <a:cubicBezTo>
                  <a:pt x="9181" y="7675"/>
                  <a:pt x="8893" y="7604"/>
                  <a:pt x="8949" y="7955"/>
                </a:cubicBezTo>
                <a:cubicBezTo>
                  <a:pt x="8986" y="8192"/>
                  <a:pt x="8876" y="8784"/>
                  <a:pt x="8991" y="8987"/>
                </a:cubicBezTo>
                <a:cubicBezTo>
                  <a:pt x="9205" y="9365"/>
                  <a:pt x="9340" y="9782"/>
                  <a:pt x="9892" y="9648"/>
                </a:cubicBezTo>
                <a:cubicBezTo>
                  <a:pt x="10114" y="9595"/>
                  <a:pt x="10749" y="9192"/>
                  <a:pt x="10777" y="8955"/>
                </a:cubicBezTo>
                <a:cubicBezTo>
                  <a:pt x="10817" y="9053"/>
                  <a:pt x="10800" y="9070"/>
                  <a:pt x="10918" y="9140"/>
                </a:cubicBezTo>
                <a:cubicBezTo>
                  <a:pt x="10889" y="9162"/>
                  <a:pt x="10862" y="9182"/>
                  <a:pt x="10829" y="9197"/>
                </a:cubicBezTo>
                <a:cubicBezTo>
                  <a:pt x="11004" y="9640"/>
                  <a:pt x="11181" y="10022"/>
                  <a:pt x="11497" y="10369"/>
                </a:cubicBezTo>
                <a:cubicBezTo>
                  <a:pt x="11390" y="10425"/>
                  <a:pt x="11363" y="10548"/>
                  <a:pt x="11450" y="10649"/>
                </a:cubicBezTo>
                <a:cubicBezTo>
                  <a:pt x="11391" y="10614"/>
                  <a:pt x="11149" y="10769"/>
                  <a:pt x="11098" y="10800"/>
                </a:cubicBezTo>
                <a:cubicBezTo>
                  <a:pt x="10812" y="10969"/>
                  <a:pt x="11257" y="11023"/>
                  <a:pt x="11209" y="11174"/>
                </a:cubicBezTo>
                <a:cubicBezTo>
                  <a:pt x="11154" y="11353"/>
                  <a:pt x="10994" y="11044"/>
                  <a:pt x="11012" y="11359"/>
                </a:cubicBezTo>
                <a:cubicBezTo>
                  <a:pt x="10937" y="11384"/>
                  <a:pt x="10752" y="11439"/>
                  <a:pt x="10683" y="11373"/>
                </a:cubicBezTo>
                <a:cubicBezTo>
                  <a:pt x="10699" y="11309"/>
                  <a:pt x="10743" y="11117"/>
                  <a:pt x="10714" y="11059"/>
                </a:cubicBezTo>
                <a:cubicBezTo>
                  <a:pt x="10772" y="11086"/>
                  <a:pt x="10965" y="11220"/>
                  <a:pt x="10955" y="11230"/>
                </a:cubicBezTo>
                <a:cubicBezTo>
                  <a:pt x="11264" y="10919"/>
                  <a:pt x="10514" y="10683"/>
                  <a:pt x="10674" y="11018"/>
                </a:cubicBezTo>
                <a:cubicBezTo>
                  <a:pt x="10644" y="11008"/>
                  <a:pt x="10613" y="11003"/>
                  <a:pt x="10583" y="11001"/>
                </a:cubicBezTo>
                <a:cubicBezTo>
                  <a:pt x="10613" y="10960"/>
                  <a:pt x="10785" y="10573"/>
                  <a:pt x="10785" y="10566"/>
                </a:cubicBezTo>
                <a:cubicBezTo>
                  <a:pt x="10800" y="10576"/>
                  <a:pt x="10821" y="10590"/>
                  <a:pt x="10853" y="10592"/>
                </a:cubicBezTo>
                <a:cubicBezTo>
                  <a:pt x="10863" y="10592"/>
                  <a:pt x="10848" y="9927"/>
                  <a:pt x="10934" y="9698"/>
                </a:cubicBezTo>
                <a:cubicBezTo>
                  <a:pt x="10675" y="9764"/>
                  <a:pt x="10420" y="9916"/>
                  <a:pt x="10181" y="10042"/>
                </a:cubicBezTo>
                <a:cubicBezTo>
                  <a:pt x="9963" y="10157"/>
                  <a:pt x="9886" y="10826"/>
                  <a:pt x="10149" y="10909"/>
                </a:cubicBezTo>
                <a:cubicBezTo>
                  <a:pt x="10138" y="10964"/>
                  <a:pt x="10090" y="11008"/>
                  <a:pt x="10090" y="11067"/>
                </a:cubicBezTo>
                <a:cubicBezTo>
                  <a:pt x="10053" y="11050"/>
                  <a:pt x="10016" y="11033"/>
                  <a:pt x="9978" y="11019"/>
                </a:cubicBezTo>
                <a:cubicBezTo>
                  <a:pt x="10028" y="11079"/>
                  <a:pt x="10066" y="11359"/>
                  <a:pt x="10163" y="11359"/>
                </a:cubicBezTo>
                <a:cubicBezTo>
                  <a:pt x="10073" y="11359"/>
                  <a:pt x="10093" y="11378"/>
                  <a:pt x="10048" y="11394"/>
                </a:cubicBezTo>
                <a:cubicBezTo>
                  <a:pt x="10043" y="11379"/>
                  <a:pt x="10156" y="11600"/>
                  <a:pt x="10151" y="11616"/>
                </a:cubicBezTo>
                <a:cubicBezTo>
                  <a:pt x="10064" y="11619"/>
                  <a:pt x="9974" y="11681"/>
                  <a:pt x="10004" y="11789"/>
                </a:cubicBezTo>
                <a:cubicBezTo>
                  <a:pt x="9806" y="11773"/>
                  <a:pt x="8782" y="11721"/>
                  <a:pt x="9003" y="12226"/>
                </a:cubicBezTo>
                <a:cubicBezTo>
                  <a:pt x="8695" y="11907"/>
                  <a:pt x="8967" y="11872"/>
                  <a:pt x="8720" y="12293"/>
                </a:cubicBezTo>
                <a:cubicBezTo>
                  <a:pt x="8561" y="12563"/>
                  <a:pt x="8330" y="12770"/>
                  <a:pt x="8088" y="12915"/>
                </a:cubicBezTo>
                <a:lnTo>
                  <a:pt x="8082" y="12908"/>
                </a:lnTo>
                <a:cubicBezTo>
                  <a:pt x="7634" y="12869"/>
                  <a:pt x="7779" y="13179"/>
                  <a:pt x="7606" y="13396"/>
                </a:cubicBezTo>
                <a:cubicBezTo>
                  <a:pt x="7588" y="13419"/>
                  <a:pt x="7002" y="13803"/>
                  <a:pt x="7051" y="13801"/>
                </a:cubicBezTo>
                <a:cubicBezTo>
                  <a:pt x="6841" y="13801"/>
                  <a:pt x="6602" y="13612"/>
                  <a:pt x="6400" y="13559"/>
                </a:cubicBezTo>
                <a:cubicBezTo>
                  <a:pt x="6489" y="14164"/>
                  <a:pt x="6519" y="13881"/>
                  <a:pt x="6154" y="14145"/>
                </a:cubicBezTo>
                <a:cubicBezTo>
                  <a:pt x="5934" y="14026"/>
                  <a:pt x="5898" y="14077"/>
                  <a:pt x="5673" y="14077"/>
                </a:cubicBezTo>
                <a:cubicBezTo>
                  <a:pt x="5381" y="14162"/>
                  <a:pt x="5116" y="14590"/>
                  <a:pt x="5629" y="14617"/>
                </a:cubicBezTo>
                <a:cubicBezTo>
                  <a:pt x="5897" y="14801"/>
                  <a:pt x="6092" y="14655"/>
                  <a:pt x="6255" y="15020"/>
                </a:cubicBezTo>
                <a:cubicBezTo>
                  <a:pt x="6320" y="15168"/>
                  <a:pt x="6390" y="15262"/>
                  <a:pt x="6508" y="15350"/>
                </a:cubicBezTo>
                <a:cubicBezTo>
                  <a:pt x="6728" y="15390"/>
                  <a:pt x="6465" y="16646"/>
                  <a:pt x="6350" y="16730"/>
                </a:cubicBezTo>
                <a:cubicBezTo>
                  <a:pt x="6365" y="16739"/>
                  <a:pt x="5826" y="16663"/>
                  <a:pt x="5785" y="16667"/>
                </a:cubicBezTo>
                <a:cubicBezTo>
                  <a:pt x="5650" y="16689"/>
                  <a:pt x="5391" y="16822"/>
                  <a:pt x="5281" y="16822"/>
                </a:cubicBezTo>
                <a:cubicBezTo>
                  <a:pt x="5108" y="16822"/>
                  <a:pt x="3913" y="16170"/>
                  <a:pt x="3821" y="16687"/>
                </a:cubicBezTo>
                <a:cubicBezTo>
                  <a:pt x="3737" y="16815"/>
                  <a:pt x="3377" y="16827"/>
                  <a:pt x="3449" y="17021"/>
                </a:cubicBezTo>
                <a:cubicBezTo>
                  <a:pt x="3530" y="17238"/>
                  <a:pt x="3616" y="17337"/>
                  <a:pt x="3535" y="17599"/>
                </a:cubicBezTo>
                <a:cubicBezTo>
                  <a:pt x="3600" y="17542"/>
                  <a:pt x="3710" y="17444"/>
                  <a:pt x="3784" y="17425"/>
                </a:cubicBezTo>
                <a:cubicBezTo>
                  <a:pt x="3784" y="17437"/>
                  <a:pt x="3787" y="17450"/>
                  <a:pt x="3789" y="17462"/>
                </a:cubicBezTo>
                <a:cubicBezTo>
                  <a:pt x="3726" y="17490"/>
                  <a:pt x="3651" y="17551"/>
                  <a:pt x="3593" y="17601"/>
                </a:cubicBezTo>
                <a:cubicBezTo>
                  <a:pt x="3653" y="18066"/>
                  <a:pt x="3066" y="19278"/>
                  <a:pt x="3496" y="19389"/>
                </a:cubicBezTo>
                <a:cubicBezTo>
                  <a:pt x="3578" y="19503"/>
                  <a:pt x="3431" y="20005"/>
                  <a:pt x="3411" y="20118"/>
                </a:cubicBezTo>
                <a:cubicBezTo>
                  <a:pt x="3635" y="20121"/>
                  <a:pt x="3877" y="20136"/>
                  <a:pt x="4087" y="20055"/>
                </a:cubicBezTo>
                <a:cubicBezTo>
                  <a:pt x="4100" y="20019"/>
                  <a:pt x="4106" y="19981"/>
                  <a:pt x="4104" y="19942"/>
                </a:cubicBezTo>
                <a:cubicBezTo>
                  <a:pt x="4297" y="19997"/>
                  <a:pt x="4530" y="20799"/>
                  <a:pt x="4764" y="20513"/>
                </a:cubicBezTo>
                <a:cubicBezTo>
                  <a:pt x="4977" y="20254"/>
                  <a:pt x="5179" y="20132"/>
                  <a:pt x="5537" y="20162"/>
                </a:cubicBezTo>
                <a:cubicBezTo>
                  <a:pt x="5614" y="20158"/>
                  <a:pt x="5904" y="20197"/>
                  <a:pt x="5920" y="20206"/>
                </a:cubicBezTo>
                <a:cubicBezTo>
                  <a:pt x="6029" y="20263"/>
                  <a:pt x="6288" y="19747"/>
                  <a:pt x="6500" y="19720"/>
                </a:cubicBezTo>
                <a:cubicBezTo>
                  <a:pt x="6516" y="19542"/>
                  <a:pt x="6994" y="19064"/>
                  <a:pt x="6943" y="19014"/>
                </a:cubicBezTo>
                <a:cubicBezTo>
                  <a:pt x="6523" y="18603"/>
                  <a:pt x="7185" y="18457"/>
                  <a:pt x="7212" y="18069"/>
                </a:cubicBezTo>
                <a:cubicBezTo>
                  <a:pt x="7226" y="17872"/>
                  <a:pt x="8104" y="17676"/>
                  <a:pt x="8191" y="17252"/>
                </a:cubicBezTo>
                <a:cubicBezTo>
                  <a:pt x="7967" y="16762"/>
                  <a:pt x="8592" y="16828"/>
                  <a:pt x="8806" y="16828"/>
                </a:cubicBezTo>
                <a:cubicBezTo>
                  <a:pt x="9295" y="16828"/>
                  <a:pt x="9284" y="17028"/>
                  <a:pt x="9719" y="16681"/>
                </a:cubicBezTo>
                <a:cubicBezTo>
                  <a:pt x="10053" y="16798"/>
                  <a:pt x="10062" y="16395"/>
                  <a:pt x="10290" y="16395"/>
                </a:cubicBezTo>
                <a:cubicBezTo>
                  <a:pt x="10831" y="16420"/>
                  <a:pt x="10690" y="16988"/>
                  <a:pt x="11024" y="17234"/>
                </a:cubicBezTo>
                <a:cubicBezTo>
                  <a:pt x="11260" y="17408"/>
                  <a:pt x="11458" y="17785"/>
                  <a:pt x="11701" y="17900"/>
                </a:cubicBezTo>
                <a:cubicBezTo>
                  <a:pt x="11758" y="17927"/>
                  <a:pt x="12171" y="18115"/>
                  <a:pt x="12175" y="18125"/>
                </a:cubicBezTo>
                <a:cubicBezTo>
                  <a:pt x="12200" y="18189"/>
                  <a:pt x="12697" y="18605"/>
                  <a:pt x="12766" y="18619"/>
                </a:cubicBezTo>
                <a:cubicBezTo>
                  <a:pt x="12961" y="18658"/>
                  <a:pt x="13173" y="19418"/>
                  <a:pt x="12855" y="19436"/>
                </a:cubicBezTo>
                <a:cubicBezTo>
                  <a:pt x="12711" y="19427"/>
                  <a:pt x="12614" y="19631"/>
                  <a:pt x="12536" y="19631"/>
                </a:cubicBezTo>
                <a:cubicBezTo>
                  <a:pt x="12338" y="19631"/>
                  <a:pt x="11750" y="19355"/>
                  <a:pt x="11649" y="19598"/>
                </a:cubicBezTo>
                <a:cubicBezTo>
                  <a:pt x="11548" y="19838"/>
                  <a:pt x="12500" y="20365"/>
                  <a:pt x="12643" y="20365"/>
                </a:cubicBezTo>
                <a:cubicBezTo>
                  <a:pt x="12872" y="20365"/>
                  <a:pt x="12768" y="19773"/>
                  <a:pt x="12861" y="19652"/>
                </a:cubicBezTo>
                <a:cubicBezTo>
                  <a:pt x="12937" y="19784"/>
                  <a:pt x="13907" y="18987"/>
                  <a:pt x="13268" y="18723"/>
                </a:cubicBezTo>
                <a:cubicBezTo>
                  <a:pt x="13262" y="18582"/>
                  <a:pt x="13314" y="18477"/>
                  <a:pt x="13424" y="18409"/>
                </a:cubicBezTo>
                <a:cubicBezTo>
                  <a:pt x="13567" y="18409"/>
                  <a:pt x="13727" y="18623"/>
                  <a:pt x="13787" y="18743"/>
                </a:cubicBezTo>
                <a:cubicBezTo>
                  <a:pt x="14586" y="18482"/>
                  <a:pt x="13011" y="17868"/>
                  <a:pt x="13024" y="17811"/>
                </a:cubicBezTo>
                <a:cubicBezTo>
                  <a:pt x="13147" y="17540"/>
                  <a:pt x="12981" y="17586"/>
                  <a:pt x="12787" y="17586"/>
                </a:cubicBezTo>
                <a:cubicBezTo>
                  <a:pt x="12361" y="17586"/>
                  <a:pt x="12347" y="17113"/>
                  <a:pt x="12152" y="16852"/>
                </a:cubicBezTo>
                <a:cubicBezTo>
                  <a:pt x="11986" y="16631"/>
                  <a:pt x="11693" y="16567"/>
                  <a:pt x="11625" y="16266"/>
                </a:cubicBezTo>
                <a:cubicBezTo>
                  <a:pt x="11495" y="15947"/>
                  <a:pt x="11716" y="15939"/>
                  <a:pt x="11865" y="15798"/>
                </a:cubicBezTo>
                <a:cubicBezTo>
                  <a:pt x="11841" y="15934"/>
                  <a:pt x="11936" y="16125"/>
                  <a:pt x="12008" y="16225"/>
                </a:cubicBezTo>
                <a:cubicBezTo>
                  <a:pt x="12087" y="16161"/>
                  <a:pt x="12165" y="16158"/>
                  <a:pt x="12238" y="16230"/>
                </a:cubicBezTo>
                <a:cubicBezTo>
                  <a:pt x="12254" y="16203"/>
                  <a:pt x="12301" y="16084"/>
                  <a:pt x="12329" y="16084"/>
                </a:cubicBezTo>
                <a:cubicBezTo>
                  <a:pt x="12326" y="16084"/>
                  <a:pt x="12736" y="16816"/>
                  <a:pt x="12978" y="16874"/>
                </a:cubicBezTo>
                <a:cubicBezTo>
                  <a:pt x="13227" y="16935"/>
                  <a:pt x="13439" y="17177"/>
                  <a:pt x="13668" y="17310"/>
                </a:cubicBezTo>
                <a:lnTo>
                  <a:pt x="13669" y="17307"/>
                </a:lnTo>
                <a:cubicBezTo>
                  <a:pt x="13733" y="17355"/>
                  <a:pt x="13798" y="17400"/>
                  <a:pt x="13864" y="17445"/>
                </a:cubicBezTo>
                <a:cubicBezTo>
                  <a:pt x="13864" y="17445"/>
                  <a:pt x="13884" y="17398"/>
                  <a:pt x="13900" y="17364"/>
                </a:cubicBezTo>
                <a:cubicBezTo>
                  <a:pt x="13996" y="17452"/>
                  <a:pt x="14062" y="17548"/>
                  <a:pt x="14179" y="17579"/>
                </a:cubicBezTo>
                <a:cubicBezTo>
                  <a:pt x="14188" y="18042"/>
                  <a:pt x="14082" y="18142"/>
                  <a:pt x="14348" y="18508"/>
                </a:cubicBezTo>
                <a:cubicBezTo>
                  <a:pt x="14118" y="18572"/>
                  <a:pt x="14350" y="18860"/>
                  <a:pt x="14440" y="18766"/>
                </a:cubicBezTo>
                <a:cubicBezTo>
                  <a:pt x="14548" y="18912"/>
                  <a:pt x="14606" y="19070"/>
                  <a:pt x="14601" y="19267"/>
                </a:cubicBezTo>
                <a:cubicBezTo>
                  <a:pt x="14744" y="19281"/>
                  <a:pt x="14884" y="19339"/>
                  <a:pt x="15005" y="19427"/>
                </a:cubicBezTo>
                <a:cubicBezTo>
                  <a:pt x="14917" y="19488"/>
                  <a:pt x="14848" y="19566"/>
                  <a:pt x="14799" y="19661"/>
                </a:cubicBezTo>
                <a:cubicBezTo>
                  <a:pt x="15088" y="19884"/>
                  <a:pt x="14876" y="20093"/>
                  <a:pt x="15189" y="20301"/>
                </a:cubicBezTo>
                <a:cubicBezTo>
                  <a:pt x="15191" y="20250"/>
                  <a:pt x="15226" y="20114"/>
                  <a:pt x="15288" y="20127"/>
                </a:cubicBezTo>
                <a:cubicBezTo>
                  <a:pt x="15355" y="20187"/>
                  <a:pt x="15355" y="20379"/>
                  <a:pt x="15421" y="20470"/>
                </a:cubicBezTo>
                <a:cubicBezTo>
                  <a:pt x="15434" y="20425"/>
                  <a:pt x="15471" y="20268"/>
                  <a:pt x="15516" y="20268"/>
                </a:cubicBezTo>
                <a:cubicBezTo>
                  <a:pt x="15547" y="20268"/>
                  <a:pt x="15717" y="20454"/>
                  <a:pt x="15743" y="20497"/>
                </a:cubicBezTo>
                <a:cubicBezTo>
                  <a:pt x="15738" y="20305"/>
                  <a:pt x="15706" y="20091"/>
                  <a:pt x="15617" y="19924"/>
                </a:cubicBezTo>
                <a:cubicBezTo>
                  <a:pt x="15719" y="19942"/>
                  <a:pt x="15823" y="19903"/>
                  <a:pt x="15832" y="19775"/>
                </a:cubicBezTo>
                <a:cubicBezTo>
                  <a:pt x="15922" y="19798"/>
                  <a:pt x="16115" y="19795"/>
                  <a:pt x="16041" y="19632"/>
                </a:cubicBezTo>
                <a:cubicBezTo>
                  <a:pt x="16106" y="19623"/>
                  <a:pt x="16168" y="19588"/>
                  <a:pt x="16210" y="19533"/>
                </a:cubicBezTo>
                <a:cubicBezTo>
                  <a:pt x="16138" y="19390"/>
                  <a:pt x="15206" y="18490"/>
                  <a:pt x="15434" y="18346"/>
                </a:cubicBezTo>
                <a:cubicBezTo>
                  <a:pt x="15434" y="18538"/>
                  <a:pt x="16064" y="18478"/>
                  <a:pt x="15848" y="18241"/>
                </a:cubicBezTo>
                <a:cubicBezTo>
                  <a:pt x="16146" y="18267"/>
                  <a:pt x="16258" y="18137"/>
                  <a:pt x="16617" y="18242"/>
                </a:cubicBezTo>
                <a:cubicBezTo>
                  <a:pt x="16734" y="18192"/>
                  <a:pt x="16850" y="18068"/>
                  <a:pt x="16906" y="17901"/>
                </a:cubicBezTo>
                <a:cubicBezTo>
                  <a:pt x="16903" y="17828"/>
                  <a:pt x="16902" y="17624"/>
                  <a:pt x="16866" y="17758"/>
                </a:cubicBezTo>
                <a:cubicBezTo>
                  <a:pt x="16932" y="17767"/>
                  <a:pt x="16992" y="17749"/>
                  <a:pt x="17046" y="17705"/>
                </a:cubicBezTo>
                <a:lnTo>
                  <a:pt x="16983" y="17599"/>
                </a:lnTo>
                <a:cubicBezTo>
                  <a:pt x="17041" y="17535"/>
                  <a:pt x="17165" y="17507"/>
                  <a:pt x="17236" y="17493"/>
                </a:cubicBezTo>
                <a:cubicBezTo>
                  <a:pt x="17318" y="17587"/>
                  <a:pt x="17416" y="17601"/>
                  <a:pt x="17530" y="17550"/>
                </a:cubicBezTo>
                <a:cubicBezTo>
                  <a:pt x="17577" y="17423"/>
                  <a:pt x="17512" y="17280"/>
                  <a:pt x="17384" y="17221"/>
                </a:cubicBezTo>
                <a:cubicBezTo>
                  <a:pt x="17687" y="16967"/>
                  <a:pt x="17565" y="16430"/>
                  <a:pt x="17781" y="16125"/>
                </a:cubicBezTo>
                <a:cubicBezTo>
                  <a:pt x="17837" y="16046"/>
                  <a:pt x="18329" y="15956"/>
                  <a:pt x="17971" y="15701"/>
                </a:cubicBezTo>
                <a:cubicBezTo>
                  <a:pt x="18120" y="15585"/>
                  <a:pt x="18165" y="15400"/>
                  <a:pt x="18293" y="15287"/>
                </a:cubicBezTo>
                <a:cubicBezTo>
                  <a:pt x="18372" y="15279"/>
                  <a:pt x="18564" y="15290"/>
                  <a:pt x="18635" y="15243"/>
                </a:cubicBezTo>
                <a:cubicBezTo>
                  <a:pt x="18639" y="15249"/>
                  <a:pt x="18650" y="15264"/>
                  <a:pt x="18652" y="15266"/>
                </a:cubicBezTo>
                <a:cubicBezTo>
                  <a:pt x="18287" y="15517"/>
                  <a:pt x="19128" y="15507"/>
                  <a:pt x="19226" y="15549"/>
                </a:cubicBezTo>
                <a:cubicBezTo>
                  <a:pt x="19228" y="15542"/>
                  <a:pt x="18587" y="15928"/>
                  <a:pt x="18950" y="15928"/>
                </a:cubicBezTo>
                <a:cubicBezTo>
                  <a:pt x="19011" y="15928"/>
                  <a:pt x="19283" y="15953"/>
                  <a:pt x="19298" y="16033"/>
                </a:cubicBezTo>
                <a:cubicBezTo>
                  <a:pt x="19302" y="16103"/>
                  <a:pt x="19240" y="16207"/>
                  <a:pt x="19205" y="16258"/>
                </a:cubicBezTo>
                <a:cubicBezTo>
                  <a:pt x="19386" y="16473"/>
                  <a:pt x="20060" y="16208"/>
                  <a:pt x="20085" y="16167"/>
                </a:cubicBezTo>
                <a:cubicBezTo>
                  <a:pt x="20101" y="16142"/>
                  <a:pt x="20747" y="15587"/>
                  <a:pt x="20176" y="15813"/>
                </a:cubicBezTo>
                <a:cubicBezTo>
                  <a:pt x="19948" y="15902"/>
                  <a:pt x="19869" y="15644"/>
                  <a:pt x="19761" y="15477"/>
                </a:cubicBezTo>
                <a:cubicBezTo>
                  <a:pt x="19950" y="15446"/>
                  <a:pt x="20140" y="15270"/>
                  <a:pt x="20317" y="15219"/>
                </a:cubicBezTo>
                <a:cubicBezTo>
                  <a:pt x="20455" y="15239"/>
                  <a:pt x="21096" y="15033"/>
                  <a:pt x="20948" y="14830"/>
                </a:cubicBezTo>
                <a:cubicBezTo>
                  <a:pt x="21018" y="14787"/>
                  <a:pt x="21111" y="14689"/>
                  <a:pt x="21196" y="14689"/>
                </a:cubicBezTo>
                <a:cubicBezTo>
                  <a:pt x="21540" y="14453"/>
                  <a:pt x="21283" y="14523"/>
                  <a:pt x="21399" y="14198"/>
                </a:cubicBezTo>
                <a:cubicBezTo>
                  <a:pt x="21401" y="14194"/>
                  <a:pt x="21392" y="14218"/>
                  <a:pt x="21399" y="14198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22502" tIns="22502" rIns="22502" bIns="22502" anchor="ctr"/>
          <a:lstStyle/>
          <a:p>
            <a:pPr algn="ctr" defTabSz="269932" hangingPunct="0">
              <a:lnSpc>
                <a:spcPct val="80000"/>
              </a:lnSpc>
              <a:spcBef>
                <a:spcPts val="2058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 sz="42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venir Next"/>
              <a:ea typeface="Avenir Next"/>
              <a:cs typeface="Avenir Next"/>
              <a:sym typeface="Avenir Next"/>
            </a:endParaRPr>
          </a:p>
        </p:txBody>
      </p:sp>
      <p:sp>
        <p:nvSpPr>
          <p:cNvPr id="277" name="Фигура"/>
          <p:cNvSpPr/>
          <p:nvPr/>
        </p:nvSpPr>
        <p:spPr>
          <a:xfrm>
            <a:off x="5635585" y="3157951"/>
            <a:ext cx="645926" cy="10166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4" h="21436" extrusionOk="0">
                <a:moveTo>
                  <a:pt x="21150" y="15574"/>
                </a:moveTo>
                <a:cubicBezTo>
                  <a:pt x="21261" y="15717"/>
                  <a:pt x="21093" y="15952"/>
                  <a:pt x="20924" y="15784"/>
                </a:cubicBezTo>
                <a:cubicBezTo>
                  <a:pt x="20982" y="16021"/>
                  <a:pt x="20891" y="16384"/>
                  <a:pt x="20777" y="16596"/>
                </a:cubicBezTo>
                <a:cubicBezTo>
                  <a:pt x="20505" y="17107"/>
                  <a:pt x="20399" y="17680"/>
                  <a:pt x="20142" y="18190"/>
                </a:cubicBezTo>
                <a:cubicBezTo>
                  <a:pt x="20021" y="18451"/>
                  <a:pt x="19581" y="18883"/>
                  <a:pt x="19210" y="18697"/>
                </a:cubicBezTo>
                <a:cubicBezTo>
                  <a:pt x="19055" y="18620"/>
                  <a:pt x="18983" y="18564"/>
                  <a:pt x="18916" y="18429"/>
                </a:cubicBezTo>
                <a:cubicBezTo>
                  <a:pt x="18874" y="18346"/>
                  <a:pt x="18895" y="18082"/>
                  <a:pt x="18885" y="18073"/>
                </a:cubicBezTo>
                <a:cubicBezTo>
                  <a:pt x="18630" y="17743"/>
                  <a:pt x="18882" y="17612"/>
                  <a:pt x="18985" y="17344"/>
                </a:cubicBezTo>
                <a:cubicBezTo>
                  <a:pt x="19114" y="17002"/>
                  <a:pt x="19115" y="16913"/>
                  <a:pt x="19087" y="16545"/>
                </a:cubicBezTo>
                <a:cubicBezTo>
                  <a:pt x="19035" y="16414"/>
                  <a:pt x="19148" y="15981"/>
                  <a:pt x="19273" y="15913"/>
                </a:cubicBezTo>
                <a:cubicBezTo>
                  <a:pt x="19479" y="15800"/>
                  <a:pt x="19740" y="15772"/>
                  <a:pt x="19957" y="15653"/>
                </a:cubicBezTo>
                <a:cubicBezTo>
                  <a:pt x="20082" y="15574"/>
                  <a:pt x="20117" y="15501"/>
                  <a:pt x="20239" y="15478"/>
                </a:cubicBezTo>
                <a:cubicBezTo>
                  <a:pt x="20387" y="15448"/>
                  <a:pt x="20295" y="14983"/>
                  <a:pt x="20473" y="15143"/>
                </a:cubicBezTo>
                <a:cubicBezTo>
                  <a:pt x="20533" y="15027"/>
                  <a:pt x="20661" y="14865"/>
                  <a:pt x="20739" y="14731"/>
                </a:cubicBezTo>
                <a:cubicBezTo>
                  <a:pt x="20722" y="14552"/>
                  <a:pt x="20909" y="14739"/>
                  <a:pt x="20929" y="14819"/>
                </a:cubicBezTo>
                <a:cubicBezTo>
                  <a:pt x="20973" y="14985"/>
                  <a:pt x="21061" y="15461"/>
                  <a:pt x="21150" y="15574"/>
                </a:cubicBezTo>
                <a:cubicBezTo>
                  <a:pt x="21173" y="15603"/>
                  <a:pt x="21138" y="15559"/>
                  <a:pt x="21150" y="15574"/>
                </a:cubicBezTo>
                <a:close/>
                <a:moveTo>
                  <a:pt x="21449" y="7942"/>
                </a:moveTo>
                <a:cubicBezTo>
                  <a:pt x="21344" y="7731"/>
                  <a:pt x="21600" y="7533"/>
                  <a:pt x="21151" y="7539"/>
                </a:cubicBezTo>
                <a:cubicBezTo>
                  <a:pt x="21008" y="7541"/>
                  <a:pt x="20754" y="7739"/>
                  <a:pt x="20526" y="7739"/>
                </a:cubicBezTo>
                <a:cubicBezTo>
                  <a:pt x="20244" y="7739"/>
                  <a:pt x="20016" y="7865"/>
                  <a:pt x="19729" y="7865"/>
                </a:cubicBezTo>
                <a:cubicBezTo>
                  <a:pt x="19565" y="7865"/>
                  <a:pt x="19469" y="8014"/>
                  <a:pt x="19302" y="7993"/>
                </a:cubicBezTo>
                <a:cubicBezTo>
                  <a:pt x="19093" y="7930"/>
                  <a:pt x="19070" y="7669"/>
                  <a:pt x="18908" y="7605"/>
                </a:cubicBezTo>
                <a:cubicBezTo>
                  <a:pt x="19001" y="7551"/>
                  <a:pt x="19025" y="7458"/>
                  <a:pt x="18981" y="7374"/>
                </a:cubicBezTo>
                <a:cubicBezTo>
                  <a:pt x="19062" y="7284"/>
                  <a:pt x="18938" y="7312"/>
                  <a:pt x="18896" y="7232"/>
                </a:cubicBezTo>
                <a:cubicBezTo>
                  <a:pt x="18780" y="7074"/>
                  <a:pt x="18298" y="6560"/>
                  <a:pt x="18034" y="6598"/>
                </a:cubicBezTo>
                <a:cubicBezTo>
                  <a:pt x="17984" y="6467"/>
                  <a:pt x="17855" y="6463"/>
                  <a:pt x="17803" y="6343"/>
                </a:cubicBezTo>
                <a:cubicBezTo>
                  <a:pt x="17753" y="6232"/>
                  <a:pt x="17703" y="5708"/>
                  <a:pt x="17456" y="5708"/>
                </a:cubicBezTo>
                <a:lnTo>
                  <a:pt x="17455" y="5708"/>
                </a:lnTo>
                <a:cubicBezTo>
                  <a:pt x="17148" y="5708"/>
                  <a:pt x="17061" y="5095"/>
                  <a:pt x="17028" y="4927"/>
                </a:cubicBezTo>
                <a:lnTo>
                  <a:pt x="17085" y="4930"/>
                </a:lnTo>
                <a:cubicBezTo>
                  <a:pt x="16985" y="4575"/>
                  <a:pt x="16629" y="4445"/>
                  <a:pt x="16480" y="4141"/>
                </a:cubicBezTo>
                <a:lnTo>
                  <a:pt x="16435" y="4152"/>
                </a:lnTo>
                <a:cubicBezTo>
                  <a:pt x="16428" y="4118"/>
                  <a:pt x="16411" y="4085"/>
                  <a:pt x="16410" y="4050"/>
                </a:cubicBezTo>
                <a:cubicBezTo>
                  <a:pt x="16418" y="4049"/>
                  <a:pt x="16577" y="4040"/>
                  <a:pt x="16577" y="4040"/>
                </a:cubicBezTo>
                <a:cubicBezTo>
                  <a:pt x="16561" y="4019"/>
                  <a:pt x="16373" y="3888"/>
                  <a:pt x="16373" y="3877"/>
                </a:cubicBezTo>
                <a:cubicBezTo>
                  <a:pt x="16140" y="3556"/>
                  <a:pt x="15927" y="3229"/>
                  <a:pt x="15764" y="2884"/>
                </a:cubicBezTo>
                <a:cubicBezTo>
                  <a:pt x="15810" y="2908"/>
                  <a:pt x="15860" y="2921"/>
                  <a:pt x="15913" y="2924"/>
                </a:cubicBezTo>
                <a:cubicBezTo>
                  <a:pt x="16212" y="2508"/>
                  <a:pt x="16034" y="2139"/>
                  <a:pt x="15828" y="1728"/>
                </a:cubicBezTo>
                <a:cubicBezTo>
                  <a:pt x="15663" y="1776"/>
                  <a:pt x="15487" y="1765"/>
                  <a:pt x="15320" y="1792"/>
                </a:cubicBezTo>
                <a:cubicBezTo>
                  <a:pt x="15262" y="1792"/>
                  <a:pt x="15004" y="1673"/>
                  <a:pt x="14939" y="1652"/>
                </a:cubicBezTo>
                <a:cubicBezTo>
                  <a:pt x="14877" y="1646"/>
                  <a:pt x="14703" y="1675"/>
                  <a:pt x="14673" y="1666"/>
                </a:cubicBezTo>
                <a:cubicBezTo>
                  <a:pt x="14649" y="1666"/>
                  <a:pt x="14604" y="1640"/>
                  <a:pt x="14583" y="1631"/>
                </a:cubicBezTo>
                <a:cubicBezTo>
                  <a:pt x="14579" y="1638"/>
                  <a:pt x="14541" y="1746"/>
                  <a:pt x="14548" y="1746"/>
                </a:cubicBezTo>
                <a:cubicBezTo>
                  <a:pt x="14314" y="1775"/>
                  <a:pt x="14213" y="1915"/>
                  <a:pt x="13949" y="1776"/>
                </a:cubicBezTo>
                <a:cubicBezTo>
                  <a:pt x="13737" y="1662"/>
                  <a:pt x="13370" y="1599"/>
                  <a:pt x="13126" y="1666"/>
                </a:cubicBezTo>
                <a:cubicBezTo>
                  <a:pt x="13114" y="1631"/>
                  <a:pt x="12362" y="1325"/>
                  <a:pt x="12311" y="1315"/>
                </a:cubicBezTo>
                <a:cubicBezTo>
                  <a:pt x="12058" y="1263"/>
                  <a:pt x="11585" y="1295"/>
                  <a:pt x="11468" y="1561"/>
                </a:cubicBezTo>
                <a:cubicBezTo>
                  <a:pt x="11405" y="1704"/>
                  <a:pt x="11546" y="1817"/>
                  <a:pt x="11493" y="1940"/>
                </a:cubicBezTo>
                <a:cubicBezTo>
                  <a:pt x="11411" y="2129"/>
                  <a:pt x="10260" y="1753"/>
                  <a:pt x="10229" y="1583"/>
                </a:cubicBezTo>
                <a:cubicBezTo>
                  <a:pt x="10181" y="1321"/>
                  <a:pt x="9285" y="1213"/>
                  <a:pt x="9029" y="1193"/>
                </a:cubicBezTo>
                <a:cubicBezTo>
                  <a:pt x="9018" y="1125"/>
                  <a:pt x="8978" y="1083"/>
                  <a:pt x="8892" y="1075"/>
                </a:cubicBezTo>
                <a:lnTo>
                  <a:pt x="8892" y="1071"/>
                </a:lnTo>
                <a:cubicBezTo>
                  <a:pt x="8848" y="1075"/>
                  <a:pt x="8690" y="1054"/>
                  <a:pt x="8710" y="986"/>
                </a:cubicBezTo>
                <a:cubicBezTo>
                  <a:pt x="8710" y="964"/>
                  <a:pt x="8994" y="767"/>
                  <a:pt x="9016" y="679"/>
                </a:cubicBezTo>
                <a:cubicBezTo>
                  <a:pt x="9056" y="517"/>
                  <a:pt x="8891" y="519"/>
                  <a:pt x="8901" y="450"/>
                </a:cubicBezTo>
                <a:cubicBezTo>
                  <a:pt x="8820" y="389"/>
                  <a:pt x="9205" y="-90"/>
                  <a:pt x="8780" y="124"/>
                </a:cubicBezTo>
                <a:cubicBezTo>
                  <a:pt x="8738" y="-14"/>
                  <a:pt x="7966" y="-25"/>
                  <a:pt x="7786" y="33"/>
                </a:cubicBezTo>
                <a:cubicBezTo>
                  <a:pt x="7755" y="33"/>
                  <a:pt x="7236" y="45"/>
                  <a:pt x="7284" y="112"/>
                </a:cubicBezTo>
                <a:cubicBezTo>
                  <a:pt x="6980" y="-39"/>
                  <a:pt x="6476" y="127"/>
                  <a:pt x="6182" y="191"/>
                </a:cubicBezTo>
                <a:cubicBezTo>
                  <a:pt x="5782" y="191"/>
                  <a:pt x="5357" y="466"/>
                  <a:pt x="4985" y="577"/>
                </a:cubicBezTo>
                <a:cubicBezTo>
                  <a:pt x="4968" y="561"/>
                  <a:pt x="4957" y="544"/>
                  <a:pt x="4950" y="523"/>
                </a:cubicBezTo>
                <a:lnTo>
                  <a:pt x="4918" y="529"/>
                </a:lnTo>
                <a:lnTo>
                  <a:pt x="4905" y="496"/>
                </a:lnTo>
                <a:cubicBezTo>
                  <a:pt x="4737" y="581"/>
                  <a:pt x="4445" y="574"/>
                  <a:pt x="4277" y="480"/>
                </a:cubicBezTo>
                <a:cubicBezTo>
                  <a:pt x="4282" y="423"/>
                  <a:pt x="4286" y="367"/>
                  <a:pt x="4279" y="311"/>
                </a:cubicBezTo>
                <a:cubicBezTo>
                  <a:pt x="3839" y="327"/>
                  <a:pt x="3931" y="706"/>
                  <a:pt x="3692" y="913"/>
                </a:cubicBezTo>
                <a:cubicBezTo>
                  <a:pt x="3463" y="1112"/>
                  <a:pt x="3139" y="1114"/>
                  <a:pt x="2935" y="1363"/>
                </a:cubicBezTo>
                <a:cubicBezTo>
                  <a:pt x="2899" y="1537"/>
                  <a:pt x="2704" y="1647"/>
                  <a:pt x="2717" y="1829"/>
                </a:cubicBezTo>
                <a:cubicBezTo>
                  <a:pt x="2734" y="2071"/>
                  <a:pt x="2718" y="2224"/>
                  <a:pt x="2488" y="2389"/>
                </a:cubicBezTo>
                <a:cubicBezTo>
                  <a:pt x="2217" y="2584"/>
                  <a:pt x="1913" y="2731"/>
                  <a:pt x="1546" y="2719"/>
                </a:cubicBezTo>
                <a:cubicBezTo>
                  <a:pt x="1507" y="2976"/>
                  <a:pt x="1199" y="3017"/>
                  <a:pt x="1132" y="3212"/>
                </a:cubicBezTo>
                <a:cubicBezTo>
                  <a:pt x="1025" y="3521"/>
                  <a:pt x="918" y="3677"/>
                  <a:pt x="641" y="3906"/>
                </a:cubicBezTo>
                <a:lnTo>
                  <a:pt x="670" y="3942"/>
                </a:lnTo>
                <a:cubicBezTo>
                  <a:pt x="508" y="4166"/>
                  <a:pt x="173" y="4557"/>
                  <a:pt x="339" y="4803"/>
                </a:cubicBezTo>
                <a:lnTo>
                  <a:pt x="391" y="4803"/>
                </a:lnTo>
                <a:cubicBezTo>
                  <a:pt x="467" y="4803"/>
                  <a:pt x="416" y="5040"/>
                  <a:pt x="558" y="5026"/>
                </a:cubicBezTo>
                <a:cubicBezTo>
                  <a:pt x="575" y="5060"/>
                  <a:pt x="612" y="5269"/>
                  <a:pt x="543" y="5269"/>
                </a:cubicBezTo>
                <a:lnTo>
                  <a:pt x="456" y="5299"/>
                </a:lnTo>
                <a:cubicBezTo>
                  <a:pt x="764" y="5604"/>
                  <a:pt x="582" y="5896"/>
                  <a:pt x="452" y="6228"/>
                </a:cubicBezTo>
                <a:cubicBezTo>
                  <a:pt x="401" y="6220"/>
                  <a:pt x="345" y="6229"/>
                  <a:pt x="297" y="6251"/>
                </a:cubicBezTo>
                <a:cubicBezTo>
                  <a:pt x="430" y="6424"/>
                  <a:pt x="154" y="6618"/>
                  <a:pt x="0" y="6730"/>
                </a:cubicBezTo>
                <a:cubicBezTo>
                  <a:pt x="249" y="6752"/>
                  <a:pt x="299" y="6978"/>
                  <a:pt x="276" y="7155"/>
                </a:cubicBezTo>
                <a:lnTo>
                  <a:pt x="307" y="7155"/>
                </a:lnTo>
                <a:cubicBezTo>
                  <a:pt x="294" y="7155"/>
                  <a:pt x="281" y="7155"/>
                  <a:pt x="268" y="7155"/>
                </a:cubicBezTo>
                <a:cubicBezTo>
                  <a:pt x="265" y="7167"/>
                  <a:pt x="258" y="7174"/>
                  <a:pt x="247" y="7177"/>
                </a:cubicBezTo>
                <a:cubicBezTo>
                  <a:pt x="206" y="7341"/>
                  <a:pt x="390" y="7647"/>
                  <a:pt x="654" y="7597"/>
                </a:cubicBezTo>
                <a:cubicBezTo>
                  <a:pt x="662" y="7714"/>
                  <a:pt x="780" y="7762"/>
                  <a:pt x="802" y="7878"/>
                </a:cubicBezTo>
                <a:cubicBezTo>
                  <a:pt x="873" y="7889"/>
                  <a:pt x="913" y="7864"/>
                  <a:pt x="946" y="7814"/>
                </a:cubicBezTo>
                <a:cubicBezTo>
                  <a:pt x="1016" y="8004"/>
                  <a:pt x="1264" y="8051"/>
                  <a:pt x="1309" y="8201"/>
                </a:cubicBezTo>
                <a:cubicBezTo>
                  <a:pt x="1426" y="8354"/>
                  <a:pt x="1416" y="8441"/>
                  <a:pt x="1473" y="8622"/>
                </a:cubicBezTo>
                <a:lnTo>
                  <a:pt x="1520" y="8622"/>
                </a:lnTo>
                <a:cubicBezTo>
                  <a:pt x="1569" y="8710"/>
                  <a:pt x="1975" y="9160"/>
                  <a:pt x="2133" y="9105"/>
                </a:cubicBezTo>
                <a:cubicBezTo>
                  <a:pt x="2414" y="9356"/>
                  <a:pt x="2674" y="9574"/>
                  <a:pt x="3086" y="9750"/>
                </a:cubicBezTo>
                <a:cubicBezTo>
                  <a:pt x="3082" y="9812"/>
                  <a:pt x="3079" y="9875"/>
                  <a:pt x="3077" y="9937"/>
                </a:cubicBezTo>
                <a:cubicBezTo>
                  <a:pt x="3152" y="9898"/>
                  <a:pt x="3229" y="9859"/>
                  <a:pt x="3307" y="9824"/>
                </a:cubicBezTo>
                <a:lnTo>
                  <a:pt x="3321" y="9829"/>
                </a:lnTo>
                <a:lnTo>
                  <a:pt x="3322" y="9817"/>
                </a:lnTo>
                <a:cubicBezTo>
                  <a:pt x="3580" y="9701"/>
                  <a:pt x="3830" y="9612"/>
                  <a:pt x="4125" y="9621"/>
                </a:cubicBezTo>
                <a:cubicBezTo>
                  <a:pt x="4261" y="9626"/>
                  <a:pt x="4581" y="9721"/>
                  <a:pt x="4686" y="9617"/>
                </a:cubicBezTo>
                <a:cubicBezTo>
                  <a:pt x="4748" y="9641"/>
                  <a:pt x="4808" y="9667"/>
                  <a:pt x="4866" y="9695"/>
                </a:cubicBezTo>
                <a:cubicBezTo>
                  <a:pt x="5080" y="9574"/>
                  <a:pt x="5871" y="9431"/>
                  <a:pt x="5918" y="9296"/>
                </a:cubicBezTo>
                <a:cubicBezTo>
                  <a:pt x="5972" y="9317"/>
                  <a:pt x="5995" y="9339"/>
                  <a:pt x="6016" y="9264"/>
                </a:cubicBezTo>
                <a:cubicBezTo>
                  <a:pt x="6022" y="9261"/>
                  <a:pt x="6045" y="9250"/>
                  <a:pt x="6080" y="9241"/>
                </a:cubicBezTo>
                <a:cubicBezTo>
                  <a:pt x="6162" y="9312"/>
                  <a:pt x="6375" y="9249"/>
                  <a:pt x="6476" y="9223"/>
                </a:cubicBezTo>
                <a:lnTo>
                  <a:pt x="6476" y="9214"/>
                </a:lnTo>
                <a:cubicBezTo>
                  <a:pt x="7144" y="9195"/>
                  <a:pt x="6984" y="9378"/>
                  <a:pt x="7304" y="9739"/>
                </a:cubicBezTo>
                <a:cubicBezTo>
                  <a:pt x="7475" y="9932"/>
                  <a:pt x="7980" y="9814"/>
                  <a:pt x="8200" y="9773"/>
                </a:cubicBezTo>
                <a:cubicBezTo>
                  <a:pt x="8223" y="9858"/>
                  <a:pt x="8314" y="9945"/>
                  <a:pt x="8426" y="9941"/>
                </a:cubicBezTo>
                <a:cubicBezTo>
                  <a:pt x="8418" y="9986"/>
                  <a:pt x="8482" y="10342"/>
                  <a:pt x="8493" y="10381"/>
                </a:cubicBezTo>
                <a:lnTo>
                  <a:pt x="8473" y="10381"/>
                </a:lnTo>
                <a:cubicBezTo>
                  <a:pt x="8451" y="10590"/>
                  <a:pt x="8231" y="10752"/>
                  <a:pt x="8455" y="10846"/>
                </a:cubicBezTo>
                <a:cubicBezTo>
                  <a:pt x="8424" y="11002"/>
                  <a:pt x="8415" y="11164"/>
                  <a:pt x="8205" y="11187"/>
                </a:cubicBezTo>
                <a:cubicBezTo>
                  <a:pt x="8322" y="11607"/>
                  <a:pt x="8608" y="11836"/>
                  <a:pt x="8916" y="12161"/>
                </a:cubicBezTo>
                <a:cubicBezTo>
                  <a:pt x="8896" y="12195"/>
                  <a:pt x="8883" y="12228"/>
                  <a:pt x="8856" y="12259"/>
                </a:cubicBezTo>
                <a:cubicBezTo>
                  <a:pt x="9007" y="12382"/>
                  <a:pt x="9103" y="12537"/>
                  <a:pt x="9233" y="12666"/>
                </a:cubicBezTo>
                <a:lnTo>
                  <a:pt x="9303" y="12614"/>
                </a:lnTo>
                <a:cubicBezTo>
                  <a:pt x="9334" y="12654"/>
                  <a:pt x="9303" y="12657"/>
                  <a:pt x="9301" y="12701"/>
                </a:cubicBezTo>
                <a:lnTo>
                  <a:pt x="9265" y="12704"/>
                </a:lnTo>
                <a:cubicBezTo>
                  <a:pt x="9269" y="12865"/>
                  <a:pt x="9736" y="13608"/>
                  <a:pt x="9628" y="13713"/>
                </a:cubicBezTo>
                <a:cubicBezTo>
                  <a:pt x="9399" y="13830"/>
                  <a:pt x="9559" y="14066"/>
                  <a:pt x="9672" y="14224"/>
                </a:cubicBezTo>
                <a:cubicBezTo>
                  <a:pt x="9958" y="14623"/>
                  <a:pt x="9535" y="14683"/>
                  <a:pt x="9477" y="14929"/>
                </a:cubicBezTo>
                <a:cubicBezTo>
                  <a:pt x="9422" y="15139"/>
                  <a:pt x="9270" y="15661"/>
                  <a:pt x="9117" y="15801"/>
                </a:cubicBezTo>
                <a:cubicBezTo>
                  <a:pt x="9132" y="15821"/>
                  <a:pt x="9142" y="15843"/>
                  <a:pt x="9148" y="15865"/>
                </a:cubicBezTo>
                <a:lnTo>
                  <a:pt x="9127" y="15871"/>
                </a:lnTo>
                <a:cubicBezTo>
                  <a:pt x="9147" y="15972"/>
                  <a:pt x="9127" y="16088"/>
                  <a:pt x="9127" y="16190"/>
                </a:cubicBezTo>
                <a:lnTo>
                  <a:pt x="9117" y="16197"/>
                </a:lnTo>
                <a:cubicBezTo>
                  <a:pt x="9045" y="16880"/>
                  <a:pt x="10051" y="17437"/>
                  <a:pt x="9956" y="18137"/>
                </a:cubicBezTo>
                <a:cubicBezTo>
                  <a:pt x="9907" y="18501"/>
                  <a:pt x="10103" y="19517"/>
                  <a:pt x="10608" y="19648"/>
                </a:cubicBezTo>
                <a:cubicBezTo>
                  <a:pt x="10711" y="19738"/>
                  <a:pt x="11215" y="20660"/>
                  <a:pt x="11120" y="20764"/>
                </a:cubicBezTo>
                <a:cubicBezTo>
                  <a:pt x="10785" y="20848"/>
                  <a:pt x="11116" y="20987"/>
                  <a:pt x="11144" y="21115"/>
                </a:cubicBezTo>
                <a:cubicBezTo>
                  <a:pt x="10968" y="21510"/>
                  <a:pt x="11967" y="21476"/>
                  <a:pt x="12221" y="21354"/>
                </a:cubicBezTo>
                <a:cubicBezTo>
                  <a:pt x="12519" y="21209"/>
                  <a:pt x="12813" y="21294"/>
                  <a:pt x="13150" y="21319"/>
                </a:cubicBezTo>
                <a:cubicBezTo>
                  <a:pt x="13150" y="21319"/>
                  <a:pt x="13164" y="21264"/>
                  <a:pt x="13165" y="21262"/>
                </a:cubicBezTo>
                <a:cubicBezTo>
                  <a:pt x="13768" y="21285"/>
                  <a:pt x="14233" y="20805"/>
                  <a:pt x="14641" y="20497"/>
                </a:cubicBezTo>
                <a:cubicBezTo>
                  <a:pt x="14854" y="20335"/>
                  <a:pt x="14941" y="20135"/>
                  <a:pt x="15093" y="19938"/>
                </a:cubicBezTo>
                <a:cubicBezTo>
                  <a:pt x="15177" y="19827"/>
                  <a:pt x="15387" y="19750"/>
                  <a:pt x="15454" y="19635"/>
                </a:cubicBezTo>
                <a:cubicBezTo>
                  <a:pt x="15552" y="19463"/>
                  <a:pt x="15640" y="19307"/>
                  <a:pt x="15688" y="19094"/>
                </a:cubicBezTo>
                <a:lnTo>
                  <a:pt x="15697" y="19094"/>
                </a:lnTo>
                <a:cubicBezTo>
                  <a:pt x="15716" y="18996"/>
                  <a:pt x="15724" y="18898"/>
                  <a:pt x="15722" y="18799"/>
                </a:cubicBezTo>
                <a:lnTo>
                  <a:pt x="15659" y="18795"/>
                </a:lnTo>
                <a:cubicBezTo>
                  <a:pt x="15712" y="18611"/>
                  <a:pt x="15867" y="18624"/>
                  <a:pt x="16053" y="18537"/>
                </a:cubicBezTo>
                <a:cubicBezTo>
                  <a:pt x="16371" y="18385"/>
                  <a:pt x="16454" y="18365"/>
                  <a:pt x="16521" y="18076"/>
                </a:cubicBezTo>
                <a:cubicBezTo>
                  <a:pt x="16544" y="17824"/>
                  <a:pt x="16568" y="17645"/>
                  <a:pt x="16480" y="17400"/>
                </a:cubicBezTo>
                <a:cubicBezTo>
                  <a:pt x="16325" y="16977"/>
                  <a:pt x="16456" y="16954"/>
                  <a:pt x="16829" y="16691"/>
                </a:cubicBezTo>
                <a:cubicBezTo>
                  <a:pt x="17122" y="16484"/>
                  <a:pt x="17222" y="16348"/>
                  <a:pt x="17594" y="16182"/>
                </a:cubicBezTo>
                <a:cubicBezTo>
                  <a:pt x="17872" y="16057"/>
                  <a:pt x="18450" y="15634"/>
                  <a:pt x="18274" y="15310"/>
                </a:cubicBezTo>
                <a:cubicBezTo>
                  <a:pt x="18221" y="15211"/>
                  <a:pt x="18282" y="14088"/>
                  <a:pt x="18165" y="14103"/>
                </a:cubicBezTo>
                <a:cubicBezTo>
                  <a:pt x="18141" y="14052"/>
                  <a:pt x="18023" y="13987"/>
                  <a:pt x="17958" y="13987"/>
                </a:cubicBezTo>
                <a:cubicBezTo>
                  <a:pt x="17817" y="13835"/>
                  <a:pt x="17931" y="13505"/>
                  <a:pt x="17832" y="13353"/>
                </a:cubicBezTo>
                <a:cubicBezTo>
                  <a:pt x="17796" y="13301"/>
                  <a:pt x="17878" y="13216"/>
                  <a:pt x="17887" y="13166"/>
                </a:cubicBezTo>
                <a:cubicBezTo>
                  <a:pt x="17915" y="13016"/>
                  <a:pt x="17749" y="13031"/>
                  <a:pt x="17690" y="12936"/>
                </a:cubicBezTo>
                <a:cubicBezTo>
                  <a:pt x="17639" y="12798"/>
                  <a:pt x="17991" y="12016"/>
                  <a:pt x="18132" y="11894"/>
                </a:cubicBezTo>
                <a:cubicBezTo>
                  <a:pt x="18255" y="11861"/>
                  <a:pt x="18334" y="11800"/>
                  <a:pt x="18421" y="11719"/>
                </a:cubicBezTo>
                <a:lnTo>
                  <a:pt x="18439" y="11747"/>
                </a:lnTo>
                <a:cubicBezTo>
                  <a:pt x="18933" y="11102"/>
                  <a:pt x="19669" y="10727"/>
                  <a:pt x="20222" y="10146"/>
                </a:cubicBezTo>
                <a:cubicBezTo>
                  <a:pt x="20487" y="9868"/>
                  <a:pt x="20746" y="9587"/>
                  <a:pt x="20861" y="9234"/>
                </a:cubicBezTo>
                <a:cubicBezTo>
                  <a:pt x="20916" y="9067"/>
                  <a:pt x="21026" y="8908"/>
                  <a:pt x="21115" y="8753"/>
                </a:cubicBezTo>
                <a:cubicBezTo>
                  <a:pt x="21241" y="8534"/>
                  <a:pt x="21257" y="8322"/>
                  <a:pt x="21357" y="8120"/>
                </a:cubicBezTo>
                <a:cubicBezTo>
                  <a:pt x="21369" y="8126"/>
                  <a:pt x="21377" y="8136"/>
                  <a:pt x="21381" y="8150"/>
                </a:cubicBezTo>
                <a:cubicBezTo>
                  <a:pt x="21416" y="8150"/>
                  <a:pt x="21450" y="8149"/>
                  <a:pt x="21485" y="8146"/>
                </a:cubicBezTo>
                <a:cubicBezTo>
                  <a:pt x="21506" y="8073"/>
                  <a:pt x="21488" y="8022"/>
                  <a:pt x="21449" y="7942"/>
                </a:cubicBezTo>
                <a:cubicBezTo>
                  <a:pt x="21441" y="7926"/>
                  <a:pt x="21477" y="7998"/>
                  <a:pt x="21449" y="7942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22502" tIns="22502" rIns="22502" bIns="22502" anchor="ctr"/>
          <a:lstStyle/>
          <a:p>
            <a:pPr algn="ctr" defTabSz="269932" hangingPunct="0">
              <a:lnSpc>
                <a:spcPct val="80000"/>
              </a:lnSpc>
              <a:spcBef>
                <a:spcPts val="2058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 sz="42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venir Next"/>
              <a:ea typeface="Avenir Next"/>
              <a:cs typeface="Avenir Next"/>
              <a:sym typeface="Avenir Next"/>
            </a:endParaRPr>
          </a:p>
        </p:txBody>
      </p:sp>
      <p:sp>
        <p:nvSpPr>
          <p:cNvPr id="278" name="Фигура"/>
          <p:cNvSpPr/>
          <p:nvPr/>
        </p:nvSpPr>
        <p:spPr>
          <a:xfrm>
            <a:off x="4515712" y="2587473"/>
            <a:ext cx="1252137" cy="9934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46" h="21465" extrusionOk="0">
                <a:moveTo>
                  <a:pt x="13469" y="3580"/>
                </a:moveTo>
                <a:cubicBezTo>
                  <a:pt x="13690" y="3383"/>
                  <a:pt x="13241" y="3198"/>
                  <a:pt x="13219" y="3654"/>
                </a:cubicBezTo>
                <a:cubicBezTo>
                  <a:pt x="13301" y="3647"/>
                  <a:pt x="13395" y="3646"/>
                  <a:pt x="13469" y="3580"/>
                </a:cubicBezTo>
                <a:cubicBezTo>
                  <a:pt x="13488" y="3563"/>
                  <a:pt x="13429" y="3616"/>
                  <a:pt x="13469" y="3580"/>
                </a:cubicBezTo>
                <a:close/>
                <a:moveTo>
                  <a:pt x="11812" y="960"/>
                </a:moveTo>
                <a:cubicBezTo>
                  <a:pt x="11873" y="975"/>
                  <a:pt x="12398" y="1247"/>
                  <a:pt x="12369" y="928"/>
                </a:cubicBezTo>
                <a:cubicBezTo>
                  <a:pt x="12352" y="748"/>
                  <a:pt x="11916" y="805"/>
                  <a:pt x="11875" y="809"/>
                </a:cubicBezTo>
                <a:cubicBezTo>
                  <a:pt x="11884" y="836"/>
                  <a:pt x="11971" y="855"/>
                  <a:pt x="11950" y="900"/>
                </a:cubicBezTo>
                <a:cubicBezTo>
                  <a:pt x="11906" y="934"/>
                  <a:pt x="11860" y="954"/>
                  <a:pt x="11812" y="960"/>
                </a:cubicBezTo>
                <a:cubicBezTo>
                  <a:pt x="11855" y="970"/>
                  <a:pt x="11846" y="935"/>
                  <a:pt x="11812" y="960"/>
                </a:cubicBezTo>
                <a:close/>
                <a:moveTo>
                  <a:pt x="11540" y="1517"/>
                </a:moveTo>
                <a:cubicBezTo>
                  <a:pt x="11523" y="1533"/>
                  <a:pt x="11515" y="1556"/>
                  <a:pt x="11513" y="1586"/>
                </a:cubicBezTo>
                <a:cubicBezTo>
                  <a:pt x="11538" y="1636"/>
                  <a:pt x="11761" y="1589"/>
                  <a:pt x="11799" y="1596"/>
                </a:cubicBezTo>
                <a:cubicBezTo>
                  <a:pt x="11765" y="1635"/>
                  <a:pt x="11679" y="1642"/>
                  <a:pt x="11690" y="1736"/>
                </a:cubicBezTo>
                <a:cubicBezTo>
                  <a:pt x="11831" y="1761"/>
                  <a:pt x="11923" y="1736"/>
                  <a:pt x="12042" y="1625"/>
                </a:cubicBezTo>
                <a:cubicBezTo>
                  <a:pt x="12061" y="1607"/>
                  <a:pt x="12223" y="1391"/>
                  <a:pt x="12222" y="1391"/>
                </a:cubicBezTo>
                <a:cubicBezTo>
                  <a:pt x="12126" y="1354"/>
                  <a:pt x="11952" y="1272"/>
                  <a:pt x="11858" y="1369"/>
                </a:cubicBezTo>
                <a:cubicBezTo>
                  <a:pt x="11884" y="1388"/>
                  <a:pt x="11887" y="1414"/>
                  <a:pt x="11867" y="1446"/>
                </a:cubicBezTo>
                <a:cubicBezTo>
                  <a:pt x="11798" y="1500"/>
                  <a:pt x="11752" y="1289"/>
                  <a:pt x="11704" y="1540"/>
                </a:cubicBezTo>
                <a:cubicBezTo>
                  <a:pt x="11678" y="1531"/>
                  <a:pt x="11511" y="1089"/>
                  <a:pt x="11476" y="1479"/>
                </a:cubicBezTo>
                <a:cubicBezTo>
                  <a:pt x="11501" y="1477"/>
                  <a:pt x="11546" y="1464"/>
                  <a:pt x="11540" y="1517"/>
                </a:cubicBezTo>
                <a:cubicBezTo>
                  <a:pt x="11536" y="1546"/>
                  <a:pt x="11546" y="1464"/>
                  <a:pt x="11540" y="1517"/>
                </a:cubicBezTo>
                <a:close/>
                <a:moveTo>
                  <a:pt x="12343" y="1561"/>
                </a:moveTo>
                <a:cubicBezTo>
                  <a:pt x="12265" y="1570"/>
                  <a:pt x="12133" y="1594"/>
                  <a:pt x="12080" y="1710"/>
                </a:cubicBezTo>
                <a:cubicBezTo>
                  <a:pt x="12161" y="1774"/>
                  <a:pt x="12265" y="1833"/>
                  <a:pt x="12355" y="1780"/>
                </a:cubicBezTo>
                <a:cubicBezTo>
                  <a:pt x="12461" y="1718"/>
                  <a:pt x="12469" y="1547"/>
                  <a:pt x="12343" y="1561"/>
                </a:cubicBezTo>
                <a:cubicBezTo>
                  <a:pt x="12307" y="1565"/>
                  <a:pt x="12374" y="1558"/>
                  <a:pt x="12343" y="1561"/>
                </a:cubicBezTo>
                <a:close/>
                <a:moveTo>
                  <a:pt x="12410" y="1343"/>
                </a:moveTo>
                <a:cubicBezTo>
                  <a:pt x="12467" y="1514"/>
                  <a:pt x="12652" y="1308"/>
                  <a:pt x="12689" y="1408"/>
                </a:cubicBezTo>
                <a:cubicBezTo>
                  <a:pt x="12756" y="1588"/>
                  <a:pt x="12564" y="1588"/>
                  <a:pt x="12560" y="1740"/>
                </a:cubicBezTo>
                <a:cubicBezTo>
                  <a:pt x="12559" y="1806"/>
                  <a:pt x="12970" y="1815"/>
                  <a:pt x="12882" y="1823"/>
                </a:cubicBezTo>
                <a:cubicBezTo>
                  <a:pt x="13030" y="1809"/>
                  <a:pt x="13368" y="1722"/>
                  <a:pt x="13506" y="1791"/>
                </a:cubicBezTo>
                <a:cubicBezTo>
                  <a:pt x="13589" y="1831"/>
                  <a:pt x="13984" y="1801"/>
                  <a:pt x="13919" y="1685"/>
                </a:cubicBezTo>
                <a:cubicBezTo>
                  <a:pt x="13920" y="1684"/>
                  <a:pt x="14003" y="1641"/>
                  <a:pt x="13980" y="1596"/>
                </a:cubicBezTo>
                <a:cubicBezTo>
                  <a:pt x="13771" y="1178"/>
                  <a:pt x="13157" y="1950"/>
                  <a:pt x="12958" y="1442"/>
                </a:cubicBezTo>
                <a:cubicBezTo>
                  <a:pt x="12992" y="1431"/>
                  <a:pt x="13058" y="1449"/>
                  <a:pt x="13081" y="1404"/>
                </a:cubicBezTo>
                <a:cubicBezTo>
                  <a:pt x="12885" y="1396"/>
                  <a:pt x="12527" y="1042"/>
                  <a:pt x="12348" y="1306"/>
                </a:cubicBezTo>
                <a:cubicBezTo>
                  <a:pt x="12378" y="1305"/>
                  <a:pt x="12395" y="1296"/>
                  <a:pt x="12410" y="1343"/>
                </a:cubicBezTo>
                <a:cubicBezTo>
                  <a:pt x="12442" y="1437"/>
                  <a:pt x="12395" y="1296"/>
                  <a:pt x="12410" y="1343"/>
                </a:cubicBezTo>
                <a:close/>
                <a:moveTo>
                  <a:pt x="12979" y="817"/>
                </a:moveTo>
                <a:cubicBezTo>
                  <a:pt x="13039" y="880"/>
                  <a:pt x="13140" y="853"/>
                  <a:pt x="13207" y="852"/>
                </a:cubicBezTo>
                <a:cubicBezTo>
                  <a:pt x="13084" y="883"/>
                  <a:pt x="12938" y="1062"/>
                  <a:pt x="13163" y="1076"/>
                </a:cubicBezTo>
                <a:cubicBezTo>
                  <a:pt x="13377" y="1089"/>
                  <a:pt x="13572" y="1002"/>
                  <a:pt x="13782" y="958"/>
                </a:cubicBezTo>
                <a:cubicBezTo>
                  <a:pt x="13737" y="967"/>
                  <a:pt x="13584" y="986"/>
                  <a:pt x="13559" y="1099"/>
                </a:cubicBezTo>
                <a:cubicBezTo>
                  <a:pt x="13580" y="1003"/>
                  <a:pt x="13857" y="1306"/>
                  <a:pt x="13649" y="1256"/>
                </a:cubicBezTo>
                <a:cubicBezTo>
                  <a:pt x="13603" y="1244"/>
                  <a:pt x="13628" y="1137"/>
                  <a:pt x="13533" y="1140"/>
                </a:cubicBezTo>
                <a:cubicBezTo>
                  <a:pt x="13468" y="1141"/>
                  <a:pt x="13398" y="1300"/>
                  <a:pt x="13427" y="1300"/>
                </a:cubicBezTo>
                <a:cubicBezTo>
                  <a:pt x="13372" y="1300"/>
                  <a:pt x="13151" y="1319"/>
                  <a:pt x="13130" y="1438"/>
                </a:cubicBezTo>
                <a:cubicBezTo>
                  <a:pt x="13122" y="1478"/>
                  <a:pt x="13969" y="1488"/>
                  <a:pt x="13968" y="1499"/>
                </a:cubicBezTo>
                <a:cubicBezTo>
                  <a:pt x="13938" y="1648"/>
                  <a:pt x="14311" y="1463"/>
                  <a:pt x="14398" y="1368"/>
                </a:cubicBezTo>
                <a:cubicBezTo>
                  <a:pt x="14357" y="1353"/>
                  <a:pt x="14292" y="1384"/>
                  <a:pt x="14259" y="1341"/>
                </a:cubicBezTo>
                <a:cubicBezTo>
                  <a:pt x="14328" y="1202"/>
                  <a:pt x="14429" y="1318"/>
                  <a:pt x="14487" y="1150"/>
                </a:cubicBezTo>
                <a:cubicBezTo>
                  <a:pt x="14506" y="1095"/>
                  <a:pt x="14889" y="1042"/>
                  <a:pt x="14959" y="976"/>
                </a:cubicBezTo>
                <a:cubicBezTo>
                  <a:pt x="14946" y="967"/>
                  <a:pt x="14932" y="942"/>
                  <a:pt x="14913" y="938"/>
                </a:cubicBezTo>
                <a:cubicBezTo>
                  <a:pt x="15062" y="776"/>
                  <a:pt x="15306" y="784"/>
                  <a:pt x="15473" y="712"/>
                </a:cubicBezTo>
                <a:cubicBezTo>
                  <a:pt x="15689" y="619"/>
                  <a:pt x="15909" y="518"/>
                  <a:pt x="16130" y="463"/>
                </a:cubicBezTo>
                <a:cubicBezTo>
                  <a:pt x="16193" y="447"/>
                  <a:pt x="16764" y="265"/>
                  <a:pt x="16765" y="236"/>
                </a:cubicBezTo>
                <a:cubicBezTo>
                  <a:pt x="16780" y="-66"/>
                  <a:pt x="13963" y="274"/>
                  <a:pt x="13714" y="383"/>
                </a:cubicBezTo>
                <a:cubicBezTo>
                  <a:pt x="13768" y="359"/>
                  <a:pt x="13968" y="567"/>
                  <a:pt x="14046" y="575"/>
                </a:cubicBezTo>
                <a:cubicBezTo>
                  <a:pt x="14043" y="577"/>
                  <a:pt x="14036" y="582"/>
                  <a:pt x="14032" y="585"/>
                </a:cubicBezTo>
                <a:cubicBezTo>
                  <a:pt x="14084" y="583"/>
                  <a:pt x="14144" y="588"/>
                  <a:pt x="14191" y="615"/>
                </a:cubicBezTo>
                <a:cubicBezTo>
                  <a:pt x="14055" y="618"/>
                  <a:pt x="13967" y="761"/>
                  <a:pt x="13851" y="771"/>
                </a:cubicBezTo>
                <a:cubicBezTo>
                  <a:pt x="13991" y="759"/>
                  <a:pt x="13756" y="604"/>
                  <a:pt x="13742" y="599"/>
                </a:cubicBezTo>
                <a:cubicBezTo>
                  <a:pt x="13560" y="535"/>
                  <a:pt x="13514" y="377"/>
                  <a:pt x="13306" y="485"/>
                </a:cubicBezTo>
                <a:cubicBezTo>
                  <a:pt x="13258" y="510"/>
                  <a:pt x="12851" y="682"/>
                  <a:pt x="12979" y="817"/>
                </a:cubicBezTo>
                <a:cubicBezTo>
                  <a:pt x="13039" y="880"/>
                  <a:pt x="12960" y="797"/>
                  <a:pt x="12979" y="817"/>
                </a:cubicBezTo>
                <a:close/>
                <a:moveTo>
                  <a:pt x="9956" y="1618"/>
                </a:moveTo>
                <a:cubicBezTo>
                  <a:pt x="9927" y="1633"/>
                  <a:pt x="9879" y="1633"/>
                  <a:pt x="9868" y="1692"/>
                </a:cubicBezTo>
                <a:cubicBezTo>
                  <a:pt x="10059" y="1776"/>
                  <a:pt x="10254" y="1701"/>
                  <a:pt x="10449" y="1719"/>
                </a:cubicBezTo>
                <a:cubicBezTo>
                  <a:pt x="10414" y="1846"/>
                  <a:pt x="10163" y="1702"/>
                  <a:pt x="10102" y="1839"/>
                </a:cubicBezTo>
                <a:cubicBezTo>
                  <a:pt x="10212" y="2004"/>
                  <a:pt x="11297" y="1629"/>
                  <a:pt x="11264" y="1523"/>
                </a:cubicBezTo>
                <a:cubicBezTo>
                  <a:pt x="11241" y="1448"/>
                  <a:pt x="11154" y="1519"/>
                  <a:pt x="11121" y="1520"/>
                </a:cubicBezTo>
                <a:cubicBezTo>
                  <a:pt x="11011" y="1524"/>
                  <a:pt x="11109" y="1406"/>
                  <a:pt x="11112" y="1336"/>
                </a:cubicBezTo>
                <a:cubicBezTo>
                  <a:pt x="11026" y="1349"/>
                  <a:pt x="10944" y="1421"/>
                  <a:pt x="10859" y="1426"/>
                </a:cubicBezTo>
                <a:cubicBezTo>
                  <a:pt x="10881" y="1445"/>
                  <a:pt x="10896" y="1473"/>
                  <a:pt x="10906" y="1509"/>
                </a:cubicBezTo>
                <a:cubicBezTo>
                  <a:pt x="10875" y="1530"/>
                  <a:pt x="10842" y="1541"/>
                  <a:pt x="10809" y="1541"/>
                </a:cubicBezTo>
                <a:cubicBezTo>
                  <a:pt x="10841" y="1552"/>
                  <a:pt x="10868" y="1578"/>
                  <a:pt x="10889" y="1621"/>
                </a:cubicBezTo>
                <a:cubicBezTo>
                  <a:pt x="10849" y="1635"/>
                  <a:pt x="10644" y="1653"/>
                  <a:pt x="10590" y="1617"/>
                </a:cubicBezTo>
                <a:cubicBezTo>
                  <a:pt x="10607" y="1602"/>
                  <a:pt x="10622" y="1580"/>
                  <a:pt x="10634" y="1552"/>
                </a:cubicBezTo>
                <a:cubicBezTo>
                  <a:pt x="10580" y="1475"/>
                  <a:pt x="10519" y="1438"/>
                  <a:pt x="10450" y="1441"/>
                </a:cubicBezTo>
                <a:cubicBezTo>
                  <a:pt x="10531" y="1424"/>
                  <a:pt x="10345" y="1416"/>
                  <a:pt x="10317" y="1424"/>
                </a:cubicBezTo>
                <a:cubicBezTo>
                  <a:pt x="10190" y="1463"/>
                  <a:pt x="10078" y="1555"/>
                  <a:pt x="9956" y="1618"/>
                </a:cubicBezTo>
                <a:cubicBezTo>
                  <a:pt x="9927" y="1633"/>
                  <a:pt x="9966" y="1613"/>
                  <a:pt x="9956" y="1618"/>
                </a:cubicBezTo>
                <a:close/>
                <a:moveTo>
                  <a:pt x="9929" y="1543"/>
                </a:moveTo>
                <a:cubicBezTo>
                  <a:pt x="9974" y="1525"/>
                  <a:pt x="10014" y="1494"/>
                  <a:pt x="10050" y="1451"/>
                </a:cubicBezTo>
                <a:cubicBezTo>
                  <a:pt x="10045" y="1424"/>
                  <a:pt x="9794" y="1559"/>
                  <a:pt x="9801" y="1595"/>
                </a:cubicBezTo>
                <a:cubicBezTo>
                  <a:pt x="9845" y="1591"/>
                  <a:pt x="9888" y="1574"/>
                  <a:pt x="9929" y="1543"/>
                </a:cubicBezTo>
                <a:cubicBezTo>
                  <a:pt x="9998" y="1504"/>
                  <a:pt x="9860" y="1583"/>
                  <a:pt x="9929" y="1543"/>
                </a:cubicBezTo>
                <a:close/>
                <a:moveTo>
                  <a:pt x="8458" y="2722"/>
                </a:moveTo>
                <a:cubicBezTo>
                  <a:pt x="8713" y="2649"/>
                  <a:pt x="8960" y="2539"/>
                  <a:pt x="9190" y="2343"/>
                </a:cubicBezTo>
                <a:cubicBezTo>
                  <a:pt x="9189" y="2344"/>
                  <a:pt x="9188" y="2345"/>
                  <a:pt x="9187" y="2346"/>
                </a:cubicBezTo>
                <a:cubicBezTo>
                  <a:pt x="9193" y="2361"/>
                  <a:pt x="9203" y="2377"/>
                  <a:pt x="9208" y="2394"/>
                </a:cubicBezTo>
                <a:cubicBezTo>
                  <a:pt x="9114" y="2398"/>
                  <a:pt x="9036" y="2443"/>
                  <a:pt x="8963" y="2542"/>
                </a:cubicBezTo>
                <a:cubicBezTo>
                  <a:pt x="9074" y="2554"/>
                  <a:pt x="9184" y="2585"/>
                  <a:pt x="9297" y="2599"/>
                </a:cubicBezTo>
                <a:cubicBezTo>
                  <a:pt x="9255" y="2594"/>
                  <a:pt x="8938" y="2715"/>
                  <a:pt x="8936" y="2706"/>
                </a:cubicBezTo>
                <a:cubicBezTo>
                  <a:pt x="8936" y="2741"/>
                  <a:pt x="8942" y="2774"/>
                  <a:pt x="8956" y="2805"/>
                </a:cubicBezTo>
                <a:cubicBezTo>
                  <a:pt x="9103" y="2745"/>
                  <a:pt x="9448" y="2691"/>
                  <a:pt x="9582" y="2849"/>
                </a:cubicBezTo>
                <a:cubicBezTo>
                  <a:pt x="9551" y="2913"/>
                  <a:pt x="8856" y="2882"/>
                  <a:pt x="8862" y="2949"/>
                </a:cubicBezTo>
                <a:cubicBezTo>
                  <a:pt x="8874" y="3176"/>
                  <a:pt x="9180" y="3102"/>
                  <a:pt x="9149" y="3199"/>
                </a:cubicBezTo>
                <a:cubicBezTo>
                  <a:pt x="9065" y="3472"/>
                  <a:pt x="9738" y="3231"/>
                  <a:pt x="9834" y="3203"/>
                </a:cubicBezTo>
                <a:cubicBezTo>
                  <a:pt x="9865" y="3194"/>
                  <a:pt x="10026" y="3043"/>
                  <a:pt x="10058" y="3095"/>
                </a:cubicBezTo>
                <a:cubicBezTo>
                  <a:pt x="10131" y="3210"/>
                  <a:pt x="10234" y="3208"/>
                  <a:pt x="10328" y="3224"/>
                </a:cubicBezTo>
                <a:cubicBezTo>
                  <a:pt x="10400" y="3254"/>
                  <a:pt x="10469" y="3241"/>
                  <a:pt x="10535" y="3183"/>
                </a:cubicBezTo>
                <a:cubicBezTo>
                  <a:pt x="10533" y="3091"/>
                  <a:pt x="10553" y="3026"/>
                  <a:pt x="10596" y="2990"/>
                </a:cubicBezTo>
                <a:cubicBezTo>
                  <a:pt x="10666" y="2990"/>
                  <a:pt x="10750" y="3100"/>
                  <a:pt x="10786" y="2926"/>
                </a:cubicBezTo>
                <a:cubicBezTo>
                  <a:pt x="10764" y="2916"/>
                  <a:pt x="10516" y="2683"/>
                  <a:pt x="10523" y="2679"/>
                </a:cubicBezTo>
                <a:cubicBezTo>
                  <a:pt x="10641" y="2630"/>
                  <a:pt x="10784" y="2190"/>
                  <a:pt x="10609" y="2151"/>
                </a:cubicBezTo>
                <a:cubicBezTo>
                  <a:pt x="10498" y="2126"/>
                  <a:pt x="10454" y="2148"/>
                  <a:pt x="10396" y="2332"/>
                </a:cubicBezTo>
                <a:cubicBezTo>
                  <a:pt x="10338" y="2519"/>
                  <a:pt x="10278" y="2435"/>
                  <a:pt x="10222" y="2522"/>
                </a:cubicBezTo>
                <a:cubicBezTo>
                  <a:pt x="10476" y="2095"/>
                  <a:pt x="10069" y="2345"/>
                  <a:pt x="10009" y="2333"/>
                </a:cubicBezTo>
                <a:cubicBezTo>
                  <a:pt x="10021" y="2307"/>
                  <a:pt x="10032" y="2281"/>
                  <a:pt x="10044" y="2255"/>
                </a:cubicBezTo>
                <a:cubicBezTo>
                  <a:pt x="10057" y="2163"/>
                  <a:pt x="9691" y="2285"/>
                  <a:pt x="9691" y="2285"/>
                </a:cubicBezTo>
                <a:cubicBezTo>
                  <a:pt x="9712" y="2219"/>
                  <a:pt x="9831" y="2217"/>
                  <a:pt x="9823" y="2128"/>
                </a:cubicBezTo>
                <a:cubicBezTo>
                  <a:pt x="9715" y="2115"/>
                  <a:pt x="9720" y="1894"/>
                  <a:pt x="9581" y="1939"/>
                </a:cubicBezTo>
                <a:cubicBezTo>
                  <a:pt x="9442" y="1983"/>
                  <a:pt x="9346" y="1886"/>
                  <a:pt x="9211" y="1897"/>
                </a:cubicBezTo>
                <a:cubicBezTo>
                  <a:pt x="9072" y="1909"/>
                  <a:pt x="8936" y="1863"/>
                  <a:pt x="8874" y="2049"/>
                </a:cubicBezTo>
                <a:cubicBezTo>
                  <a:pt x="8829" y="2186"/>
                  <a:pt x="8709" y="2205"/>
                  <a:pt x="8630" y="2247"/>
                </a:cubicBezTo>
                <a:cubicBezTo>
                  <a:pt x="8639" y="2268"/>
                  <a:pt x="8634" y="2283"/>
                  <a:pt x="8637" y="2305"/>
                </a:cubicBezTo>
                <a:cubicBezTo>
                  <a:pt x="8541" y="2315"/>
                  <a:pt x="8399" y="2404"/>
                  <a:pt x="8326" y="2501"/>
                </a:cubicBezTo>
                <a:cubicBezTo>
                  <a:pt x="8414" y="2519"/>
                  <a:pt x="8476" y="2553"/>
                  <a:pt x="8458" y="2722"/>
                </a:cubicBezTo>
                <a:cubicBezTo>
                  <a:pt x="8561" y="2693"/>
                  <a:pt x="8476" y="2553"/>
                  <a:pt x="8458" y="2722"/>
                </a:cubicBezTo>
                <a:close/>
                <a:moveTo>
                  <a:pt x="10788" y="2920"/>
                </a:moveTo>
                <a:cubicBezTo>
                  <a:pt x="10788" y="2922"/>
                  <a:pt x="10787" y="2924"/>
                  <a:pt x="10786" y="2926"/>
                </a:cubicBezTo>
                <a:cubicBezTo>
                  <a:pt x="10787" y="2926"/>
                  <a:pt x="10788" y="2927"/>
                  <a:pt x="10788" y="2927"/>
                </a:cubicBezTo>
                <a:lnTo>
                  <a:pt x="10788" y="2920"/>
                </a:lnTo>
                <a:cubicBezTo>
                  <a:pt x="10788" y="2922"/>
                  <a:pt x="10788" y="2920"/>
                  <a:pt x="10788" y="2920"/>
                </a:cubicBezTo>
                <a:close/>
                <a:moveTo>
                  <a:pt x="14845" y="3703"/>
                </a:moveTo>
                <a:cubicBezTo>
                  <a:pt x="14830" y="3644"/>
                  <a:pt x="14818" y="3583"/>
                  <a:pt x="14809" y="3521"/>
                </a:cubicBezTo>
                <a:cubicBezTo>
                  <a:pt x="14759" y="3396"/>
                  <a:pt x="14636" y="3491"/>
                  <a:pt x="14569" y="3423"/>
                </a:cubicBezTo>
                <a:cubicBezTo>
                  <a:pt x="14417" y="3268"/>
                  <a:pt x="14634" y="3177"/>
                  <a:pt x="14687" y="3172"/>
                </a:cubicBezTo>
                <a:cubicBezTo>
                  <a:pt x="14685" y="3065"/>
                  <a:pt x="14562" y="3082"/>
                  <a:pt x="14562" y="3077"/>
                </a:cubicBezTo>
                <a:cubicBezTo>
                  <a:pt x="14566" y="2987"/>
                  <a:pt x="14661" y="3020"/>
                  <a:pt x="14691" y="3017"/>
                </a:cubicBezTo>
                <a:cubicBezTo>
                  <a:pt x="14715" y="2752"/>
                  <a:pt x="14458" y="2797"/>
                  <a:pt x="14398" y="2674"/>
                </a:cubicBezTo>
                <a:cubicBezTo>
                  <a:pt x="14297" y="2466"/>
                  <a:pt x="14274" y="2638"/>
                  <a:pt x="14138" y="2603"/>
                </a:cubicBezTo>
                <a:cubicBezTo>
                  <a:pt x="14105" y="2594"/>
                  <a:pt x="14091" y="2278"/>
                  <a:pt x="13930" y="2278"/>
                </a:cubicBezTo>
                <a:cubicBezTo>
                  <a:pt x="14160" y="2286"/>
                  <a:pt x="13539" y="1693"/>
                  <a:pt x="13605" y="2213"/>
                </a:cubicBezTo>
                <a:cubicBezTo>
                  <a:pt x="13613" y="2280"/>
                  <a:pt x="13730" y="2294"/>
                  <a:pt x="13757" y="2284"/>
                </a:cubicBezTo>
                <a:cubicBezTo>
                  <a:pt x="13706" y="2303"/>
                  <a:pt x="13443" y="2317"/>
                  <a:pt x="13420" y="2417"/>
                </a:cubicBezTo>
                <a:cubicBezTo>
                  <a:pt x="13454" y="2272"/>
                  <a:pt x="13709" y="1960"/>
                  <a:pt x="13401" y="2025"/>
                </a:cubicBezTo>
                <a:cubicBezTo>
                  <a:pt x="13347" y="2036"/>
                  <a:pt x="12807" y="2150"/>
                  <a:pt x="12973" y="2372"/>
                </a:cubicBezTo>
                <a:cubicBezTo>
                  <a:pt x="12938" y="2360"/>
                  <a:pt x="12807" y="2406"/>
                  <a:pt x="12832" y="2524"/>
                </a:cubicBezTo>
                <a:cubicBezTo>
                  <a:pt x="12710" y="2551"/>
                  <a:pt x="12996" y="2011"/>
                  <a:pt x="13152" y="2009"/>
                </a:cubicBezTo>
                <a:cubicBezTo>
                  <a:pt x="12916" y="2012"/>
                  <a:pt x="12718" y="2051"/>
                  <a:pt x="12507" y="2247"/>
                </a:cubicBezTo>
                <a:cubicBezTo>
                  <a:pt x="12356" y="2388"/>
                  <a:pt x="12233" y="2628"/>
                  <a:pt x="12496" y="2640"/>
                </a:cubicBezTo>
                <a:cubicBezTo>
                  <a:pt x="12501" y="2651"/>
                  <a:pt x="12507" y="2672"/>
                  <a:pt x="12508" y="2684"/>
                </a:cubicBezTo>
                <a:cubicBezTo>
                  <a:pt x="12039" y="2720"/>
                  <a:pt x="12531" y="2917"/>
                  <a:pt x="12735" y="2949"/>
                </a:cubicBezTo>
                <a:cubicBezTo>
                  <a:pt x="12874" y="2971"/>
                  <a:pt x="13393" y="3167"/>
                  <a:pt x="13399" y="2806"/>
                </a:cubicBezTo>
                <a:cubicBezTo>
                  <a:pt x="13466" y="2814"/>
                  <a:pt x="13468" y="2945"/>
                  <a:pt x="13483" y="3002"/>
                </a:cubicBezTo>
                <a:cubicBezTo>
                  <a:pt x="13509" y="2983"/>
                  <a:pt x="13523" y="2978"/>
                  <a:pt x="13552" y="3004"/>
                </a:cubicBezTo>
                <a:cubicBezTo>
                  <a:pt x="13544" y="3015"/>
                  <a:pt x="13540" y="3024"/>
                  <a:pt x="13526" y="3022"/>
                </a:cubicBezTo>
                <a:cubicBezTo>
                  <a:pt x="13583" y="3103"/>
                  <a:pt x="13975" y="3558"/>
                  <a:pt x="13787" y="3676"/>
                </a:cubicBezTo>
                <a:cubicBezTo>
                  <a:pt x="13689" y="3737"/>
                  <a:pt x="13620" y="3857"/>
                  <a:pt x="13513" y="3899"/>
                </a:cubicBezTo>
                <a:cubicBezTo>
                  <a:pt x="13386" y="3949"/>
                  <a:pt x="13559" y="4129"/>
                  <a:pt x="13451" y="4130"/>
                </a:cubicBezTo>
                <a:cubicBezTo>
                  <a:pt x="13251" y="4132"/>
                  <a:pt x="13070" y="4129"/>
                  <a:pt x="12906" y="4244"/>
                </a:cubicBezTo>
                <a:cubicBezTo>
                  <a:pt x="12617" y="4449"/>
                  <a:pt x="13323" y="4431"/>
                  <a:pt x="13292" y="4325"/>
                </a:cubicBezTo>
                <a:cubicBezTo>
                  <a:pt x="13296" y="4354"/>
                  <a:pt x="13301" y="4384"/>
                  <a:pt x="13305" y="4414"/>
                </a:cubicBezTo>
                <a:cubicBezTo>
                  <a:pt x="13334" y="4386"/>
                  <a:pt x="13513" y="4535"/>
                  <a:pt x="13543" y="4612"/>
                </a:cubicBezTo>
                <a:cubicBezTo>
                  <a:pt x="13561" y="4658"/>
                  <a:pt x="13446" y="4615"/>
                  <a:pt x="13484" y="4762"/>
                </a:cubicBezTo>
                <a:cubicBezTo>
                  <a:pt x="13504" y="4844"/>
                  <a:pt x="13682" y="4932"/>
                  <a:pt x="13705" y="4822"/>
                </a:cubicBezTo>
                <a:cubicBezTo>
                  <a:pt x="13671" y="4983"/>
                  <a:pt x="13904" y="5050"/>
                  <a:pt x="13968" y="5073"/>
                </a:cubicBezTo>
                <a:cubicBezTo>
                  <a:pt x="14189" y="5151"/>
                  <a:pt x="13892" y="4680"/>
                  <a:pt x="13879" y="4622"/>
                </a:cubicBezTo>
                <a:cubicBezTo>
                  <a:pt x="14050" y="4744"/>
                  <a:pt x="14339" y="5017"/>
                  <a:pt x="14391" y="4535"/>
                </a:cubicBezTo>
                <a:cubicBezTo>
                  <a:pt x="14398" y="4469"/>
                  <a:pt x="14359" y="4290"/>
                  <a:pt x="14325" y="4275"/>
                </a:cubicBezTo>
                <a:cubicBezTo>
                  <a:pt x="14117" y="4185"/>
                  <a:pt x="14320" y="4031"/>
                  <a:pt x="14265" y="3892"/>
                </a:cubicBezTo>
                <a:cubicBezTo>
                  <a:pt x="14331" y="3906"/>
                  <a:pt x="14429" y="3807"/>
                  <a:pt x="14451" y="3995"/>
                </a:cubicBezTo>
                <a:cubicBezTo>
                  <a:pt x="14473" y="3993"/>
                  <a:pt x="14497" y="3999"/>
                  <a:pt x="14519" y="4006"/>
                </a:cubicBezTo>
                <a:cubicBezTo>
                  <a:pt x="14394" y="4217"/>
                  <a:pt x="14802" y="4398"/>
                  <a:pt x="14726" y="4048"/>
                </a:cubicBezTo>
                <a:cubicBezTo>
                  <a:pt x="14755" y="4180"/>
                  <a:pt x="14950" y="3962"/>
                  <a:pt x="14989" y="3922"/>
                </a:cubicBezTo>
                <a:cubicBezTo>
                  <a:pt x="15173" y="3728"/>
                  <a:pt x="14884" y="3767"/>
                  <a:pt x="14845" y="3703"/>
                </a:cubicBezTo>
                <a:cubicBezTo>
                  <a:pt x="14822" y="3666"/>
                  <a:pt x="14895" y="3785"/>
                  <a:pt x="14845" y="3703"/>
                </a:cubicBezTo>
                <a:close/>
                <a:moveTo>
                  <a:pt x="14709" y="9160"/>
                </a:moveTo>
                <a:cubicBezTo>
                  <a:pt x="14617" y="9033"/>
                  <a:pt x="14757" y="8993"/>
                  <a:pt x="14735" y="8951"/>
                </a:cubicBezTo>
                <a:cubicBezTo>
                  <a:pt x="14705" y="8936"/>
                  <a:pt x="14678" y="8912"/>
                  <a:pt x="14654" y="8877"/>
                </a:cubicBezTo>
                <a:cubicBezTo>
                  <a:pt x="14645" y="8834"/>
                  <a:pt x="14712" y="8712"/>
                  <a:pt x="14720" y="8737"/>
                </a:cubicBezTo>
                <a:cubicBezTo>
                  <a:pt x="14673" y="8602"/>
                  <a:pt x="14427" y="8759"/>
                  <a:pt x="14423" y="8631"/>
                </a:cubicBezTo>
                <a:cubicBezTo>
                  <a:pt x="14420" y="8551"/>
                  <a:pt x="14494" y="8592"/>
                  <a:pt x="14491" y="8520"/>
                </a:cubicBezTo>
                <a:cubicBezTo>
                  <a:pt x="14489" y="8427"/>
                  <a:pt x="14265" y="8564"/>
                  <a:pt x="14263" y="8596"/>
                </a:cubicBezTo>
                <a:cubicBezTo>
                  <a:pt x="14276" y="8366"/>
                  <a:pt x="14607" y="8284"/>
                  <a:pt x="14588" y="8067"/>
                </a:cubicBezTo>
                <a:cubicBezTo>
                  <a:pt x="14565" y="8063"/>
                  <a:pt x="14543" y="8064"/>
                  <a:pt x="14521" y="8070"/>
                </a:cubicBezTo>
                <a:cubicBezTo>
                  <a:pt x="14776" y="7847"/>
                  <a:pt x="14659" y="7551"/>
                  <a:pt x="14538" y="7316"/>
                </a:cubicBezTo>
                <a:cubicBezTo>
                  <a:pt x="14743" y="7252"/>
                  <a:pt x="14251" y="6972"/>
                  <a:pt x="14256" y="6975"/>
                </a:cubicBezTo>
                <a:cubicBezTo>
                  <a:pt x="14276" y="6839"/>
                  <a:pt x="14185" y="6792"/>
                  <a:pt x="14146" y="6708"/>
                </a:cubicBezTo>
                <a:cubicBezTo>
                  <a:pt x="14293" y="6548"/>
                  <a:pt x="14221" y="6508"/>
                  <a:pt x="14189" y="6241"/>
                </a:cubicBezTo>
                <a:cubicBezTo>
                  <a:pt x="14155" y="6035"/>
                  <a:pt x="14161" y="5747"/>
                  <a:pt x="14078" y="5572"/>
                </a:cubicBezTo>
                <a:cubicBezTo>
                  <a:pt x="14009" y="5430"/>
                  <a:pt x="13720" y="5958"/>
                  <a:pt x="13655" y="6014"/>
                </a:cubicBezTo>
                <a:cubicBezTo>
                  <a:pt x="13467" y="6177"/>
                  <a:pt x="13538" y="5901"/>
                  <a:pt x="13365" y="5914"/>
                </a:cubicBezTo>
                <a:cubicBezTo>
                  <a:pt x="13393" y="5777"/>
                  <a:pt x="13582" y="5311"/>
                  <a:pt x="13382" y="5311"/>
                </a:cubicBezTo>
                <a:cubicBezTo>
                  <a:pt x="13337" y="5205"/>
                  <a:pt x="13181" y="4950"/>
                  <a:pt x="13074" y="4950"/>
                </a:cubicBezTo>
                <a:cubicBezTo>
                  <a:pt x="12932" y="4950"/>
                  <a:pt x="12559" y="4824"/>
                  <a:pt x="12498" y="5066"/>
                </a:cubicBezTo>
                <a:cubicBezTo>
                  <a:pt x="12436" y="5312"/>
                  <a:pt x="12366" y="5348"/>
                  <a:pt x="12232" y="5505"/>
                </a:cubicBezTo>
                <a:cubicBezTo>
                  <a:pt x="12278" y="5508"/>
                  <a:pt x="12342" y="5589"/>
                  <a:pt x="12376" y="5589"/>
                </a:cubicBezTo>
                <a:cubicBezTo>
                  <a:pt x="12386" y="5589"/>
                  <a:pt x="12082" y="5973"/>
                  <a:pt x="12079" y="5992"/>
                </a:cubicBezTo>
                <a:cubicBezTo>
                  <a:pt x="12065" y="6088"/>
                  <a:pt x="12148" y="6179"/>
                  <a:pt x="12170" y="6244"/>
                </a:cubicBezTo>
                <a:cubicBezTo>
                  <a:pt x="12230" y="6420"/>
                  <a:pt x="12126" y="6638"/>
                  <a:pt x="12052" y="6744"/>
                </a:cubicBezTo>
                <a:cubicBezTo>
                  <a:pt x="11913" y="6941"/>
                  <a:pt x="11636" y="6905"/>
                  <a:pt x="11529" y="7118"/>
                </a:cubicBezTo>
                <a:cubicBezTo>
                  <a:pt x="11488" y="7201"/>
                  <a:pt x="11474" y="7527"/>
                  <a:pt x="11462" y="7635"/>
                </a:cubicBezTo>
                <a:cubicBezTo>
                  <a:pt x="11441" y="7818"/>
                  <a:pt x="11395" y="7837"/>
                  <a:pt x="11343" y="7990"/>
                </a:cubicBezTo>
                <a:cubicBezTo>
                  <a:pt x="11289" y="7895"/>
                  <a:pt x="11238" y="8061"/>
                  <a:pt x="11184" y="8067"/>
                </a:cubicBezTo>
                <a:cubicBezTo>
                  <a:pt x="11057" y="8067"/>
                  <a:pt x="11066" y="7164"/>
                  <a:pt x="11251" y="7164"/>
                </a:cubicBezTo>
                <a:lnTo>
                  <a:pt x="11266" y="7164"/>
                </a:lnTo>
                <a:lnTo>
                  <a:pt x="11283" y="7016"/>
                </a:lnTo>
                <a:cubicBezTo>
                  <a:pt x="11094" y="6863"/>
                  <a:pt x="10853" y="6979"/>
                  <a:pt x="10681" y="6719"/>
                </a:cubicBezTo>
                <a:cubicBezTo>
                  <a:pt x="10511" y="6465"/>
                  <a:pt x="10435" y="6343"/>
                  <a:pt x="10189" y="6421"/>
                </a:cubicBezTo>
                <a:lnTo>
                  <a:pt x="10260" y="5959"/>
                </a:lnTo>
                <a:lnTo>
                  <a:pt x="10095" y="5959"/>
                </a:lnTo>
                <a:cubicBezTo>
                  <a:pt x="10151" y="5660"/>
                  <a:pt x="10333" y="5500"/>
                  <a:pt x="10477" y="5337"/>
                </a:cubicBezTo>
                <a:cubicBezTo>
                  <a:pt x="10523" y="5292"/>
                  <a:pt x="10894" y="4998"/>
                  <a:pt x="10896" y="4941"/>
                </a:cubicBezTo>
                <a:cubicBezTo>
                  <a:pt x="10959" y="4928"/>
                  <a:pt x="11163" y="4901"/>
                  <a:pt x="11122" y="4713"/>
                </a:cubicBezTo>
                <a:cubicBezTo>
                  <a:pt x="11227" y="4726"/>
                  <a:pt x="11873" y="4466"/>
                  <a:pt x="11831" y="4221"/>
                </a:cubicBezTo>
                <a:cubicBezTo>
                  <a:pt x="11864" y="4202"/>
                  <a:pt x="11899" y="4192"/>
                  <a:pt x="11931" y="4166"/>
                </a:cubicBezTo>
                <a:cubicBezTo>
                  <a:pt x="11885" y="4242"/>
                  <a:pt x="11632" y="4531"/>
                  <a:pt x="11610" y="4604"/>
                </a:cubicBezTo>
                <a:cubicBezTo>
                  <a:pt x="11666" y="4619"/>
                  <a:pt x="11731" y="4582"/>
                  <a:pt x="11790" y="4586"/>
                </a:cubicBezTo>
                <a:cubicBezTo>
                  <a:pt x="11799" y="4643"/>
                  <a:pt x="11765" y="4669"/>
                  <a:pt x="11764" y="4719"/>
                </a:cubicBezTo>
                <a:cubicBezTo>
                  <a:pt x="11882" y="4755"/>
                  <a:pt x="12100" y="4427"/>
                  <a:pt x="12194" y="4524"/>
                </a:cubicBezTo>
                <a:cubicBezTo>
                  <a:pt x="12189" y="4519"/>
                  <a:pt x="12517" y="4797"/>
                  <a:pt x="12468" y="4545"/>
                </a:cubicBezTo>
                <a:cubicBezTo>
                  <a:pt x="12458" y="4494"/>
                  <a:pt x="12362" y="4471"/>
                  <a:pt x="12346" y="4511"/>
                </a:cubicBezTo>
                <a:cubicBezTo>
                  <a:pt x="12443" y="4268"/>
                  <a:pt x="12176" y="4299"/>
                  <a:pt x="12160" y="4129"/>
                </a:cubicBezTo>
                <a:cubicBezTo>
                  <a:pt x="12135" y="4142"/>
                  <a:pt x="12110" y="4155"/>
                  <a:pt x="12086" y="4168"/>
                </a:cubicBezTo>
                <a:cubicBezTo>
                  <a:pt x="12088" y="4121"/>
                  <a:pt x="12095" y="4077"/>
                  <a:pt x="12108" y="4035"/>
                </a:cubicBezTo>
                <a:cubicBezTo>
                  <a:pt x="12091" y="4025"/>
                  <a:pt x="12073" y="4026"/>
                  <a:pt x="12055" y="4033"/>
                </a:cubicBezTo>
                <a:cubicBezTo>
                  <a:pt x="12064" y="4008"/>
                  <a:pt x="12065" y="3982"/>
                  <a:pt x="12058" y="3954"/>
                </a:cubicBezTo>
                <a:cubicBezTo>
                  <a:pt x="12123" y="3937"/>
                  <a:pt x="12112" y="4012"/>
                  <a:pt x="12172" y="4034"/>
                </a:cubicBezTo>
                <a:cubicBezTo>
                  <a:pt x="12209" y="4153"/>
                  <a:pt x="12359" y="4254"/>
                  <a:pt x="12315" y="4049"/>
                </a:cubicBezTo>
                <a:cubicBezTo>
                  <a:pt x="12331" y="4043"/>
                  <a:pt x="12343" y="4028"/>
                  <a:pt x="12349" y="4004"/>
                </a:cubicBezTo>
                <a:cubicBezTo>
                  <a:pt x="12448" y="4054"/>
                  <a:pt x="12868" y="3767"/>
                  <a:pt x="12772" y="3542"/>
                </a:cubicBezTo>
                <a:lnTo>
                  <a:pt x="12798" y="3528"/>
                </a:lnTo>
                <a:cubicBezTo>
                  <a:pt x="12795" y="3501"/>
                  <a:pt x="12790" y="3469"/>
                  <a:pt x="12782" y="3445"/>
                </a:cubicBezTo>
                <a:cubicBezTo>
                  <a:pt x="12837" y="3455"/>
                  <a:pt x="12967" y="3438"/>
                  <a:pt x="12958" y="3307"/>
                </a:cubicBezTo>
                <a:cubicBezTo>
                  <a:pt x="12957" y="3286"/>
                  <a:pt x="12912" y="3085"/>
                  <a:pt x="12912" y="3127"/>
                </a:cubicBezTo>
                <a:cubicBezTo>
                  <a:pt x="12847" y="2986"/>
                  <a:pt x="12622" y="2945"/>
                  <a:pt x="12525" y="3031"/>
                </a:cubicBezTo>
                <a:cubicBezTo>
                  <a:pt x="12489" y="3062"/>
                  <a:pt x="12429" y="3255"/>
                  <a:pt x="12447" y="3255"/>
                </a:cubicBezTo>
                <a:cubicBezTo>
                  <a:pt x="12403" y="3310"/>
                  <a:pt x="12326" y="3392"/>
                  <a:pt x="12276" y="3456"/>
                </a:cubicBezTo>
                <a:cubicBezTo>
                  <a:pt x="12218" y="3448"/>
                  <a:pt x="12089" y="3491"/>
                  <a:pt x="12104" y="3620"/>
                </a:cubicBezTo>
                <a:cubicBezTo>
                  <a:pt x="11972" y="3754"/>
                  <a:pt x="12055" y="3511"/>
                  <a:pt x="12053" y="3550"/>
                </a:cubicBezTo>
                <a:cubicBezTo>
                  <a:pt x="12194" y="3550"/>
                  <a:pt x="12175" y="2901"/>
                  <a:pt x="11880" y="3290"/>
                </a:cubicBezTo>
                <a:cubicBezTo>
                  <a:pt x="11885" y="3266"/>
                  <a:pt x="11886" y="3242"/>
                  <a:pt x="11883" y="3218"/>
                </a:cubicBezTo>
                <a:cubicBezTo>
                  <a:pt x="11937" y="3192"/>
                  <a:pt x="11962" y="3160"/>
                  <a:pt x="11962" y="3116"/>
                </a:cubicBezTo>
                <a:cubicBezTo>
                  <a:pt x="11960" y="3072"/>
                  <a:pt x="11940" y="3025"/>
                  <a:pt x="11890" y="3023"/>
                </a:cubicBezTo>
                <a:cubicBezTo>
                  <a:pt x="11973" y="2946"/>
                  <a:pt x="11928" y="2887"/>
                  <a:pt x="11897" y="2792"/>
                </a:cubicBezTo>
                <a:cubicBezTo>
                  <a:pt x="11923" y="2686"/>
                  <a:pt x="11966" y="2648"/>
                  <a:pt x="11896" y="2538"/>
                </a:cubicBezTo>
                <a:cubicBezTo>
                  <a:pt x="12155" y="2423"/>
                  <a:pt x="12414" y="2194"/>
                  <a:pt x="12683" y="2064"/>
                </a:cubicBezTo>
                <a:cubicBezTo>
                  <a:pt x="12497" y="1923"/>
                  <a:pt x="12275" y="1832"/>
                  <a:pt x="12074" y="1942"/>
                </a:cubicBezTo>
                <a:cubicBezTo>
                  <a:pt x="11870" y="2053"/>
                  <a:pt x="11809" y="2410"/>
                  <a:pt x="11617" y="2516"/>
                </a:cubicBezTo>
                <a:cubicBezTo>
                  <a:pt x="11637" y="2485"/>
                  <a:pt x="11711" y="2388"/>
                  <a:pt x="11713" y="2336"/>
                </a:cubicBezTo>
                <a:cubicBezTo>
                  <a:pt x="11702" y="2340"/>
                  <a:pt x="11686" y="2329"/>
                  <a:pt x="11677" y="2329"/>
                </a:cubicBezTo>
                <a:cubicBezTo>
                  <a:pt x="11686" y="2307"/>
                  <a:pt x="11682" y="2293"/>
                  <a:pt x="11685" y="2269"/>
                </a:cubicBezTo>
                <a:cubicBezTo>
                  <a:pt x="11662" y="2273"/>
                  <a:pt x="11644" y="2265"/>
                  <a:pt x="11630" y="2243"/>
                </a:cubicBezTo>
                <a:cubicBezTo>
                  <a:pt x="11658" y="2212"/>
                  <a:pt x="11851" y="2141"/>
                  <a:pt x="11835" y="2053"/>
                </a:cubicBezTo>
                <a:cubicBezTo>
                  <a:pt x="11814" y="1936"/>
                  <a:pt x="11510" y="2066"/>
                  <a:pt x="11468" y="2073"/>
                </a:cubicBezTo>
                <a:cubicBezTo>
                  <a:pt x="11212" y="2115"/>
                  <a:pt x="11441" y="2211"/>
                  <a:pt x="11298" y="2321"/>
                </a:cubicBezTo>
                <a:cubicBezTo>
                  <a:pt x="11252" y="2357"/>
                  <a:pt x="11067" y="2097"/>
                  <a:pt x="11074" y="2352"/>
                </a:cubicBezTo>
                <a:cubicBezTo>
                  <a:pt x="11077" y="2447"/>
                  <a:pt x="11215" y="2513"/>
                  <a:pt x="11244" y="2664"/>
                </a:cubicBezTo>
                <a:cubicBezTo>
                  <a:pt x="11346" y="2689"/>
                  <a:pt x="11433" y="2586"/>
                  <a:pt x="11533" y="2565"/>
                </a:cubicBezTo>
                <a:cubicBezTo>
                  <a:pt x="11355" y="2678"/>
                  <a:pt x="11253" y="2955"/>
                  <a:pt x="11404" y="3165"/>
                </a:cubicBezTo>
                <a:cubicBezTo>
                  <a:pt x="11351" y="3210"/>
                  <a:pt x="11314" y="3245"/>
                  <a:pt x="11310" y="3351"/>
                </a:cubicBezTo>
                <a:lnTo>
                  <a:pt x="11336" y="3364"/>
                </a:lnTo>
                <a:cubicBezTo>
                  <a:pt x="11179" y="3430"/>
                  <a:pt x="11147" y="3493"/>
                  <a:pt x="11033" y="3630"/>
                </a:cubicBezTo>
                <a:cubicBezTo>
                  <a:pt x="11033" y="3630"/>
                  <a:pt x="11033" y="3630"/>
                  <a:pt x="11033" y="3630"/>
                </a:cubicBezTo>
                <a:cubicBezTo>
                  <a:pt x="11061" y="3545"/>
                  <a:pt x="11117" y="3452"/>
                  <a:pt x="11050" y="3363"/>
                </a:cubicBezTo>
                <a:cubicBezTo>
                  <a:pt x="11125" y="3368"/>
                  <a:pt x="11195" y="3337"/>
                  <a:pt x="11259" y="3272"/>
                </a:cubicBezTo>
                <a:cubicBezTo>
                  <a:pt x="11272" y="3258"/>
                  <a:pt x="11117" y="3018"/>
                  <a:pt x="11091" y="3018"/>
                </a:cubicBezTo>
                <a:cubicBezTo>
                  <a:pt x="11053" y="3018"/>
                  <a:pt x="10830" y="3190"/>
                  <a:pt x="10806" y="3256"/>
                </a:cubicBezTo>
                <a:cubicBezTo>
                  <a:pt x="10845" y="3272"/>
                  <a:pt x="10884" y="3290"/>
                  <a:pt x="10923" y="3309"/>
                </a:cubicBezTo>
                <a:cubicBezTo>
                  <a:pt x="10787" y="3310"/>
                  <a:pt x="10724" y="3477"/>
                  <a:pt x="10581" y="3471"/>
                </a:cubicBezTo>
                <a:cubicBezTo>
                  <a:pt x="10453" y="3498"/>
                  <a:pt x="10173" y="3554"/>
                  <a:pt x="10078" y="3374"/>
                </a:cubicBezTo>
                <a:cubicBezTo>
                  <a:pt x="10185" y="3130"/>
                  <a:pt x="9473" y="3169"/>
                  <a:pt x="9617" y="3516"/>
                </a:cubicBezTo>
                <a:cubicBezTo>
                  <a:pt x="9529" y="3631"/>
                  <a:pt x="9460" y="3480"/>
                  <a:pt x="9368" y="3462"/>
                </a:cubicBezTo>
                <a:cubicBezTo>
                  <a:pt x="9213" y="3481"/>
                  <a:pt x="9060" y="3554"/>
                  <a:pt x="8904" y="3532"/>
                </a:cubicBezTo>
                <a:cubicBezTo>
                  <a:pt x="9137" y="3401"/>
                  <a:pt x="9054" y="3181"/>
                  <a:pt x="8833" y="3214"/>
                </a:cubicBezTo>
                <a:cubicBezTo>
                  <a:pt x="8716" y="3230"/>
                  <a:pt x="8605" y="3153"/>
                  <a:pt x="8498" y="3083"/>
                </a:cubicBezTo>
                <a:cubicBezTo>
                  <a:pt x="8301" y="2955"/>
                  <a:pt x="8276" y="3049"/>
                  <a:pt x="8098" y="3063"/>
                </a:cubicBezTo>
                <a:cubicBezTo>
                  <a:pt x="8243" y="2744"/>
                  <a:pt x="7844" y="3070"/>
                  <a:pt x="7824" y="3072"/>
                </a:cubicBezTo>
                <a:cubicBezTo>
                  <a:pt x="7802" y="3026"/>
                  <a:pt x="7857" y="2925"/>
                  <a:pt x="7822" y="2862"/>
                </a:cubicBezTo>
                <a:cubicBezTo>
                  <a:pt x="7765" y="2758"/>
                  <a:pt x="7615" y="2889"/>
                  <a:pt x="7553" y="2920"/>
                </a:cubicBezTo>
                <a:cubicBezTo>
                  <a:pt x="7482" y="2703"/>
                  <a:pt x="7200" y="3025"/>
                  <a:pt x="7120" y="3025"/>
                </a:cubicBezTo>
                <a:cubicBezTo>
                  <a:pt x="7038" y="3025"/>
                  <a:pt x="6962" y="3004"/>
                  <a:pt x="6879" y="3011"/>
                </a:cubicBezTo>
                <a:cubicBezTo>
                  <a:pt x="6761" y="3020"/>
                  <a:pt x="6643" y="3147"/>
                  <a:pt x="6540" y="3158"/>
                </a:cubicBezTo>
                <a:cubicBezTo>
                  <a:pt x="6435" y="3288"/>
                  <a:pt x="6241" y="2969"/>
                  <a:pt x="6102" y="3002"/>
                </a:cubicBezTo>
                <a:cubicBezTo>
                  <a:pt x="5987" y="2699"/>
                  <a:pt x="5301" y="2658"/>
                  <a:pt x="5108" y="2660"/>
                </a:cubicBezTo>
                <a:lnTo>
                  <a:pt x="5166" y="2595"/>
                </a:lnTo>
                <a:cubicBezTo>
                  <a:pt x="4385" y="2334"/>
                  <a:pt x="3526" y="2801"/>
                  <a:pt x="2781" y="3187"/>
                </a:cubicBezTo>
                <a:cubicBezTo>
                  <a:pt x="2790" y="3245"/>
                  <a:pt x="2794" y="3305"/>
                  <a:pt x="2794" y="3364"/>
                </a:cubicBezTo>
                <a:cubicBezTo>
                  <a:pt x="2821" y="3360"/>
                  <a:pt x="2846" y="3381"/>
                  <a:pt x="2861" y="3411"/>
                </a:cubicBezTo>
                <a:cubicBezTo>
                  <a:pt x="2895" y="3481"/>
                  <a:pt x="2847" y="3560"/>
                  <a:pt x="2808" y="3586"/>
                </a:cubicBezTo>
                <a:cubicBezTo>
                  <a:pt x="2807" y="3616"/>
                  <a:pt x="2818" y="3636"/>
                  <a:pt x="2843" y="3646"/>
                </a:cubicBezTo>
                <a:cubicBezTo>
                  <a:pt x="2669" y="3610"/>
                  <a:pt x="2511" y="3697"/>
                  <a:pt x="2346" y="3775"/>
                </a:cubicBezTo>
                <a:cubicBezTo>
                  <a:pt x="2313" y="3790"/>
                  <a:pt x="1788" y="3962"/>
                  <a:pt x="2020" y="4078"/>
                </a:cubicBezTo>
                <a:cubicBezTo>
                  <a:pt x="1791" y="4457"/>
                  <a:pt x="2405" y="4349"/>
                  <a:pt x="2510" y="4285"/>
                </a:cubicBezTo>
                <a:cubicBezTo>
                  <a:pt x="2433" y="4611"/>
                  <a:pt x="1900" y="4586"/>
                  <a:pt x="1737" y="4688"/>
                </a:cubicBezTo>
                <a:cubicBezTo>
                  <a:pt x="1610" y="4807"/>
                  <a:pt x="1325" y="4847"/>
                  <a:pt x="1294" y="5135"/>
                </a:cubicBezTo>
                <a:cubicBezTo>
                  <a:pt x="1271" y="5347"/>
                  <a:pt x="1078" y="5786"/>
                  <a:pt x="1423" y="5569"/>
                </a:cubicBezTo>
                <a:cubicBezTo>
                  <a:pt x="1382" y="5665"/>
                  <a:pt x="1288" y="5766"/>
                  <a:pt x="1232" y="5830"/>
                </a:cubicBezTo>
                <a:lnTo>
                  <a:pt x="1247" y="5941"/>
                </a:lnTo>
                <a:cubicBezTo>
                  <a:pt x="1305" y="5949"/>
                  <a:pt x="1373" y="5942"/>
                  <a:pt x="1427" y="5909"/>
                </a:cubicBezTo>
                <a:cubicBezTo>
                  <a:pt x="1582" y="5813"/>
                  <a:pt x="1505" y="5986"/>
                  <a:pt x="1616" y="6015"/>
                </a:cubicBezTo>
                <a:cubicBezTo>
                  <a:pt x="1625" y="6015"/>
                  <a:pt x="1632" y="6012"/>
                  <a:pt x="1639" y="6008"/>
                </a:cubicBezTo>
                <a:cubicBezTo>
                  <a:pt x="1268" y="6350"/>
                  <a:pt x="877" y="6521"/>
                  <a:pt x="478" y="6743"/>
                </a:cubicBezTo>
                <a:cubicBezTo>
                  <a:pt x="343" y="6818"/>
                  <a:pt x="175" y="6809"/>
                  <a:pt x="54" y="6949"/>
                </a:cubicBezTo>
                <a:cubicBezTo>
                  <a:pt x="-154" y="7190"/>
                  <a:pt x="297" y="7025"/>
                  <a:pt x="344" y="7001"/>
                </a:cubicBezTo>
                <a:cubicBezTo>
                  <a:pt x="703" y="6820"/>
                  <a:pt x="1068" y="6689"/>
                  <a:pt x="1424" y="6508"/>
                </a:cubicBezTo>
                <a:cubicBezTo>
                  <a:pt x="1621" y="6408"/>
                  <a:pt x="2420" y="6068"/>
                  <a:pt x="2420" y="5738"/>
                </a:cubicBezTo>
                <a:cubicBezTo>
                  <a:pt x="2564" y="5669"/>
                  <a:pt x="2545" y="5757"/>
                  <a:pt x="2664" y="5770"/>
                </a:cubicBezTo>
                <a:cubicBezTo>
                  <a:pt x="2775" y="5884"/>
                  <a:pt x="2982" y="5669"/>
                  <a:pt x="3099" y="5635"/>
                </a:cubicBezTo>
                <a:cubicBezTo>
                  <a:pt x="3270" y="5586"/>
                  <a:pt x="3354" y="5471"/>
                  <a:pt x="3497" y="5332"/>
                </a:cubicBezTo>
                <a:cubicBezTo>
                  <a:pt x="3592" y="5239"/>
                  <a:pt x="3675" y="5420"/>
                  <a:pt x="3762" y="5453"/>
                </a:cubicBezTo>
                <a:cubicBezTo>
                  <a:pt x="3787" y="5623"/>
                  <a:pt x="4109" y="5610"/>
                  <a:pt x="4206" y="5651"/>
                </a:cubicBezTo>
                <a:cubicBezTo>
                  <a:pt x="4425" y="5745"/>
                  <a:pt x="4511" y="6181"/>
                  <a:pt x="4283" y="6388"/>
                </a:cubicBezTo>
                <a:cubicBezTo>
                  <a:pt x="4312" y="6399"/>
                  <a:pt x="4341" y="6409"/>
                  <a:pt x="4370" y="6418"/>
                </a:cubicBezTo>
                <a:cubicBezTo>
                  <a:pt x="4406" y="6521"/>
                  <a:pt x="4318" y="6634"/>
                  <a:pt x="4422" y="6661"/>
                </a:cubicBezTo>
                <a:cubicBezTo>
                  <a:pt x="4430" y="6629"/>
                  <a:pt x="4441" y="6599"/>
                  <a:pt x="4455" y="6573"/>
                </a:cubicBezTo>
                <a:cubicBezTo>
                  <a:pt x="4440" y="6630"/>
                  <a:pt x="4444" y="6678"/>
                  <a:pt x="4466" y="6718"/>
                </a:cubicBezTo>
                <a:cubicBezTo>
                  <a:pt x="4402" y="6900"/>
                  <a:pt x="4481" y="7268"/>
                  <a:pt x="4600" y="6983"/>
                </a:cubicBezTo>
                <a:cubicBezTo>
                  <a:pt x="4616" y="7025"/>
                  <a:pt x="4647" y="7029"/>
                  <a:pt x="4668" y="7000"/>
                </a:cubicBezTo>
                <a:cubicBezTo>
                  <a:pt x="4695" y="7165"/>
                  <a:pt x="4383" y="7512"/>
                  <a:pt x="4572" y="7612"/>
                </a:cubicBezTo>
                <a:cubicBezTo>
                  <a:pt x="4561" y="7639"/>
                  <a:pt x="4537" y="8189"/>
                  <a:pt x="4549" y="8218"/>
                </a:cubicBezTo>
                <a:cubicBezTo>
                  <a:pt x="4218" y="8052"/>
                  <a:pt x="4499" y="8766"/>
                  <a:pt x="4612" y="8908"/>
                </a:cubicBezTo>
                <a:cubicBezTo>
                  <a:pt x="4469" y="9248"/>
                  <a:pt x="4405" y="9703"/>
                  <a:pt x="4249" y="10060"/>
                </a:cubicBezTo>
                <a:cubicBezTo>
                  <a:pt x="4231" y="10103"/>
                  <a:pt x="3863" y="10724"/>
                  <a:pt x="3931" y="10838"/>
                </a:cubicBezTo>
                <a:cubicBezTo>
                  <a:pt x="3904" y="10875"/>
                  <a:pt x="3884" y="11006"/>
                  <a:pt x="3866" y="11057"/>
                </a:cubicBezTo>
                <a:lnTo>
                  <a:pt x="3907" y="11057"/>
                </a:lnTo>
                <a:cubicBezTo>
                  <a:pt x="3683" y="11057"/>
                  <a:pt x="3673" y="12226"/>
                  <a:pt x="3784" y="12411"/>
                </a:cubicBezTo>
                <a:cubicBezTo>
                  <a:pt x="3713" y="12506"/>
                  <a:pt x="3776" y="12866"/>
                  <a:pt x="3821" y="12952"/>
                </a:cubicBezTo>
                <a:cubicBezTo>
                  <a:pt x="3779" y="13102"/>
                  <a:pt x="3952" y="13349"/>
                  <a:pt x="4063" y="13322"/>
                </a:cubicBezTo>
                <a:cubicBezTo>
                  <a:pt x="4060" y="13338"/>
                  <a:pt x="4058" y="13354"/>
                  <a:pt x="4057" y="13370"/>
                </a:cubicBezTo>
                <a:lnTo>
                  <a:pt x="4087" y="13379"/>
                </a:lnTo>
                <a:lnTo>
                  <a:pt x="4093" y="13414"/>
                </a:lnTo>
                <a:cubicBezTo>
                  <a:pt x="4290" y="13490"/>
                  <a:pt x="4102" y="14174"/>
                  <a:pt x="4227" y="14378"/>
                </a:cubicBezTo>
                <a:cubicBezTo>
                  <a:pt x="4190" y="14488"/>
                  <a:pt x="4544" y="15231"/>
                  <a:pt x="4228" y="15052"/>
                </a:cubicBezTo>
                <a:cubicBezTo>
                  <a:pt x="4228" y="15090"/>
                  <a:pt x="4220" y="15124"/>
                  <a:pt x="4204" y="15151"/>
                </a:cubicBezTo>
                <a:cubicBezTo>
                  <a:pt x="4266" y="15264"/>
                  <a:pt x="4305" y="15363"/>
                  <a:pt x="4335" y="15505"/>
                </a:cubicBezTo>
                <a:lnTo>
                  <a:pt x="4346" y="15505"/>
                </a:lnTo>
                <a:cubicBezTo>
                  <a:pt x="4387" y="15457"/>
                  <a:pt x="4394" y="15543"/>
                  <a:pt x="4468" y="15503"/>
                </a:cubicBezTo>
                <a:cubicBezTo>
                  <a:pt x="4571" y="15800"/>
                  <a:pt x="4536" y="15834"/>
                  <a:pt x="4468" y="16154"/>
                </a:cubicBezTo>
                <a:cubicBezTo>
                  <a:pt x="4643" y="16085"/>
                  <a:pt x="4765" y="16495"/>
                  <a:pt x="4806" y="16709"/>
                </a:cubicBezTo>
                <a:cubicBezTo>
                  <a:pt x="5029" y="16623"/>
                  <a:pt x="4935" y="16305"/>
                  <a:pt x="4856" y="16081"/>
                </a:cubicBezTo>
                <a:lnTo>
                  <a:pt x="4819" y="16090"/>
                </a:lnTo>
                <a:cubicBezTo>
                  <a:pt x="4853" y="16027"/>
                  <a:pt x="4845" y="15950"/>
                  <a:pt x="4813" y="15895"/>
                </a:cubicBezTo>
                <a:lnTo>
                  <a:pt x="4799" y="15901"/>
                </a:lnTo>
                <a:cubicBezTo>
                  <a:pt x="4773" y="15687"/>
                  <a:pt x="4711" y="15463"/>
                  <a:pt x="4695" y="15267"/>
                </a:cubicBezTo>
                <a:cubicBezTo>
                  <a:pt x="4682" y="15104"/>
                  <a:pt x="4607" y="15059"/>
                  <a:pt x="4654" y="14857"/>
                </a:cubicBezTo>
                <a:cubicBezTo>
                  <a:pt x="4643" y="14858"/>
                  <a:pt x="4632" y="14860"/>
                  <a:pt x="4621" y="14862"/>
                </a:cubicBezTo>
                <a:cubicBezTo>
                  <a:pt x="4621" y="14691"/>
                  <a:pt x="4335" y="14165"/>
                  <a:pt x="4542" y="14004"/>
                </a:cubicBezTo>
                <a:cubicBezTo>
                  <a:pt x="4568" y="14048"/>
                  <a:pt x="4597" y="14053"/>
                  <a:pt x="4633" y="14051"/>
                </a:cubicBezTo>
                <a:cubicBezTo>
                  <a:pt x="4649" y="14091"/>
                  <a:pt x="4668" y="14112"/>
                  <a:pt x="4694" y="14132"/>
                </a:cubicBezTo>
                <a:cubicBezTo>
                  <a:pt x="4606" y="14386"/>
                  <a:pt x="4732" y="15046"/>
                  <a:pt x="4888" y="15146"/>
                </a:cubicBezTo>
                <a:cubicBezTo>
                  <a:pt x="4868" y="15243"/>
                  <a:pt x="4898" y="15358"/>
                  <a:pt x="4958" y="15388"/>
                </a:cubicBezTo>
                <a:cubicBezTo>
                  <a:pt x="4954" y="15472"/>
                  <a:pt x="4978" y="15520"/>
                  <a:pt x="5030" y="15518"/>
                </a:cubicBezTo>
                <a:cubicBezTo>
                  <a:pt x="5042" y="15595"/>
                  <a:pt x="4993" y="15742"/>
                  <a:pt x="4986" y="15835"/>
                </a:cubicBezTo>
                <a:cubicBezTo>
                  <a:pt x="5221" y="15896"/>
                  <a:pt x="5644" y="17047"/>
                  <a:pt x="5374" y="17327"/>
                </a:cubicBezTo>
                <a:lnTo>
                  <a:pt x="5386" y="17327"/>
                </a:lnTo>
                <a:cubicBezTo>
                  <a:pt x="5363" y="17683"/>
                  <a:pt x="5700" y="18230"/>
                  <a:pt x="5921" y="18189"/>
                </a:cubicBezTo>
                <a:cubicBezTo>
                  <a:pt x="6093" y="18316"/>
                  <a:pt x="6360" y="18812"/>
                  <a:pt x="6568" y="18812"/>
                </a:cubicBezTo>
                <a:cubicBezTo>
                  <a:pt x="6707" y="18812"/>
                  <a:pt x="6794" y="18936"/>
                  <a:pt x="6933" y="18803"/>
                </a:cubicBezTo>
                <a:cubicBezTo>
                  <a:pt x="7112" y="18634"/>
                  <a:pt x="7225" y="18901"/>
                  <a:pt x="7338" y="19138"/>
                </a:cubicBezTo>
                <a:lnTo>
                  <a:pt x="7320" y="19233"/>
                </a:lnTo>
                <a:cubicBezTo>
                  <a:pt x="7452" y="19457"/>
                  <a:pt x="7609" y="19414"/>
                  <a:pt x="7752" y="19578"/>
                </a:cubicBezTo>
                <a:lnTo>
                  <a:pt x="7747" y="19554"/>
                </a:lnTo>
                <a:cubicBezTo>
                  <a:pt x="7831" y="19616"/>
                  <a:pt x="7966" y="19734"/>
                  <a:pt x="8058" y="19655"/>
                </a:cubicBezTo>
                <a:cubicBezTo>
                  <a:pt x="8068" y="19696"/>
                  <a:pt x="8082" y="19732"/>
                  <a:pt x="8102" y="19765"/>
                </a:cubicBezTo>
                <a:cubicBezTo>
                  <a:pt x="8201" y="19848"/>
                  <a:pt x="8249" y="20070"/>
                  <a:pt x="8332" y="20197"/>
                </a:cubicBezTo>
                <a:cubicBezTo>
                  <a:pt x="8328" y="20204"/>
                  <a:pt x="8318" y="20232"/>
                  <a:pt x="8307" y="20232"/>
                </a:cubicBezTo>
                <a:cubicBezTo>
                  <a:pt x="8248" y="20232"/>
                  <a:pt x="8242" y="20374"/>
                  <a:pt x="8290" y="20404"/>
                </a:cubicBezTo>
                <a:cubicBezTo>
                  <a:pt x="8224" y="20558"/>
                  <a:pt x="8335" y="20723"/>
                  <a:pt x="8404" y="20797"/>
                </a:cubicBezTo>
                <a:lnTo>
                  <a:pt x="8421" y="20768"/>
                </a:lnTo>
                <a:lnTo>
                  <a:pt x="8440" y="20786"/>
                </a:lnTo>
                <a:cubicBezTo>
                  <a:pt x="8440" y="20786"/>
                  <a:pt x="8460" y="20734"/>
                  <a:pt x="8463" y="20726"/>
                </a:cubicBezTo>
                <a:cubicBezTo>
                  <a:pt x="8481" y="20791"/>
                  <a:pt x="8506" y="20812"/>
                  <a:pt x="8544" y="20833"/>
                </a:cubicBezTo>
                <a:cubicBezTo>
                  <a:pt x="8631" y="20882"/>
                  <a:pt x="8572" y="21016"/>
                  <a:pt x="8625" y="21113"/>
                </a:cubicBezTo>
                <a:cubicBezTo>
                  <a:pt x="8670" y="21195"/>
                  <a:pt x="8728" y="21169"/>
                  <a:pt x="8774" y="21125"/>
                </a:cubicBezTo>
                <a:cubicBezTo>
                  <a:pt x="8819" y="21180"/>
                  <a:pt x="8955" y="21104"/>
                  <a:pt x="8977" y="21190"/>
                </a:cubicBezTo>
                <a:cubicBezTo>
                  <a:pt x="8994" y="21268"/>
                  <a:pt x="9007" y="21360"/>
                  <a:pt x="9074" y="21327"/>
                </a:cubicBezTo>
                <a:cubicBezTo>
                  <a:pt x="9087" y="21499"/>
                  <a:pt x="9387" y="21534"/>
                  <a:pt x="9242" y="21147"/>
                </a:cubicBezTo>
                <a:cubicBezTo>
                  <a:pt x="9322" y="21112"/>
                  <a:pt x="9334" y="20930"/>
                  <a:pt x="9399" y="20930"/>
                </a:cubicBezTo>
                <a:cubicBezTo>
                  <a:pt x="9476" y="20930"/>
                  <a:pt x="9464" y="21056"/>
                  <a:pt x="9512" y="21099"/>
                </a:cubicBezTo>
                <a:cubicBezTo>
                  <a:pt x="9489" y="21140"/>
                  <a:pt x="9481" y="21184"/>
                  <a:pt x="9489" y="21232"/>
                </a:cubicBezTo>
                <a:cubicBezTo>
                  <a:pt x="9530" y="21294"/>
                  <a:pt x="9567" y="21378"/>
                  <a:pt x="9594" y="21465"/>
                </a:cubicBezTo>
                <a:cubicBezTo>
                  <a:pt x="9613" y="21444"/>
                  <a:pt x="9635" y="21429"/>
                  <a:pt x="9658" y="21420"/>
                </a:cubicBezTo>
                <a:cubicBezTo>
                  <a:pt x="9651" y="21406"/>
                  <a:pt x="9651" y="21393"/>
                  <a:pt x="9656" y="21381"/>
                </a:cubicBezTo>
                <a:lnTo>
                  <a:pt x="9663" y="21393"/>
                </a:lnTo>
                <a:cubicBezTo>
                  <a:pt x="9703" y="21371"/>
                  <a:pt x="9728" y="21327"/>
                  <a:pt x="9733" y="21262"/>
                </a:cubicBezTo>
                <a:lnTo>
                  <a:pt x="9788" y="21239"/>
                </a:lnTo>
                <a:lnTo>
                  <a:pt x="9727" y="21036"/>
                </a:lnTo>
                <a:lnTo>
                  <a:pt x="9751" y="20983"/>
                </a:lnTo>
                <a:cubicBezTo>
                  <a:pt x="9690" y="20841"/>
                  <a:pt x="9591" y="20668"/>
                  <a:pt x="9478" y="20685"/>
                </a:cubicBezTo>
                <a:cubicBezTo>
                  <a:pt x="9386" y="20387"/>
                  <a:pt x="9023" y="21216"/>
                  <a:pt x="8905" y="20641"/>
                </a:cubicBezTo>
                <a:lnTo>
                  <a:pt x="8820" y="20643"/>
                </a:lnTo>
                <a:cubicBezTo>
                  <a:pt x="8820" y="20643"/>
                  <a:pt x="8682" y="20417"/>
                  <a:pt x="8717" y="20417"/>
                </a:cubicBezTo>
                <a:cubicBezTo>
                  <a:pt x="8717" y="20417"/>
                  <a:pt x="8717" y="20417"/>
                  <a:pt x="8717" y="20417"/>
                </a:cubicBezTo>
                <a:cubicBezTo>
                  <a:pt x="8719" y="20417"/>
                  <a:pt x="8885" y="19093"/>
                  <a:pt x="8901" y="18934"/>
                </a:cubicBezTo>
                <a:cubicBezTo>
                  <a:pt x="8865" y="18931"/>
                  <a:pt x="8824" y="18936"/>
                  <a:pt x="8790" y="18958"/>
                </a:cubicBezTo>
                <a:cubicBezTo>
                  <a:pt x="8665" y="18803"/>
                  <a:pt x="8556" y="18836"/>
                  <a:pt x="8451" y="18742"/>
                </a:cubicBezTo>
                <a:cubicBezTo>
                  <a:pt x="8417" y="18712"/>
                  <a:pt x="8071" y="18740"/>
                  <a:pt x="8035" y="18773"/>
                </a:cubicBezTo>
                <a:cubicBezTo>
                  <a:pt x="8032" y="18768"/>
                  <a:pt x="8029" y="18763"/>
                  <a:pt x="8025" y="18757"/>
                </a:cubicBezTo>
                <a:cubicBezTo>
                  <a:pt x="8109" y="18574"/>
                  <a:pt x="8142" y="18312"/>
                  <a:pt x="8200" y="18110"/>
                </a:cubicBezTo>
                <a:cubicBezTo>
                  <a:pt x="8274" y="17968"/>
                  <a:pt x="8508" y="16969"/>
                  <a:pt x="8384" y="16969"/>
                </a:cubicBezTo>
                <a:cubicBezTo>
                  <a:pt x="8284" y="16969"/>
                  <a:pt x="8160" y="16997"/>
                  <a:pt x="8055" y="17030"/>
                </a:cubicBezTo>
                <a:cubicBezTo>
                  <a:pt x="7708" y="17115"/>
                  <a:pt x="7858" y="17667"/>
                  <a:pt x="7599" y="17812"/>
                </a:cubicBezTo>
                <a:cubicBezTo>
                  <a:pt x="7601" y="17840"/>
                  <a:pt x="7595" y="17864"/>
                  <a:pt x="7583" y="17884"/>
                </a:cubicBezTo>
                <a:lnTo>
                  <a:pt x="7589" y="17850"/>
                </a:lnTo>
                <a:cubicBezTo>
                  <a:pt x="7313" y="17803"/>
                  <a:pt x="7206" y="18092"/>
                  <a:pt x="6955" y="17842"/>
                </a:cubicBezTo>
                <a:cubicBezTo>
                  <a:pt x="6928" y="17797"/>
                  <a:pt x="6940" y="17716"/>
                  <a:pt x="6902" y="17678"/>
                </a:cubicBezTo>
                <a:cubicBezTo>
                  <a:pt x="6909" y="17285"/>
                  <a:pt x="6745" y="17009"/>
                  <a:pt x="6787" y="16567"/>
                </a:cubicBezTo>
                <a:cubicBezTo>
                  <a:pt x="6799" y="16444"/>
                  <a:pt x="6795" y="15988"/>
                  <a:pt x="6892" y="15936"/>
                </a:cubicBezTo>
                <a:cubicBezTo>
                  <a:pt x="6964" y="15896"/>
                  <a:pt x="6970" y="15802"/>
                  <a:pt x="6989" y="15695"/>
                </a:cubicBezTo>
                <a:cubicBezTo>
                  <a:pt x="6960" y="15291"/>
                  <a:pt x="7099" y="15132"/>
                  <a:pt x="7297" y="14954"/>
                </a:cubicBezTo>
                <a:cubicBezTo>
                  <a:pt x="7407" y="14847"/>
                  <a:pt x="7530" y="14681"/>
                  <a:pt x="7658" y="14647"/>
                </a:cubicBezTo>
                <a:cubicBezTo>
                  <a:pt x="7726" y="14629"/>
                  <a:pt x="7890" y="14823"/>
                  <a:pt x="7918" y="14651"/>
                </a:cubicBezTo>
                <a:cubicBezTo>
                  <a:pt x="7929" y="14662"/>
                  <a:pt x="7940" y="14672"/>
                  <a:pt x="7951" y="14683"/>
                </a:cubicBezTo>
                <a:cubicBezTo>
                  <a:pt x="7964" y="14784"/>
                  <a:pt x="8062" y="14913"/>
                  <a:pt x="8119" y="14804"/>
                </a:cubicBezTo>
                <a:cubicBezTo>
                  <a:pt x="8158" y="14847"/>
                  <a:pt x="8205" y="14840"/>
                  <a:pt x="8218" y="14755"/>
                </a:cubicBezTo>
                <a:cubicBezTo>
                  <a:pt x="8226" y="14760"/>
                  <a:pt x="8233" y="14769"/>
                  <a:pt x="8237" y="14776"/>
                </a:cubicBezTo>
                <a:cubicBezTo>
                  <a:pt x="8243" y="14815"/>
                  <a:pt x="8236" y="14869"/>
                  <a:pt x="8238" y="14910"/>
                </a:cubicBezTo>
                <a:cubicBezTo>
                  <a:pt x="8321" y="14897"/>
                  <a:pt x="8431" y="14728"/>
                  <a:pt x="8309" y="14652"/>
                </a:cubicBezTo>
                <a:cubicBezTo>
                  <a:pt x="8336" y="14621"/>
                  <a:pt x="8354" y="14568"/>
                  <a:pt x="8341" y="14512"/>
                </a:cubicBezTo>
                <a:cubicBezTo>
                  <a:pt x="8478" y="14435"/>
                  <a:pt x="8881" y="14341"/>
                  <a:pt x="8891" y="14660"/>
                </a:cubicBezTo>
                <a:cubicBezTo>
                  <a:pt x="8953" y="14668"/>
                  <a:pt x="9017" y="14668"/>
                  <a:pt x="9071" y="14607"/>
                </a:cubicBezTo>
                <a:cubicBezTo>
                  <a:pt x="9213" y="14442"/>
                  <a:pt x="9157" y="14782"/>
                  <a:pt x="9269" y="14825"/>
                </a:cubicBezTo>
                <a:cubicBezTo>
                  <a:pt x="9274" y="14919"/>
                  <a:pt x="9158" y="15202"/>
                  <a:pt x="9231" y="15255"/>
                </a:cubicBezTo>
                <a:cubicBezTo>
                  <a:pt x="9194" y="15363"/>
                  <a:pt x="9245" y="15521"/>
                  <a:pt x="9291" y="15598"/>
                </a:cubicBezTo>
                <a:cubicBezTo>
                  <a:pt x="9303" y="15683"/>
                  <a:pt x="9312" y="15745"/>
                  <a:pt x="9294" y="15822"/>
                </a:cubicBezTo>
                <a:cubicBezTo>
                  <a:pt x="9320" y="15840"/>
                  <a:pt x="9347" y="15858"/>
                  <a:pt x="9373" y="15876"/>
                </a:cubicBezTo>
                <a:cubicBezTo>
                  <a:pt x="9376" y="15876"/>
                  <a:pt x="9389" y="16042"/>
                  <a:pt x="9392" y="16062"/>
                </a:cubicBezTo>
                <a:cubicBezTo>
                  <a:pt x="9891" y="16160"/>
                  <a:pt x="9504" y="14453"/>
                  <a:pt x="9669" y="14135"/>
                </a:cubicBezTo>
                <a:cubicBezTo>
                  <a:pt x="9801" y="13882"/>
                  <a:pt x="9965" y="13655"/>
                  <a:pt x="10125" y="13464"/>
                </a:cubicBezTo>
                <a:cubicBezTo>
                  <a:pt x="10212" y="13386"/>
                  <a:pt x="10656" y="13027"/>
                  <a:pt x="10592" y="12952"/>
                </a:cubicBezTo>
                <a:cubicBezTo>
                  <a:pt x="10811" y="12978"/>
                  <a:pt x="10712" y="12540"/>
                  <a:pt x="10767" y="12391"/>
                </a:cubicBezTo>
                <a:cubicBezTo>
                  <a:pt x="10824" y="12240"/>
                  <a:pt x="11053" y="12010"/>
                  <a:pt x="10986" y="11786"/>
                </a:cubicBezTo>
                <a:cubicBezTo>
                  <a:pt x="11080" y="11837"/>
                  <a:pt x="11274" y="11508"/>
                  <a:pt x="11267" y="11344"/>
                </a:cubicBezTo>
                <a:cubicBezTo>
                  <a:pt x="11357" y="11366"/>
                  <a:pt x="11513" y="11281"/>
                  <a:pt x="11556" y="11158"/>
                </a:cubicBezTo>
                <a:lnTo>
                  <a:pt x="11547" y="11137"/>
                </a:lnTo>
                <a:cubicBezTo>
                  <a:pt x="11604" y="11130"/>
                  <a:pt x="11673" y="11149"/>
                  <a:pt x="11708" y="11051"/>
                </a:cubicBezTo>
                <a:cubicBezTo>
                  <a:pt x="11862" y="11256"/>
                  <a:pt x="12051" y="10796"/>
                  <a:pt x="11864" y="10786"/>
                </a:cubicBezTo>
                <a:cubicBezTo>
                  <a:pt x="11862" y="10777"/>
                  <a:pt x="11858" y="10768"/>
                  <a:pt x="11853" y="10760"/>
                </a:cubicBezTo>
                <a:cubicBezTo>
                  <a:pt x="11890" y="10730"/>
                  <a:pt x="11924" y="10692"/>
                  <a:pt x="11955" y="10645"/>
                </a:cubicBezTo>
                <a:lnTo>
                  <a:pt x="11897" y="10613"/>
                </a:lnTo>
                <a:cubicBezTo>
                  <a:pt x="11984" y="10395"/>
                  <a:pt x="12164" y="10420"/>
                  <a:pt x="12245" y="10219"/>
                </a:cubicBezTo>
                <a:cubicBezTo>
                  <a:pt x="12330" y="10329"/>
                  <a:pt x="12661" y="10004"/>
                  <a:pt x="12737" y="9969"/>
                </a:cubicBezTo>
                <a:cubicBezTo>
                  <a:pt x="12664" y="10027"/>
                  <a:pt x="12408" y="10465"/>
                  <a:pt x="12631" y="10503"/>
                </a:cubicBezTo>
                <a:cubicBezTo>
                  <a:pt x="12789" y="10529"/>
                  <a:pt x="13042" y="10150"/>
                  <a:pt x="13212" y="10091"/>
                </a:cubicBezTo>
                <a:cubicBezTo>
                  <a:pt x="13387" y="9998"/>
                  <a:pt x="13656" y="9885"/>
                  <a:pt x="13625" y="9596"/>
                </a:cubicBezTo>
                <a:cubicBezTo>
                  <a:pt x="13619" y="9547"/>
                  <a:pt x="13631" y="9416"/>
                  <a:pt x="13642" y="9372"/>
                </a:cubicBezTo>
                <a:cubicBezTo>
                  <a:pt x="13542" y="9340"/>
                  <a:pt x="13492" y="9469"/>
                  <a:pt x="13428" y="9577"/>
                </a:cubicBezTo>
                <a:cubicBezTo>
                  <a:pt x="13210" y="9948"/>
                  <a:pt x="13126" y="9598"/>
                  <a:pt x="13005" y="9382"/>
                </a:cubicBezTo>
                <a:cubicBezTo>
                  <a:pt x="13043" y="9332"/>
                  <a:pt x="13094" y="9211"/>
                  <a:pt x="13035" y="9143"/>
                </a:cubicBezTo>
                <a:cubicBezTo>
                  <a:pt x="13114" y="9113"/>
                  <a:pt x="13246" y="8984"/>
                  <a:pt x="13198" y="8817"/>
                </a:cubicBezTo>
                <a:cubicBezTo>
                  <a:pt x="13133" y="8591"/>
                  <a:pt x="12921" y="8699"/>
                  <a:pt x="12820" y="8748"/>
                </a:cubicBezTo>
                <a:cubicBezTo>
                  <a:pt x="13042" y="8483"/>
                  <a:pt x="13227" y="8473"/>
                  <a:pt x="13514" y="8498"/>
                </a:cubicBezTo>
                <a:cubicBezTo>
                  <a:pt x="13879" y="8530"/>
                  <a:pt x="14067" y="8267"/>
                  <a:pt x="14414" y="8134"/>
                </a:cubicBezTo>
                <a:cubicBezTo>
                  <a:pt x="14179" y="8347"/>
                  <a:pt x="14080" y="8871"/>
                  <a:pt x="13864" y="9071"/>
                </a:cubicBezTo>
                <a:cubicBezTo>
                  <a:pt x="13717" y="9206"/>
                  <a:pt x="14405" y="9317"/>
                  <a:pt x="14423" y="9210"/>
                </a:cubicBezTo>
                <a:cubicBezTo>
                  <a:pt x="14405" y="9314"/>
                  <a:pt x="14297" y="9379"/>
                  <a:pt x="14243" y="9402"/>
                </a:cubicBezTo>
                <a:cubicBezTo>
                  <a:pt x="14313" y="9418"/>
                  <a:pt x="14553" y="9162"/>
                  <a:pt x="14568" y="9200"/>
                </a:cubicBezTo>
                <a:cubicBezTo>
                  <a:pt x="14597" y="9273"/>
                  <a:pt x="14503" y="9384"/>
                  <a:pt x="14488" y="9436"/>
                </a:cubicBezTo>
                <a:cubicBezTo>
                  <a:pt x="14575" y="9436"/>
                  <a:pt x="14865" y="9376"/>
                  <a:pt x="14709" y="9160"/>
                </a:cubicBezTo>
                <a:cubicBezTo>
                  <a:pt x="14686" y="9129"/>
                  <a:pt x="14726" y="9185"/>
                  <a:pt x="14709" y="9160"/>
                </a:cubicBezTo>
                <a:close/>
                <a:moveTo>
                  <a:pt x="9292" y="15807"/>
                </a:moveTo>
                <a:cubicBezTo>
                  <a:pt x="9294" y="15804"/>
                  <a:pt x="9294" y="15801"/>
                  <a:pt x="9294" y="15797"/>
                </a:cubicBezTo>
                <a:lnTo>
                  <a:pt x="9292" y="15807"/>
                </a:lnTo>
                <a:cubicBezTo>
                  <a:pt x="9292" y="15807"/>
                  <a:pt x="9292" y="15807"/>
                  <a:pt x="9292" y="15807"/>
                </a:cubicBezTo>
                <a:close/>
                <a:moveTo>
                  <a:pt x="10369" y="17468"/>
                </a:moveTo>
                <a:cubicBezTo>
                  <a:pt x="10335" y="17379"/>
                  <a:pt x="10167" y="17362"/>
                  <a:pt x="10156" y="17309"/>
                </a:cubicBezTo>
                <a:cubicBezTo>
                  <a:pt x="10131" y="17189"/>
                  <a:pt x="9829" y="16896"/>
                  <a:pt x="9715" y="16827"/>
                </a:cubicBezTo>
                <a:cubicBezTo>
                  <a:pt x="9533" y="16717"/>
                  <a:pt x="9375" y="16548"/>
                  <a:pt x="9156" y="16596"/>
                </a:cubicBezTo>
                <a:cubicBezTo>
                  <a:pt x="9072" y="16614"/>
                  <a:pt x="8717" y="16808"/>
                  <a:pt x="8728" y="16994"/>
                </a:cubicBezTo>
                <a:cubicBezTo>
                  <a:pt x="8730" y="17027"/>
                  <a:pt x="9190" y="16568"/>
                  <a:pt x="9247" y="16760"/>
                </a:cubicBezTo>
                <a:cubicBezTo>
                  <a:pt x="9236" y="16814"/>
                  <a:pt x="9210" y="16831"/>
                  <a:pt x="9167" y="16810"/>
                </a:cubicBezTo>
                <a:cubicBezTo>
                  <a:pt x="9239" y="16755"/>
                  <a:pt x="9536" y="17035"/>
                  <a:pt x="9629" y="17047"/>
                </a:cubicBezTo>
                <a:cubicBezTo>
                  <a:pt x="9753" y="17062"/>
                  <a:pt x="9684" y="17348"/>
                  <a:pt x="9814" y="17335"/>
                </a:cubicBezTo>
                <a:cubicBezTo>
                  <a:pt x="9981" y="17317"/>
                  <a:pt x="9882" y="17476"/>
                  <a:pt x="9811" y="17585"/>
                </a:cubicBezTo>
                <a:cubicBezTo>
                  <a:pt x="9811" y="17585"/>
                  <a:pt x="9811" y="17585"/>
                  <a:pt x="9811" y="17585"/>
                </a:cubicBezTo>
                <a:cubicBezTo>
                  <a:pt x="9811" y="17585"/>
                  <a:pt x="9811" y="17585"/>
                  <a:pt x="9811" y="17585"/>
                </a:cubicBezTo>
                <a:cubicBezTo>
                  <a:pt x="9831" y="17583"/>
                  <a:pt x="10404" y="17558"/>
                  <a:pt x="10369" y="17468"/>
                </a:cubicBezTo>
                <a:cubicBezTo>
                  <a:pt x="10361" y="17446"/>
                  <a:pt x="10394" y="17532"/>
                  <a:pt x="10369" y="17468"/>
                </a:cubicBezTo>
                <a:close/>
                <a:moveTo>
                  <a:pt x="20788" y="376"/>
                </a:moveTo>
                <a:cubicBezTo>
                  <a:pt x="20661" y="393"/>
                  <a:pt x="20521" y="488"/>
                  <a:pt x="20397" y="482"/>
                </a:cubicBezTo>
                <a:cubicBezTo>
                  <a:pt x="20438" y="401"/>
                  <a:pt x="20552" y="165"/>
                  <a:pt x="20633" y="174"/>
                </a:cubicBezTo>
                <a:cubicBezTo>
                  <a:pt x="20175" y="121"/>
                  <a:pt x="19751" y="-20"/>
                  <a:pt x="19284" y="2"/>
                </a:cubicBezTo>
                <a:cubicBezTo>
                  <a:pt x="19105" y="10"/>
                  <a:pt x="18902" y="130"/>
                  <a:pt x="18728" y="59"/>
                </a:cubicBezTo>
                <a:cubicBezTo>
                  <a:pt x="18578" y="-2"/>
                  <a:pt x="18252" y="-5"/>
                  <a:pt x="18116" y="136"/>
                </a:cubicBezTo>
                <a:cubicBezTo>
                  <a:pt x="18175" y="75"/>
                  <a:pt x="18298" y="279"/>
                  <a:pt x="18361" y="285"/>
                </a:cubicBezTo>
                <a:cubicBezTo>
                  <a:pt x="18166" y="285"/>
                  <a:pt x="17974" y="110"/>
                  <a:pt x="17776" y="149"/>
                </a:cubicBezTo>
                <a:cubicBezTo>
                  <a:pt x="17789" y="245"/>
                  <a:pt x="17791" y="210"/>
                  <a:pt x="17833" y="259"/>
                </a:cubicBezTo>
                <a:cubicBezTo>
                  <a:pt x="17695" y="308"/>
                  <a:pt x="17442" y="191"/>
                  <a:pt x="17296" y="183"/>
                </a:cubicBezTo>
                <a:cubicBezTo>
                  <a:pt x="17097" y="171"/>
                  <a:pt x="16902" y="273"/>
                  <a:pt x="16703" y="270"/>
                </a:cubicBezTo>
                <a:cubicBezTo>
                  <a:pt x="16707" y="477"/>
                  <a:pt x="16045" y="464"/>
                  <a:pt x="15922" y="611"/>
                </a:cubicBezTo>
                <a:cubicBezTo>
                  <a:pt x="15984" y="642"/>
                  <a:pt x="16050" y="632"/>
                  <a:pt x="16114" y="633"/>
                </a:cubicBezTo>
                <a:cubicBezTo>
                  <a:pt x="16093" y="927"/>
                  <a:pt x="15244" y="969"/>
                  <a:pt x="15099" y="1007"/>
                </a:cubicBezTo>
                <a:cubicBezTo>
                  <a:pt x="15125" y="1148"/>
                  <a:pt x="15349" y="1197"/>
                  <a:pt x="15414" y="1212"/>
                </a:cubicBezTo>
                <a:cubicBezTo>
                  <a:pt x="15335" y="1285"/>
                  <a:pt x="15187" y="1268"/>
                  <a:pt x="15096" y="1309"/>
                </a:cubicBezTo>
                <a:cubicBezTo>
                  <a:pt x="15139" y="1389"/>
                  <a:pt x="15278" y="1390"/>
                  <a:pt x="15337" y="1395"/>
                </a:cubicBezTo>
                <a:cubicBezTo>
                  <a:pt x="15292" y="1423"/>
                  <a:pt x="15237" y="1423"/>
                  <a:pt x="15198" y="1474"/>
                </a:cubicBezTo>
                <a:cubicBezTo>
                  <a:pt x="15433" y="1544"/>
                  <a:pt x="15645" y="1461"/>
                  <a:pt x="15880" y="1474"/>
                </a:cubicBezTo>
                <a:cubicBezTo>
                  <a:pt x="15992" y="1480"/>
                  <a:pt x="16131" y="1500"/>
                  <a:pt x="16237" y="1562"/>
                </a:cubicBezTo>
                <a:cubicBezTo>
                  <a:pt x="16344" y="1623"/>
                  <a:pt x="16226" y="1664"/>
                  <a:pt x="16247" y="1717"/>
                </a:cubicBezTo>
                <a:cubicBezTo>
                  <a:pt x="16266" y="1765"/>
                  <a:pt x="16487" y="1880"/>
                  <a:pt x="16313" y="1959"/>
                </a:cubicBezTo>
                <a:cubicBezTo>
                  <a:pt x="16559" y="1847"/>
                  <a:pt x="16204" y="2758"/>
                  <a:pt x="16179" y="2583"/>
                </a:cubicBezTo>
                <a:cubicBezTo>
                  <a:pt x="16203" y="2748"/>
                  <a:pt x="16427" y="2568"/>
                  <a:pt x="16494" y="2630"/>
                </a:cubicBezTo>
                <a:cubicBezTo>
                  <a:pt x="16482" y="2669"/>
                  <a:pt x="16425" y="2638"/>
                  <a:pt x="16428" y="2695"/>
                </a:cubicBezTo>
                <a:cubicBezTo>
                  <a:pt x="16522" y="2661"/>
                  <a:pt x="16598" y="2870"/>
                  <a:pt x="16593" y="2871"/>
                </a:cubicBezTo>
                <a:cubicBezTo>
                  <a:pt x="16581" y="2874"/>
                  <a:pt x="16213" y="2799"/>
                  <a:pt x="16214" y="2802"/>
                </a:cubicBezTo>
                <a:cubicBezTo>
                  <a:pt x="16229" y="2835"/>
                  <a:pt x="16243" y="2868"/>
                  <a:pt x="16257" y="2900"/>
                </a:cubicBezTo>
                <a:cubicBezTo>
                  <a:pt x="16172" y="2904"/>
                  <a:pt x="16137" y="2977"/>
                  <a:pt x="16095" y="3092"/>
                </a:cubicBezTo>
                <a:cubicBezTo>
                  <a:pt x="16186" y="3140"/>
                  <a:pt x="16346" y="3277"/>
                  <a:pt x="16419" y="3092"/>
                </a:cubicBezTo>
                <a:cubicBezTo>
                  <a:pt x="16494" y="2902"/>
                  <a:pt x="16546" y="3028"/>
                  <a:pt x="16502" y="3209"/>
                </a:cubicBezTo>
                <a:cubicBezTo>
                  <a:pt x="16498" y="3224"/>
                  <a:pt x="15861" y="3720"/>
                  <a:pt x="16084" y="3791"/>
                </a:cubicBezTo>
                <a:cubicBezTo>
                  <a:pt x="16081" y="3912"/>
                  <a:pt x="15909" y="3871"/>
                  <a:pt x="15990" y="4074"/>
                </a:cubicBezTo>
                <a:cubicBezTo>
                  <a:pt x="16072" y="4282"/>
                  <a:pt x="15977" y="4328"/>
                  <a:pt x="16012" y="4522"/>
                </a:cubicBezTo>
                <a:cubicBezTo>
                  <a:pt x="16059" y="4791"/>
                  <a:pt x="16218" y="5190"/>
                  <a:pt x="16217" y="5459"/>
                </a:cubicBezTo>
                <a:cubicBezTo>
                  <a:pt x="16477" y="5346"/>
                  <a:pt x="16693" y="5934"/>
                  <a:pt x="16874" y="5492"/>
                </a:cubicBezTo>
                <a:cubicBezTo>
                  <a:pt x="16944" y="5323"/>
                  <a:pt x="17078" y="4978"/>
                  <a:pt x="17178" y="4863"/>
                </a:cubicBezTo>
                <a:cubicBezTo>
                  <a:pt x="17207" y="4830"/>
                  <a:pt x="17468" y="4537"/>
                  <a:pt x="17336" y="4506"/>
                </a:cubicBezTo>
                <a:cubicBezTo>
                  <a:pt x="17352" y="4429"/>
                  <a:pt x="17466" y="4461"/>
                  <a:pt x="17462" y="4414"/>
                </a:cubicBezTo>
                <a:cubicBezTo>
                  <a:pt x="17446" y="4185"/>
                  <a:pt x="17478" y="4318"/>
                  <a:pt x="17603" y="4179"/>
                </a:cubicBezTo>
                <a:cubicBezTo>
                  <a:pt x="17832" y="3924"/>
                  <a:pt x="18176" y="4100"/>
                  <a:pt x="18404" y="3748"/>
                </a:cubicBezTo>
                <a:cubicBezTo>
                  <a:pt x="18623" y="3408"/>
                  <a:pt x="18719" y="3579"/>
                  <a:pt x="18976" y="3474"/>
                </a:cubicBezTo>
                <a:cubicBezTo>
                  <a:pt x="19132" y="3410"/>
                  <a:pt x="19315" y="3416"/>
                  <a:pt x="19459" y="3294"/>
                </a:cubicBezTo>
                <a:cubicBezTo>
                  <a:pt x="19583" y="3189"/>
                  <a:pt x="19779" y="3004"/>
                  <a:pt x="19921" y="2998"/>
                </a:cubicBezTo>
                <a:cubicBezTo>
                  <a:pt x="19863" y="3000"/>
                  <a:pt x="19502" y="2839"/>
                  <a:pt x="19465" y="2948"/>
                </a:cubicBezTo>
                <a:cubicBezTo>
                  <a:pt x="19535" y="2744"/>
                  <a:pt x="19616" y="2666"/>
                  <a:pt x="19736" y="2808"/>
                </a:cubicBezTo>
                <a:cubicBezTo>
                  <a:pt x="19799" y="2882"/>
                  <a:pt x="20006" y="3044"/>
                  <a:pt x="20008" y="2762"/>
                </a:cubicBezTo>
                <a:cubicBezTo>
                  <a:pt x="20009" y="2563"/>
                  <a:pt x="19750" y="2306"/>
                  <a:pt x="19652" y="2240"/>
                </a:cubicBezTo>
                <a:cubicBezTo>
                  <a:pt x="19743" y="2177"/>
                  <a:pt x="20272" y="2315"/>
                  <a:pt x="20290" y="2066"/>
                </a:cubicBezTo>
                <a:cubicBezTo>
                  <a:pt x="20246" y="2069"/>
                  <a:pt x="20204" y="2042"/>
                  <a:pt x="20162" y="2024"/>
                </a:cubicBezTo>
                <a:cubicBezTo>
                  <a:pt x="20196" y="2013"/>
                  <a:pt x="20461" y="2053"/>
                  <a:pt x="20445" y="1920"/>
                </a:cubicBezTo>
                <a:cubicBezTo>
                  <a:pt x="20434" y="1826"/>
                  <a:pt x="20316" y="1823"/>
                  <a:pt x="20426" y="1726"/>
                </a:cubicBezTo>
                <a:cubicBezTo>
                  <a:pt x="20595" y="1578"/>
                  <a:pt x="20285" y="1472"/>
                  <a:pt x="20249" y="1409"/>
                </a:cubicBezTo>
                <a:cubicBezTo>
                  <a:pt x="20284" y="1409"/>
                  <a:pt x="20770" y="1373"/>
                  <a:pt x="20655" y="1204"/>
                </a:cubicBezTo>
                <a:cubicBezTo>
                  <a:pt x="20592" y="1111"/>
                  <a:pt x="20396" y="1087"/>
                  <a:pt x="20327" y="1171"/>
                </a:cubicBezTo>
                <a:cubicBezTo>
                  <a:pt x="20607" y="695"/>
                  <a:pt x="21060" y="526"/>
                  <a:pt x="21446" y="368"/>
                </a:cubicBezTo>
                <a:cubicBezTo>
                  <a:pt x="21259" y="170"/>
                  <a:pt x="20985" y="351"/>
                  <a:pt x="20788" y="376"/>
                </a:cubicBezTo>
                <a:cubicBezTo>
                  <a:pt x="20727" y="384"/>
                  <a:pt x="20985" y="351"/>
                  <a:pt x="20788" y="376"/>
                </a:cubicBezTo>
                <a:close/>
                <a:moveTo>
                  <a:pt x="11250" y="17854"/>
                </a:moveTo>
                <a:cubicBezTo>
                  <a:pt x="11353" y="18121"/>
                  <a:pt x="10932" y="18149"/>
                  <a:pt x="10851" y="18066"/>
                </a:cubicBezTo>
                <a:cubicBezTo>
                  <a:pt x="10834" y="18070"/>
                  <a:pt x="10772" y="18267"/>
                  <a:pt x="10762" y="18295"/>
                </a:cubicBezTo>
                <a:lnTo>
                  <a:pt x="10744" y="18285"/>
                </a:lnTo>
                <a:lnTo>
                  <a:pt x="10730" y="18323"/>
                </a:lnTo>
                <a:cubicBezTo>
                  <a:pt x="10688" y="18281"/>
                  <a:pt x="10661" y="18211"/>
                  <a:pt x="10659" y="18127"/>
                </a:cubicBezTo>
                <a:cubicBezTo>
                  <a:pt x="10636" y="18121"/>
                  <a:pt x="10482" y="18109"/>
                  <a:pt x="10449" y="18132"/>
                </a:cubicBezTo>
                <a:cubicBezTo>
                  <a:pt x="10400" y="18160"/>
                  <a:pt x="10250" y="18170"/>
                  <a:pt x="10272" y="17972"/>
                </a:cubicBezTo>
                <a:cubicBezTo>
                  <a:pt x="10299" y="17723"/>
                  <a:pt x="10501" y="18031"/>
                  <a:pt x="10576" y="17927"/>
                </a:cubicBezTo>
                <a:cubicBezTo>
                  <a:pt x="10576" y="17927"/>
                  <a:pt x="10576" y="17927"/>
                  <a:pt x="10576" y="17927"/>
                </a:cubicBezTo>
                <a:cubicBezTo>
                  <a:pt x="10555" y="17927"/>
                  <a:pt x="10562" y="17743"/>
                  <a:pt x="10562" y="17738"/>
                </a:cubicBezTo>
                <a:lnTo>
                  <a:pt x="10412" y="17627"/>
                </a:lnTo>
                <a:cubicBezTo>
                  <a:pt x="10499" y="17485"/>
                  <a:pt x="10669" y="17484"/>
                  <a:pt x="10776" y="17484"/>
                </a:cubicBezTo>
                <a:cubicBezTo>
                  <a:pt x="10837" y="17484"/>
                  <a:pt x="10950" y="17493"/>
                  <a:pt x="11001" y="17546"/>
                </a:cubicBezTo>
                <a:cubicBezTo>
                  <a:pt x="11036" y="17584"/>
                  <a:pt x="11222" y="17784"/>
                  <a:pt x="11250" y="17854"/>
                </a:cubicBezTo>
                <a:cubicBezTo>
                  <a:pt x="11273" y="17915"/>
                  <a:pt x="11228" y="17798"/>
                  <a:pt x="11250" y="17854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22502" tIns="22502" rIns="22502" bIns="22502" anchor="ctr"/>
          <a:lstStyle/>
          <a:p>
            <a:pPr algn="ctr" defTabSz="269932" hangingPunct="0">
              <a:lnSpc>
                <a:spcPct val="80000"/>
              </a:lnSpc>
              <a:spcBef>
                <a:spcPts val="2058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 sz="42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venir Next"/>
              <a:ea typeface="Avenir Next"/>
              <a:cs typeface="Avenir Next"/>
              <a:sym typeface="Avenir Next"/>
            </a:endParaRPr>
          </a:p>
        </p:txBody>
      </p:sp>
      <p:sp>
        <p:nvSpPr>
          <p:cNvPr id="279" name="Фигура"/>
          <p:cNvSpPr/>
          <p:nvPr/>
        </p:nvSpPr>
        <p:spPr>
          <a:xfrm>
            <a:off x="6829901" y="3715568"/>
            <a:ext cx="407046" cy="580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10" h="21301" extrusionOk="0">
                <a:moveTo>
                  <a:pt x="19386" y="1922"/>
                </a:moveTo>
                <a:cubicBezTo>
                  <a:pt x="19814" y="2079"/>
                  <a:pt x="20906" y="1684"/>
                  <a:pt x="20889" y="1153"/>
                </a:cubicBezTo>
                <a:cubicBezTo>
                  <a:pt x="20881" y="1256"/>
                  <a:pt x="20912" y="1341"/>
                  <a:pt x="20981" y="1408"/>
                </a:cubicBezTo>
                <a:cubicBezTo>
                  <a:pt x="21526" y="952"/>
                  <a:pt x="20191" y="325"/>
                  <a:pt x="19879" y="191"/>
                </a:cubicBezTo>
                <a:cubicBezTo>
                  <a:pt x="20063" y="604"/>
                  <a:pt x="20673" y="601"/>
                  <a:pt x="20855" y="1057"/>
                </a:cubicBezTo>
                <a:cubicBezTo>
                  <a:pt x="20512" y="588"/>
                  <a:pt x="20469" y="1319"/>
                  <a:pt x="20375" y="1358"/>
                </a:cubicBezTo>
                <a:cubicBezTo>
                  <a:pt x="19827" y="1584"/>
                  <a:pt x="19497" y="1595"/>
                  <a:pt x="18866" y="1649"/>
                </a:cubicBezTo>
                <a:cubicBezTo>
                  <a:pt x="18833" y="1737"/>
                  <a:pt x="19305" y="1892"/>
                  <a:pt x="19386" y="1922"/>
                </a:cubicBezTo>
                <a:cubicBezTo>
                  <a:pt x="19639" y="2015"/>
                  <a:pt x="19305" y="1892"/>
                  <a:pt x="19386" y="1922"/>
                </a:cubicBezTo>
                <a:close/>
                <a:moveTo>
                  <a:pt x="19103" y="11614"/>
                </a:moveTo>
                <a:cubicBezTo>
                  <a:pt x="18975" y="11369"/>
                  <a:pt x="18653" y="11271"/>
                  <a:pt x="18576" y="10982"/>
                </a:cubicBezTo>
                <a:cubicBezTo>
                  <a:pt x="18519" y="10767"/>
                  <a:pt x="18708" y="10228"/>
                  <a:pt x="18266" y="10244"/>
                </a:cubicBezTo>
                <a:cubicBezTo>
                  <a:pt x="18251" y="10303"/>
                  <a:pt x="18237" y="10362"/>
                  <a:pt x="18222" y="10421"/>
                </a:cubicBezTo>
                <a:cubicBezTo>
                  <a:pt x="18247" y="10396"/>
                  <a:pt x="17854" y="9575"/>
                  <a:pt x="17912" y="9416"/>
                </a:cubicBezTo>
                <a:cubicBezTo>
                  <a:pt x="18034" y="9074"/>
                  <a:pt x="17131" y="8901"/>
                  <a:pt x="16984" y="8720"/>
                </a:cubicBezTo>
                <a:cubicBezTo>
                  <a:pt x="16704" y="8377"/>
                  <a:pt x="17067" y="6218"/>
                  <a:pt x="16504" y="6177"/>
                </a:cubicBezTo>
                <a:cubicBezTo>
                  <a:pt x="16273" y="6159"/>
                  <a:pt x="16153" y="6484"/>
                  <a:pt x="16083" y="6080"/>
                </a:cubicBezTo>
                <a:cubicBezTo>
                  <a:pt x="16022" y="5728"/>
                  <a:pt x="15985" y="5371"/>
                  <a:pt x="15924" y="5018"/>
                </a:cubicBezTo>
                <a:cubicBezTo>
                  <a:pt x="15759" y="4079"/>
                  <a:pt x="15690" y="4529"/>
                  <a:pt x="15317" y="5042"/>
                </a:cubicBezTo>
                <a:cubicBezTo>
                  <a:pt x="15183" y="5227"/>
                  <a:pt x="15058" y="5775"/>
                  <a:pt x="15034" y="6013"/>
                </a:cubicBezTo>
                <a:cubicBezTo>
                  <a:pt x="14984" y="6502"/>
                  <a:pt x="14940" y="7628"/>
                  <a:pt x="14375" y="7886"/>
                </a:cubicBezTo>
                <a:cubicBezTo>
                  <a:pt x="13846" y="8128"/>
                  <a:pt x="13658" y="7617"/>
                  <a:pt x="13271" y="7435"/>
                </a:cubicBezTo>
                <a:cubicBezTo>
                  <a:pt x="13079" y="7345"/>
                  <a:pt x="12495" y="6993"/>
                  <a:pt x="12357" y="6844"/>
                </a:cubicBezTo>
                <a:cubicBezTo>
                  <a:pt x="11909" y="6361"/>
                  <a:pt x="12379" y="6386"/>
                  <a:pt x="12379" y="5897"/>
                </a:cubicBezTo>
                <a:cubicBezTo>
                  <a:pt x="12379" y="5657"/>
                  <a:pt x="13041" y="5327"/>
                  <a:pt x="12893" y="5142"/>
                </a:cubicBezTo>
                <a:cubicBezTo>
                  <a:pt x="12638" y="4826"/>
                  <a:pt x="12410" y="5104"/>
                  <a:pt x="12118" y="5167"/>
                </a:cubicBezTo>
                <a:cubicBezTo>
                  <a:pt x="12073" y="5176"/>
                  <a:pt x="11507" y="4979"/>
                  <a:pt x="11456" y="4956"/>
                </a:cubicBezTo>
                <a:cubicBezTo>
                  <a:pt x="11258" y="4883"/>
                  <a:pt x="11085" y="4777"/>
                  <a:pt x="10936" y="4638"/>
                </a:cubicBezTo>
                <a:cubicBezTo>
                  <a:pt x="10808" y="4516"/>
                  <a:pt x="10485" y="4622"/>
                  <a:pt x="10582" y="4696"/>
                </a:cubicBezTo>
                <a:cubicBezTo>
                  <a:pt x="11287" y="5235"/>
                  <a:pt x="10445" y="4961"/>
                  <a:pt x="10047" y="5209"/>
                </a:cubicBezTo>
                <a:cubicBezTo>
                  <a:pt x="9664" y="5449"/>
                  <a:pt x="9179" y="6015"/>
                  <a:pt x="9314" y="6398"/>
                </a:cubicBezTo>
                <a:cubicBezTo>
                  <a:pt x="9371" y="6558"/>
                  <a:pt x="8566" y="6395"/>
                  <a:pt x="8566" y="6529"/>
                </a:cubicBezTo>
                <a:cubicBezTo>
                  <a:pt x="8531" y="5234"/>
                  <a:pt x="7201" y="6528"/>
                  <a:pt x="6847" y="6707"/>
                </a:cubicBezTo>
                <a:cubicBezTo>
                  <a:pt x="6570" y="6847"/>
                  <a:pt x="6760" y="7297"/>
                  <a:pt x="6430" y="7209"/>
                </a:cubicBezTo>
                <a:cubicBezTo>
                  <a:pt x="5937" y="7077"/>
                  <a:pt x="6342" y="7794"/>
                  <a:pt x="6208" y="7535"/>
                </a:cubicBezTo>
                <a:cubicBezTo>
                  <a:pt x="6184" y="7632"/>
                  <a:pt x="6160" y="7729"/>
                  <a:pt x="6135" y="7825"/>
                </a:cubicBezTo>
                <a:cubicBezTo>
                  <a:pt x="6054" y="7657"/>
                  <a:pt x="5985" y="7487"/>
                  <a:pt x="5914" y="7315"/>
                </a:cubicBezTo>
                <a:cubicBezTo>
                  <a:pt x="5873" y="7238"/>
                  <a:pt x="5208" y="8371"/>
                  <a:pt x="5154" y="8419"/>
                </a:cubicBezTo>
                <a:cubicBezTo>
                  <a:pt x="4695" y="8824"/>
                  <a:pt x="4672" y="9190"/>
                  <a:pt x="3820" y="9133"/>
                </a:cubicBezTo>
                <a:cubicBezTo>
                  <a:pt x="3705" y="9125"/>
                  <a:pt x="3316" y="9336"/>
                  <a:pt x="3212" y="9384"/>
                </a:cubicBezTo>
                <a:cubicBezTo>
                  <a:pt x="2904" y="9527"/>
                  <a:pt x="2613" y="9385"/>
                  <a:pt x="2350" y="9563"/>
                </a:cubicBezTo>
                <a:cubicBezTo>
                  <a:pt x="2074" y="9751"/>
                  <a:pt x="1515" y="10312"/>
                  <a:pt x="1214" y="10384"/>
                </a:cubicBezTo>
                <a:cubicBezTo>
                  <a:pt x="1097" y="10411"/>
                  <a:pt x="1127" y="9952"/>
                  <a:pt x="1118" y="10178"/>
                </a:cubicBezTo>
                <a:lnTo>
                  <a:pt x="1118" y="10178"/>
                </a:lnTo>
                <a:lnTo>
                  <a:pt x="1194" y="10178"/>
                </a:lnTo>
                <a:cubicBezTo>
                  <a:pt x="883" y="10178"/>
                  <a:pt x="1016" y="10855"/>
                  <a:pt x="856" y="11012"/>
                </a:cubicBezTo>
                <a:cubicBezTo>
                  <a:pt x="361" y="11497"/>
                  <a:pt x="1155" y="12018"/>
                  <a:pt x="820" y="12399"/>
                </a:cubicBezTo>
                <a:cubicBezTo>
                  <a:pt x="699" y="12536"/>
                  <a:pt x="536" y="11960"/>
                  <a:pt x="513" y="12066"/>
                </a:cubicBezTo>
                <a:cubicBezTo>
                  <a:pt x="514" y="12062"/>
                  <a:pt x="549" y="12342"/>
                  <a:pt x="465" y="12293"/>
                </a:cubicBezTo>
                <a:cubicBezTo>
                  <a:pt x="405" y="12258"/>
                  <a:pt x="370" y="12039"/>
                  <a:pt x="334" y="12030"/>
                </a:cubicBezTo>
                <a:cubicBezTo>
                  <a:pt x="424" y="12052"/>
                  <a:pt x="564" y="13355"/>
                  <a:pt x="640" y="13566"/>
                </a:cubicBezTo>
                <a:cubicBezTo>
                  <a:pt x="776" y="13948"/>
                  <a:pt x="561" y="14270"/>
                  <a:pt x="640" y="14640"/>
                </a:cubicBezTo>
                <a:cubicBezTo>
                  <a:pt x="747" y="15148"/>
                  <a:pt x="722" y="15468"/>
                  <a:pt x="458" y="15951"/>
                </a:cubicBezTo>
                <a:cubicBezTo>
                  <a:pt x="334" y="16180"/>
                  <a:pt x="56" y="16125"/>
                  <a:pt x="7" y="16277"/>
                </a:cubicBezTo>
                <a:cubicBezTo>
                  <a:pt x="-74" y="16533"/>
                  <a:pt x="511" y="16975"/>
                  <a:pt x="767" y="16949"/>
                </a:cubicBezTo>
                <a:cubicBezTo>
                  <a:pt x="1436" y="16881"/>
                  <a:pt x="1955" y="16336"/>
                  <a:pt x="2582" y="16311"/>
                </a:cubicBezTo>
                <a:cubicBezTo>
                  <a:pt x="2970" y="16295"/>
                  <a:pt x="3361" y="16353"/>
                  <a:pt x="3748" y="16338"/>
                </a:cubicBezTo>
                <a:cubicBezTo>
                  <a:pt x="4202" y="16322"/>
                  <a:pt x="4244" y="15862"/>
                  <a:pt x="4658" y="15792"/>
                </a:cubicBezTo>
                <a:cubicBezTo>
                  <a:pt x="5484" y="15654"/>
                  <a:pt x="6330" y="15193"/>
                  <a:pt x="7174" y="15151"/>
                </a:cubicBezTo>
                <a:cubicBezTo>
                  <a:pt x="7842" y="15118"/>
                  <a:pt x="8423" y="15247"/>
                  <a:pt x="9041" y="15506"/>
                </a:cubicBezTo>
                <a:cubicBezTo>
                  <a:pt x="9151" y="15552"/>
                  <a:pt x="9103" y="15862"/>
                  <a:pt x="9215" y="15989"/>
                </a:cubicBezTo>
                <a:cubicBezTo>
                  <a:pt x="9373" y="16166"/>
                  <a:pt x="9280" y="16704"/>
                  <a:pt x="9294" y="16895"/>
                </a:cubicBezTo>
                <a:cubicBezTo>
                  <a:pt x="9744" y="16511"/>
                  <a:pt x="10481" y="16247"/>
                  <a:pt x="10791" y="15743"/>
                </a:cubicBezTo>
                <a:cubicBezTo>
                  <a:pt x="10672" y="15935"/>
                  <a:pt x="10609" y="16166"/>
                  <a:pt x="10450" y="16380"/>
                </a:cubicBezTo>
                <a:cubicBezTo>
                  <a:pt x="10245" y="16658"/>
                  <a:pt x="9969" y="16812"/>
                  <a:pt x="9793" y="17054"/>
                </a:cubicBezTo>
                <a:cubicBezTo>
                  <a:pt x="10023" y="17069"/>
                  <a:pt x="10650" y="16543"/>
                  <a:pt x="10604" y="16524"/>
                </a:cubicBezTo>
                <a:cubicBezTo>
                  <a:pt x="10935" y="16663"/>
                  <a:pt x="10343" y="17138"/>
                  <a:pt x="10355" y="17217"/>
                </a:cubicBezTo>
                <a:cubicBezTo>
                  <a:pt x="10364" y="17277"/>
                  <a:pt x="10778" y="17209"/>
                  <a:pt x="10835" y="17418"/>
                </a:cubicBezTo>
                <a:cubicBezTo>
                  <a:pt x="10924" y="17735"/>
                  <a:pt x="10430" y="18216"/>
                  <a:pt x="10794" y="18457"/>
                </a:cubicBezTo>
                <a:cubicBezTo>
                  <a:pt x="11038" y="18617"/>
                  <a:pt x="11598" y="18832"/>
                  <a:pt x="11883" y="18879"/>
                </a:cubicBezTo>
                <a:cubicBezTo>
                  <a:pt x="11993" y="18897"/>
                  <a:pt x="12786" y="18418"/>
                  <a:pt x="12805" y="18490"/>
                </a:cubicBezTo>
                <a:cubicBezTo>
                  <a:pt x="12831" y="18588"/>
                  <a:pt x="12780" y="19001"/>
                  <a:pt x="13060" y="19024"/>
                </a:cubicBezTo>
                <a:cubicBezTo>
                  <a:pt x="13190" y="19036"/>
                  <a:pt x="13814" y="18599"/>
                  <a:pt x="13974" y="18534"/>
                </a:cubicBezTo>
                <a:cubicBezTo>
                  <a:pt x="14404" y="18360"/>
                  <a:pt x="14907" y="18467"/>
                  <a:pt x="15218" y="18114"/>
                </a:cubicBezTo>
                <a:cubicBezTo>
                  <a:pt x="15902" y="17337"/>
                  <a:pt x="16505" y="16291"/>
                  <a:pt x="17441" y="15754"/>
                </a:cubicBezTo>
                <a:cubicBezTo>
                  <a:pt x="17751" y="15577"/>
                  <a:pt x="18253" y="15097"/>
                  <a:pt x="18307" y="14745"/>
                </a:cubicBezTo>
                <a:cubicBezTo>
                  <a:pt x="18377" y="14291"/>
                  <a:pt x="19033" y="14017"/>
                  <a:pt x="19084" y="13563"/>
                </a:cubicBezTo>
                <a:cubicBezTo>
                  <a:pt x="19101" y="13406"/>
                  <a:pt x="18979" y="12964"/>
                  <a:pt x="19066" y="12849"/>
                </a:cubicBezTo>
                <a:cubicBezTo>
                  <a:pt x="19320" y="12510"/>
                  <a:pt x="19290" y="11971"/>
                  <a:pt x="19103" y="11614"/>
                </a:cubicBezTo>
                <a:cubicBezTo>
                  <a:pt x="19044" y="11501"/>
                  <a:pt x="19150" y="11703"/>
                  <a:pt x="19103" y="11614"/>
                </a:cubicBezTo>
                <a:close/>
                <a:moveTo>
                  <a:pt x="15800" y="4444"/>
                </a:moveTo>
                <a:cubicBezTo>
                  <a:pt x="15809" y="4453"/>
                  <a:pt x="15761" y="4402"/>
                  <a:pt x="15800" y="4444"/>
                </a:cubicBezTo>
                <a:cubicBezTo>
                  <a:pt x="15800" y="4444"/>
                  <a:pt x="15800" y="4444"/>
                  <a:pt x="15800" y="4444"/>
                </a:cubicBezTo>
                <a:close/>
                <a:moveTo>
                  <a:pt x="12961" y="19986"/>
                </a:moveTo>
                <a:cubicBezTo>
                  <a:pt x="12502" y="20038"/>
                  <a:pt x="11814" y="19592"/>
                  <a:pt x="11697" y="20225"/>
                </a:cubicBezTo>
                <a:cubicBezTo>
                  <a:pt x="11654" y="20463"/>
                  <a:pt x="11399" y="21102"/>
                  <a:pt x="11737" y="21256"/>
                </a:cubicBezTo>
                <a:cubicBezTo>
                  <a:pt x="12489" y="21600"/>
                  <a:pt x="13163" y="19850"/>
                  <a:pt x="13376" y="19873"/>
                </a:cubicBezTo>
                <a:cubicBezTo>
                  <a:pt x="13233" y="19896"/>
                  <a:pt x="13095" y="19934"/>
                  <a:pt x="12961" y="19986"/>
                </a:cubicBezTo>
                <a:cubicBezTo>
                  <a:pt x="12832" y="20001"/>
                  <a:pt x="13107" y="19970"/>
                  <a:pt x="12961" y="19986"/>
                </a:cubicBezTo>
                <a:close/>
                <a:moveTo>
                  <a:pt x="19596" y="4380"/>
                </a:moveTo>
                <a:cubicBezTo>
                  <a:pt x="19063" y="4380"/>
                  <a:pt x="18133" y="3946"/>
                  <a:pt x="17879" y="3572"/>
                </a:cubicBezTo>
                <a:cubicBezTo>
                  <a:pt x="17402" y="3008"/>
                  <a:pt x="17105" y="2596"/>
                  <a:pt x="16321" y="3113"/>
                </a:cubicBezTo>
                <a:cubicBezTo>
                  <a:pt x="16648" y="3732"/>
                  <a:pt x="15403" y="3702"/>
                  <a:pt x="15051" y="3495"/>
                </a:cubicBezTo>
                <a:cubicBezTo>
                  <a:pt x="15134" y="3171"/>
                  <a:pt x="15299" y="2458"/>
                  <a:pt x="15008" y="2222"/>
                </a:cubicBezTo>
                <a:cubicBezTo>
                  <a:pt x="15402" y="1681"/>
                  <a:pt x="15220" y="646"/>
                  <a:pt x="15263" y="0"/>
                </a:cubicBezTo>
                <a:cubicBezTo>
                  <a:pt x="15561" y="34"/>
                  <a:pt x="17124" y="514"/>
                  <a:pt x="17185" y="775"/>
                </a:cubicBezTo>
                <a:cubicBezTo>
                  <a:pt x="17438" y="709"/>
                  <a:pt x="17882" y="1262"/>
                  <a:pt x="17752" y="1481"/>
                </a:cubicBezTo>
                <a:cubicBezTo>
                  <a:pt x="18163" y="1442"/>
                  <a:pt x="18795" y="1893"/>
                  <a:pt x="18686" y="2306"/>
                </a:cubicBezTo>
                <a:cubicBezTo>
                  <a:pt x="18541" y="2326"/>
                  <a:pt x="18392" y="2303"/>
                  <a:pt x="18250" y="2326"/>
                </a:cubicBezTo>
                <a:cubicBezTo>
                  <a:pt x="18305" y="2472"/>
                  <a:pt x="18867" y="3294"/>
                  <a:pt x="18927" y="3308"/>
                </a:cubicBezTo>
                <a:cubicBezTo>
                  <a:pt x="19111" y="3288"/>
                  <a:pt x="19291" y="3374"/>
                  <a:pt x="19195" y="3589"/>
                </a:cubicBezTo>
                <a:cubicBezTo>
                  <a:pt x="19473" y="3593"/>
                  <a:pt x="20184" y="4380"/>
                  <a:pt x="19596" y="4380"/>
                </a:cubicBezTo>
                <a:cubicBezTo>
                  <a:pt x="19480" y="4380"/>
                  <a:pt x="19626" y="4380"/>
                  <a:pt x="19596" y="4380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22502" tIns="22502" rIns="22502" bIns="22502" anchor="ctr"/>
          <a:lstStyle/>
          <a:p>
            <a:pPr algn="ctr" defTabSz="269932" hangingPunct="0">
              <a:lnSpc>
                <a:spcPct val="80000"/>
              </a:lnSpc>
              <a:spcBef>
                <a:spcPts val="2058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 sz="42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venir Next"/>
              <a:ea typeface="Avenir Next"/>
              <a:cs typeface="Avenir Next"/>
              <a:sym typeface="Avenir Next"/>
            </a:endParaRPr>
          </a:p>
        </p:txBody>
      </p:sp>
      <p:sp>
        <p:nvSpPr>
          <p:cNvPr id="280" name="Фигура"/>
          <p:cNvSpPr/>
          <p:nvPr/>
        </p:nvSpPr>
        <p:spPr>
          <a:xfrm>
            <a:off x="6017513" y="2609106"/>
            <a:ext cx="1150077" cy="12113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1" h="21535" extrusionOk="0">
                <a:moveTo>
                  <a:pt x="16904" y="15081"/>
                </a:moveTo>
                <a:cubicBezTo>
                  <a:pt x="16878" y="15144"/>
                  <a:pt x="16987" y="15511"/>
                  <a:pt x="17048" y="15519"/>
                </a:cubicBezTo>
                <a:cubicBezTo>
                  <a:pt x="17083" y="15524"/>
                  <a:pt x="17047" y="15382"/>
                  <a:pt x="17101" y="15439"/>
                </a:cubicBezTo>
                <a:cubicBezTo>
                  <a:pt x="17151" y="15490"/>
                  <a:pt x="17019" y="15711"/>
                  <a:pt x="17203" y="15682"/>
                </a:cubicBezTo>
                <a:cubicBezTo>
                  <a:pt x="17259" y="15674"/>
                  <a:pt x="17432" y="15703"/>
                  <a:pt x="17464" y="15758"/>
                </a:cubicBezTo>
                <a:cubicBezTo>
                  <a:pt x="17452" y="15727"/>
                  <a:pt x="17442" y="15696"/>
                  <a:pt x="17435" y="15663"/>
                </a:cubicBezTo>
                <a:cubicBezTo>
                  <a:pt x="17516" y="15683"/>
                  <a:pt x="17654" y="15992"/>
                  <a:pt x="17725" y="15946"/>
                </a:cubicBezTo>
                <a:cubicBezTo>
                  <a:pt x="17786" y="15905"/>
                  <a:pt x="17633" y="15755"/>
                  <a:pt x="17633" y="15702"/>
                </a:cubicBezTo>
                <a:cubicBezTo>
                  <a:pt x="17660" y="15714"/>
                  <a:pt x="17766" y="15737"/>
                  <a:pt x="17745" y="15652"/>
                </a:cubicBezTo>
                <a:cubicBezTo>
                  <a:pt x="17729" y="15587"/>
                  <a:pt x="17567" y="15597"/>
                  <a:pt x="17540" y="15580"/>
                </a:cubicBezTo>
                <a:cubicBezTo>
                  <a:pt x="17349" y="15455"/>
                  <a:pt x="17283" y="15635"/>
                  <a:pt x="17202" y="15310"/>
                </a:cubicBezTo>
                <a:cubicBezTo>
                  <a:pt x="17153" y="15112"/>
                  <a:pt x="17295" y="15098"/>
                  <a:pt x="17324" y="14930"/>
                </a:cubicBezTo>
                <a:cubicBezTo>
                  <a:pt x="17333" y="14883"/>
                  <a:pt x="17282" y="14574"/>
                  <a:pt x="17261" y="14508"/>
                </a:cubicBezTo>
                <a:cubicBezTo>
                  <a:pt x="17172" y="14517"/>
                  <a:pt x="16955" y="14428"/>
                  <a:pt x="16945" y="14587"/>
                </a:cubicBezTo>
                <a:cubicBezTo>
                  <a:pt x="16940" y="14669"/>
                  <a:pt x="17033" y="15040"/>
                  <a:pt x="16988" y="15085"/>
                </a:cubicBezTo>
                <a:cubicBezTo>
                  <a:pt x="16958" y="15115"/>
                  <a:pt x="16927" y="15024"/>
                  <a:pt x="16904" y="15081"/>
                </a:cubicBezTo>
                <a:close/>
                <a:moveTo>
                  <a:pt x="16904" y="15081"/>
                </a:moveTo>
                <a:cubicBezTo>
                  <a:pt x="16926" y="15025"/>
                  <a:pt x="16888" y="15121"/>
                  <a:pt x="16904" y="15081"/>
                </a:cubicBezTo>
                <a:cubicBezTo>
                  <a:pt x="16904" y="15081"/>
                  <a:pt x="16904" y="15081"/>
                  <a:pt x="16904" y="15081"/>
                </a:cubicBezTo>
                <a:close/>
                <a:moveTo>
                  <a:pt x="17709" y="16709"/>
                </a:moveTo>
                <a:cubicBezTo>
                  <a:pt x="17708" y="16802"/>
                  <a:pt x="17805" y="16839"/>
                  <a:pt x="17834" y="16746"/>
                </a:cubicBezTo>
                <a:cubicBezTo>
                  <a:pt x="17843" y="16718"/>
                  <a:pt x="17726" y="16544"/>
                  <a:pt x="17722" y="16461"/>
                </a:cubicBezTo>
                <a:cubicBezTo>
                  <a:pt x="17724" y="16510"/>
                  <a:pt x="17344" y="16224"/>
                  <a:pt x="17341" y="16255"/>
                </a:cubicBezTo>
                <a:cubicBezTo>
                  <a:pt x="17337" y="16305"/>
                  <a:pt x="17337" y="16436"/>
                  <a:pt x="17350" y="16498"/>
                </a:cubicBezTo>
                <a:cubicBezTo>
                  <a:pt x="17373" y="16614"/>
                  <a:pt x="17515" y="16528"/>
                  <a:pt x="17520" y="16668"/>
                </a:cubicBezTo>
                <a:cubicBezTo>
                  <a:pt x="17522" y="16697"/>
                  <a:pt x="17426" y="16700"/>
                  <a:pt x="17444" y="16766"/>
                </a:cubicBezTo>
                <a:cubicBezTo>
                  <a:pt x="17455" y="16807"/>
                  <a:pt x="17578" y="16963"/>
                  <a:pt x="17612" y="16917"/>
                </a:cubicBezTo>
                <a:cubicBezTo>
                  <a:pt x="17662" y="16850"/>
                  <a:pt x="17544" y="16759"/>
                  <a:pt x="17614" y="16682"/>
                </a:cubicBezTo>
                <a:cubicBezTo>
                  <a:pt x="17616" y="16704"/>
                  <a:pt x="17611" y="16808"/>
                  <a:pt x="17633" y="16819"/>
                </a:cubicBezTo>
                <a:cubicBezTo>
                  <a:pt x="17628" y="16817"/>
                  <a:pt x="17623" y="16814"/>
                  <a:pt x="17634" y="16819"/>
                </a:cubicBezTo>
                <a:cubicBezTo>
                  <a:pt x="17645" y="16824"/>
                  <a:pt x="17640" y="16822"/>
                  <a:pt x="17634" y="16819"/>
                </a:cubicBezTo>
                <a:cubicBezTo>
                  <a:pt x="17657" y="16828"/>
                  <a:pt x="17680" y="16724"/>
                  <a:pt x="17709" y="16709"/>
                </a:cubicBezTo>
                <a:close/>
                <a:moveTo>
                  <a:pt x="17710" y="15961"/>
                </a:moveTo>
                <a:cubicBezTo>
                  <a:pt x="17692" y="16058"/>
                  <a:pt x="17961" y="16228"/>
                  <a:pt x="17733" y="16237"/>
                </a:cubicBezTo>
                <a:cubicBezTo>
                  <a:pt x="17725" y="16290"/>
                  <a:pt x="17863" y="16620"/>
                  <a:pt x="17917" y="16605"/>
                </a:cubicBezTo>
                <a:cubicBezTo>
                  <a:pt x="17920" y="16528"/>
                  <a:pt x="17845" y="16422"/>
                  <a:pt x="17860" y="16351"/>
                </a:cubicBezTo>
                <a:cubicBezTo>
                  <a:pt x="17876" y="16273"/>
                  <a:pt x="17948" y="16350"/>
                  <a:pt x="17980" y="16311"/>
                </a:cubicBezTo>
                <a:cubicBezTo>
                  <a:pt x="17973" y="16319"/>
                  <a:pt x="17965" y="16329"/>
                  <a:pt x="17980" y="16310"/>
                </a:cubicBezTo>
                <a:cubicBezTo>
                  <a:pt x="17991" y="16297"/>
                  <a:pt x="17986" y="16303"/>
                  <a:pt x="17980" y="16310"/>
                </a:cubicBezTo>
                <a:cubicBezTo>
                  <a:pt x="18077" y="16188"/>
                  <a:pt x="17806" y="15955"/>
                  <a:pt x="17710" y="15961"/>
                </a:cubicBezTo>
                <a:close/>
                <a:moveTo>
                  <a:pt x="18167" y="17453"/>
                </a:moveTo>
                <a:cubicBezTo>
                  <a:pt x="18167" y="17440"/>
                  <a:pt x="18167" y="17446"/>
                  <a:pt x="18167" y="17453"/>
                </a:cubicBezTo>
                <a:cubicBezTo>
                  <a:pt x="18167" y="17453"/>
                  <a:pt x="18167" y="17453"/>
                  <a:pt x="18167" y="17453"/>
                </a:cubicBezTo>
                <a:close/>
                <a:moveTo>
                  <a:pt x="18083" y="17581"/>
                </a:moveTo>
                <a:cubicBezTo>
                  <a:pt x="18118" y="17811"/>
                  <a:pt x="18000" y="17620"/>
                  <a:pt x="18003" y="17620"/>
                </a:cubicBezTo>
                <a:cubicBezTo>
                  <a:pt x="17800" y="17636"/>
                  <a:pt x="17817" y="17533"/>
                  <a:pt x="17813" y="17287"/>
                </a:cubicBezTo>
                <a:cubicBezTo>
                  <a:pt x="17810" y="17128"/>
                  <a:pt x="17608" y="17239"/>
                  <a:pt x="17535" y="17194"/>
                </a:cubicBezTo>
                <a:cubicBezTo>
                  <a:pt x="17492" y="17167"/>
                  <a:pt x="17488" y="17406"/>
                  <a:pt x="17436" y="17391"/>
                </a:cubicBezTo>
                <a:cubicBezTo>
                  <a:pt x="17357" y="17368"/>
                  <a:pt x="17569" y="16871"/>
                  <a:pt x="17719" y="16991"/>
                </a:cubicBezTo>
                <a:cubicBezTo>
                  <a:pt x="17721" y="16992"/>
                  <a:pt x="17793" y="17215"/>
                  <a:pt x="17812" y="17062"/>
                </a:cubicBezTo>
                <a:cubicBezTo>
                  <a:pt x="17825" y="16959"/>
                  <a:pt x="17826" y="16988"/>
                  <a:pt x="17894" y="16996"/>
                </a:cubicBezTo>
                <a:cubicBezTo>
                  <a:pt x="17909" y="16893"/>
                  <a:pt x="17880" y="16906"/>
                  <a:pt x="17983" y="16886"/>
                </a:cubicBezTo>
                <a:cubicBezTo>
                  <a:pt x="18091" y="16865"/>
                  <a:pt x="17957" y="16726"/>
                  <a:pt x="18000" y="16693"/>
                </a:cubicBezTo>
                <a:cubicBezTo>
                  <a:pt x="18101" y="16614"/>
                  <a:pt x="18130" y="16965"/>
                  <a:pt x="18133" y="16978"/>
                </a:cubicBezTo>
                <a:cubicBezTo>
                  <a:pt x="18131" y="16970"/>
                  <a:pt x="18211" y="17160"/>
                  <a:pt x="18200" y="17128"/>
                </a:cubicBezTo>
                <a:cubicBezTo>
                  <a:pt x="18258" y="17300"/>
                  <a:pt x="18153" y="17341"/>
                  <a:pt x="18174" y="17494"/>
                </a:cubicBezTo>
                <a:lnTo>
                  <a:pt x="18168" y="17460"/>
                </a:lnTo>
                <a:cubicBezTo>
                  <a:pt x="18167" y="17449"/>
                  <a:pt x="18120" y="17319"/>
                  <a:pt x="18100" y="17304"/>
                </a:cubicBezTo>
                <a:cubicBezTo>
                  <a:pt x="17981" y="17215"/>
                  <a:pt x="18085" y="17594"/>
                  <a:pt x="18083" y="17581"/>
                </a:cubicBezTo>
                <a:close/>
                <a:moveTo>
                  <a:pt x="18592" y="19309"/>
                </a:moveTo>
                <a:cubicBezTo>
                  <a:pt x="18592" y="19309"/>
                  <a:pt x="18587" y="19307"/>
                  <a:pt x="18585" y="19305"/>
                </a:cubicBezTo>
                <a:cubicBezTo>
                  <a:pt x="18586" y="19306"/>
                  <a:pt x="18588" y="19307"/>
                  <a:pt x="18592" y="19309"/>
                </a:cubicBezTo>
                <a:close/>
                <a:moveTo>
                  <a:pt x="18592" y="19309"/>
                </a:moveTo>
                <a:lnTo>
                  <a:pt x="18598" y="19309"/>
                </a:lnTo>
                <a:cubicBezTo>
                  <a:pt x="18615" y="19134"/>
                  <a:pt x="18425" y="19063"/>
                  <a:pt x="18628" y="18989"/>
                </a:cubicBezTo>
                <a:cubicBezTo>
                  <a:pt x="18655" y="18947"/>
                  <a:pt x="18648" y="18911"/>
                  <a:pt x="18607" y="18881"/>
                </a:cubicBezTo>
                <a:cubicBezTo>
                  <a:pt x="18642" y="18813"/>
                  <a:pt x="18683" y="18803"/>
                  <a:pt x="18669" y="18696"/>
                </a:cubicBezTo>
                <a:cubicBezTo>
                  <a:pt x="18643" y="18690"/>
                  <a:pt x="18459" y="18728"/>
                  <a:pt x="18561" y="18611"/>
                </a:cubicBezTo>
                <a:cubicBezTo>
                  <a:pt x="18564" y="18608"/>
                  <a:pt x="18724" y="18381"/>
                  <a:pt x="18601" y="18449"/>
                </a:cubicBezTo>
                <a:cubicBezTo>
                  <a:pt x="18400" y="18560"/>
                  <a:pt x="18393" y="19197"/>
                  <a:pt x="18592" y="19309"/>
                </a:cubicBezTo>
                <a:close/>
                <a:moveTo>
                  <a:pt x="18103" y="19991"/>
                </a:moveTo>
                <a:cubicBezTo>
                  <a:pt x="18100" y="19960"/>
                  <a:pt x="18096" y="19927"/>
                  <a:pt x="18103" y="19992"/>
                </a:cubicBezTo>
                <a:cubicBezTo>
                  <a:pt x="18109" y="20049"/>
                  <a:pt x="18106" y="20022"/>
                  <a:pt x="18103" y="19992"/>
                </a:cubicBezTo>
                <a:cubicBezTo>
                  <a:pt x="18116" y="20110"/>
                  <a:pt x="18306" y="20161"/>
                  <a:pt x="18306" y="20039"/>
                </a:cubicBezTo>
                <a:lnTo>
                  <a:pt x="18306" y="20017"/>
                </a:lnTo>
                <a:cubicBezTo>
                  <a:pt x="18306" y="19930"/>
                  <a:pt x="18091" y="19867"/>
                  <a:pt x="18103" y="19991"/>
                </a:cubicBezTo>
                <a:close/>
                <a:moveTo>
                  <a:pt x="18904" y="19884"/>
                </a:moveTo>
                <a:cubicBezTo>
                  <a:pt x="18917" y="19893"/>
                  <a:pt x="18937" y="19906"/>
                  <a:pt x="18903" y="19884"/>
                </a:cubicBezTo>
                <a:cubicBezTo>
                  <a:pt x="18890" y="19876"/>
                  <a:pt x="18895" y="19879"/>
                  <a:pt x="18902" y="19883"/>
                </a:cubicBezTo>
                <a:cubicBezTo>
                  <a:pt x="18853" y="19853"/>
                  <a:pt x="18538" y="19779"/>
                  <a:pt x="18518" y="19896"/>
                </a:cubicBezTo>
                <a:cubicBezTo>
                  <a:pt x="18509" y="19950"/>
                  <a:pt x="18935" y="20067"/>
                  <a:pt x="18988" y="20089"/>
                </a:cubicBezTo>
                <a:cubicBezTo>
                  <a:pt x="19014" y="20004"/>
                  <a:pt x="18985" y="19937"/>
                  <a:pt x="18904" y="19884"/>
                </a:cubicBezTo>
                <a:close/>
                <a:moveTo>
                  <a:pt x="16263" y="21201"/>
                </a:moveTo>
                <a:cubicBezTo>
                  <a:pt x="16276" y="21209"/>
                  <a:pt x="16293" y="21218"/>
                  <a:pt x="16262" y="21201"/>
                </a:cubicBezTo>
                <a:cubicBezTo>
                  <a:pt x="16243" y="21190"/>
                  <a:pt x="16250" y="21195"/>
                  <a:pt x="16261" y="21200"/>
                </a:cubicBezTo>
                <a:cubicBezTo>
                  <a:pt x="16178" y="21156"/>
                  <a:pt x="15894" y="21117"/>
                  <a:pt x="15839" y="21038"/>
                </a:cubicBezTo>
                <a:cubicBezTo>
                  <a:pt x="15766" y="20931"/>
                  <a:pt x="16060" y="20952"/>
                  <a:pt x="16033" y="20890"/>
                </a:cubicBezTo>
                <a:cubicBezTo>
                  <a:pt x="16015" y="20847"/>
                  <a:pt x="15631" y="20892"/>
                  <a:pt x="15548" y="20827"/>
                </a:cubicBezTo>
                <a:cubicBezTo>
                  <a:pt x="15431" y="20733"/>
                  <a:pt x="15383" y="20954"/>
                  <a:pt x="15185" y="20881"/>
                </a:cubicBezTo>
                <a:cubicBezTo>
                  <a:pt x="15030" y="20824"/>
                  <a:pt x="14638" y="20421"/>
                  <a:pt x="14549" y="20854"/>
                </a:cubicBezTo>
                <a:cubicBezTo>
                  <a:pt x="14678" y="20857"/>
                  <a:pt x="14825" y="21025"/>
                  <a:pt x="14961" y="21071"/>
                </a:cubicBezTo>
                <a:cubicBezTo>
                  <a:pt x="15189" y="21147"/>
                  <a:pt x="15472" y="21216"/>
                  <a:pt x="15706" y="21244"/>
                </a:cubicBezTo>
                <a:cubicBezTo>
                  <a:pt x="15768" y="21252"/>
                  <a:pt x="16095" y="21365"/>
                  <a:pt x="16116" y="21306"/>
                </a:cubicBezTo>
                <a:cubicBezTo>
                  <a:pt x="16108" y="21329"/>
                  <a:pt x="16443" y="21301"/>
                  <a:pt x="16263" y="21201"/>
                </a:cubicBezTo>
                <a:close/>
                <a:moveTo>
                  <a:pt x="14587" y="20535"/>
                </a:moveTo>
                <a:cubicBezTo>
                  <a:pt x="14613" y="20480"/>
                  <a:pt x="14595" y="20518"/>
                  <a:pt x="14587" y="20535"/>
                </a:cubicBezTo>
                <a:cubicBezTo>
                  <a:pt x="14615" y="20477"/>
                  <a:pt x="14667" y="19955"/>
                  <a:pt x="14646" y="19893"/>
                </a:cubicBezTo>
                <a:cubicBezTo>
                  <a:pt x="14672" y="19912"/>
                  <a:pt x="14704" y="19916"/>
                  <a:pt x="14725" y="19942"/>
                </a:cubicBezTo>
                <a:cubicBezTo>
                  <a:pt x="14719" y="19826"/>
                  <a:pt x="14724" y="19684"/>
                  <a:pt x="14625" y="19570"/>
                </a:cubicBezTo>
                <a:cubicBezTo>
                  <a:pt x="14582" y="19521"/>
                  <a:pt x="14466" y="19573"/>
                  <a:pt x="14476" y="19656"/>
                </a:cubicBezTo>
                <a:cubicBezTo>
                  <a:pt x="14484" y="19728"/>
                  <a:pt x="14595" y="19726"/>
                  <a:pt x="14612" y="19833"/>
                </a:cubicBezTo>
                <a:cubicBezTo>
                  <a:pt x="14544" y="19734"/>
                  <a:pt x="14504" y="19734"/>
                  <a:pt x="14410" y="19686"/>
                </a:cubicBezTo>
                <a:cubicBezTo>
                  <a:pt x="14334" y="19438"/>
                  <a:pt x="14184" y="19343"/>
                  <a:pt x="14241" y="19116"/>
                </a:cubicBezTo>
                <a:cubicBezTo>
                  <a:pt x="14265" y="19025"/>
                  <a:pt x="13866" y="18581"/>
                  <a:pt x="13773" y="18564"/>
                </a:cubicBezTo>
                <a:cubicBezTo>
                  <a:pt x="13610" y="18532"/>
                  <a:pt x="13314" y="18143"/>
                  <a:pt x="13239" y="17978"/>
                </a:cubicBezTo>
                <a:cubicBezTo>
                  <a:pt x="13175" y="17835"/>
                  <a:pt x="12614" y="17619"/>
                  <a:pt x="12740" y="17868"/>
                </a:cubicBezTo>
                <a:cubicBezTo>
                  <a:pt x="12804" y="17994"/>
                  <a:pt x="12911" y="18099"/>
                  <a:pt x="12993" y="18204"/>
                </a:cubicBezTo>
                <a:cubicBezTo>
                  <a:pt x="13074" y="18306"/>
                  <a:pt x="13143" y="18547"/>
                  <a:pt x="13247" y="18604"/>
                </a:cubicBezTo>
                <a:cubicBezTo>
                  <a:pt x="13343" y="18657"/>
                  <a:pt x="13391" y="18728"/>
                  <a:pt x="13410" y="18867"/>
                </a:cubicBezTo>
                <a:cubicBezTo>
                  <a:pt x="13435" y="19052"/>
                  <a:pt x="13571" y="19187"/>
                  <a:pt x="13642" y="19345"/>
                </a:cubicBezTo>
                <a:cubicBezTo>
                  <a:pt x="13726" y="19532"/>
                  <a:pt x="13738" y="19854"/>
                  <a:pt x="13898" y="19967"/>
                </a:cubicBezTo>
                <a:cubicBezTo>
                  <a:pt x="13999" y="20039"/>
                  <a:pt x="14049" y="20239"/>
                  <a:pt x="14159" y="20332"/>
                </a:cubicBezTo>
                <a:cubicBezTo>
                  <a:pt x="14218" y="20381"/>
                  <a:pt x="14320" y="20591"/>
                  <a:pt x="14373" y="20604"/>
                </a:cubicBezTo>
                <a:cubicBezTo>
                  <a:pt x="14369" y="20571"/>
                  <a:pt x="14355" y="20530"/>
                  <a:pt x="14378" y="20503"/>
                </a:cubicBezTo>
                <a:cubicBezTo>
                  <a:pt x="14413" y="20525"/>
                  <a:pt x="14560" y="20593"/>
                  <a:pt x="14587" y="20535"/>
                </a:cubicBezTo>
                <a:cubicBezTo>
                  <a:pt x="14584" y="20542"/>
                  <a:pt x="14582" y="20546"/>
                  <a:pt x="14587" y="20535"/>
                </a:cubicBezTo>
                <a:close/>
                <a:moveTo>
                  <a:pt x="18008" y="18723"/>
                </a:moveTo>
                <a:cubicBezTo>
                  <a:pt x="17983" y="18750"/>
                  <a:pt x="17963" y="18782"/>
                  <a:pt x="17947" y="18819"/>
                </a:cubicBezTo>
                <a:cubicBezTo>
                  <a:pt x="17734" y="19148"/>
                  <a:pt x="17442" y="18778"/>
                  <a:pt x="17197" y="18912"/>
                </a:cubicBezTo>
                <a:cubicBezTo>
                  <a:pt x="17066" y="18984"/>
                  <a:pt x="16845" y="19897"/>
                  <a:pt x="16936" y="20034"/>
                </a:cubicBezTo>
                <a:cubicBezTo>
                  <a:pt x="16988" y="20112"/>
                  <a:pt x="17002" y="20686"/>
                  <a:pt x="17101" y="20570"/>
                </a:cubicBezTo>
                <a:cubicBezTo>
                  <a:pt x="17213" y="20440"/>
                  <a:pt x="17176" y="20077"/>
                  <a:pt x="17157" y="19905"/>
                </a:cubicBezTo>
                <a:cubicBezTo>
                  <a:pt x="17424" y="19728"/>
                  <a:pt x="17188" y="20552"/>
                  <a:pt x="17558" y="20246"/>
                </a:cubicBezTo>
                <a:cubicBezTo>
                  <a:pt x="17629" y="20187"/>
                  <a:pt x="17419" y="19764"/>
                  <a:pt x="17386" y="19700"/>
                </a:cubicBezTo>
                <a:cubicBezTo>
                  <a:pt x="17326" y="19586"/>
                  <a:pt x="17694" y="19451"/>
                  <a:pt x="17705" y="19360"/>
                </a:cubicBezTo>
                <a:cubicBezTo>
                  <a:pt x="17715" y="19275"/>
                  <a:pt x="16935" y="19751"/>
                  <a:pt x="17124" y="19135"/>
                </a:cubicBezTo>
                <a:cubicBezTo>
                  <a:pt x="17171" y="18983"/>
                  <a:pt x="17519" y="19053"/>
                  <a:pt x="17608" y="19065"/>
                </a:cubicBezTo>
                <a:cubicBezTo>
                  <a:pt x="17718" y="19079"/>
                  <a:pt x="17835" y="19134"/>
                  <a:pt x="17920" y="19006"/>
                </a:cubicBezTo>
                <a:cubicBezTo>
                  <a:pt x="17927" y="18996"/>
                  <a:pt x="18090" y="18686"/>
                  <a:pt x="18008" y="18723"/>
                </a:cubicBezTo>
                <a:close/>
                <a:moveTo>
                  <a:pt x="16704" y="13082"/>
                </a:moveTo>
                <a:cubicBezTo>
                  <a:pt x="16613" y="13312"/>
                  <a:pt x="16783" y="13423"/>
                  <a:pt x="16840" y="13609"/>
                </a:cubicBezTo>
                <a:cubicBezTo>
                  <a:pt x="16841" y="13609"/>
                  <a:pt x="16850" y="13609"/>
                  <a:pt x="16851" y="13609"/>
                </a:cubicBezTo>
                <a:cubicBezTo>
                  <a:pt x="16855" y="13521"/>
                  <a:pt x="17025" y="12818"/>
                  <a:pt x="16888" y="12816"/>
                </a:cubicBezTo>
                <a:cubicBezTo>
                  <a:pt x="16888" y="12816"/>
                  <a:pt x="16888" y="12816"/>
                  <a:pt x="16888" y="12816"/>
                </a:cubicBezTo>
                <a:cubicBezTo>
                  <a:pt x="16848" y="12816"/>
                  <a:pt x="16878" y="12816"/>
                  <a:pt x="16888" y="12816"/>
                </a:cubicBezTo>
                <a:cubicBezTo>
                  <a:pt x="16771" y="12816"/>
                  <a:pt x="16747" y="12972"/>
                  <a:pt x="16704" y="13082"/>
                </a:cubicBezTo>
                <a:close/>
                <a:moveTo>
                  <a:pt x="17712" y="10844"/>
                </a:moveTo>
                <a:cubicBezTo>
                  <a:pt x="17703" y="10863"/>
                  <a:pt x="17708" y="10853"/>
                  <a:pt x="17712" y="10844"/>
                </a:cubicBezTo>
                <a:cubicBezTo>
                  <a:pt x="17692" y="10887"/>
                  <a:pt x="17822" y="11096"/>
                  <a:pt x="17838" y="11109"/>
                </a:cubicBezTo>
                <a:cubicBezTo>
                  <a:pt x="17849" y="11118"/>
                  <a:pt x="17865" y="11124"/>
                  <a:pt x="17877" y="11126"/>
                </a:cubicBezTo>
                <a:cubicBezTo>
                  <a:pt x="17878" y="11096"/>
                  <a:pt x="17839" y="10886"/>
                  <a:pt x="17827" y="10899"/>
                </a:cubicBezTo>
                <a:cubicBezTo>
                  <a:pt x="17897" y="10821"/>
                  <a:pt x="17903" y="11539"/>
                  <a:pt x="18077" y="11380"/>
                </a:cubicBezTo>
                <a:cubicBezTo>
                  <a:pt x="18170" y="11297"/>
                  <a:pt x="18111" y="11168"/>
                  <a:pt x="18118" y="11055"/>
                </a:cubicBezTo>
                <a:cubicBezTo>
                  <a:pt x="18128" y="10876"/>
                  <a:pt x="18099" y="10972"/>
                  <a:pt x="18021" y="10859"/>
                </a:cubicBezTo>
                <a:cubicBezTo>
                  <a:pt x="18036" y="10845"/>
                  <a:pt x="17825" y="10607"/>
                  <a:pt x="17712" y="10844"/>
                </a:cubicBezTo>
                <a:cubicBezTo>
                  <a:pt x="17714" y="10841"/>
                  <a:pt x="17715" y="10839"/>
                  <a:pt x="17716" y="10837"/>
                </a:cubicBezTo>
                <a:cubicBezTo>
                  <a:pt x="17715" y="10838"/>
                  <a:pt x="17714" y="10841"/>
                  <a:pt x="17712" y="10844"/>
                </a:cubicBezTo>
                <a:close/>
                <a:moveTo>
                  <a:pt x="18155" y="10981"/>
                </a:moveTo>
                <a:cubicBezTo>
                  <a:pt x="18156" y="10983"/>
                  <a:pt x="18156" y="10984"/>
                  <a:pt x="18157" y="10986"/>
                </a:cubicBezTo>
                <a:lnTo>
                  <a:pt x="18157" y="10980"/>
                </a:lnTo>
                <a:cubicBezTo>
                  <a:pt x="18156" y="10981"/>
                  <a:pt x="18156" y="10981"/>
                  <a:pt x="18155" y="10981"/>
                </a:cubicBezTo>
                <a:close/>
                <a:moveTo>
                  <a:pt x="18494" y="10870"/>
                </a:moveTo>
                <a:cubicBezTo>
                  <a:pt x="18495" y="10871"/>
                  <a:pt x="18495" y="10871"/>
                  <a:pt x="18494" y="10870"/>
                </a:cubicBezTo>
                <a:cubicBezTo>
                  <a:pt x="18471" y="10838"/>
                  <a:pt x="18547" y="10731"/>
                  <a:pt x="18554" y="10729"/>
                </a:cubicBezTo>
                <a:cubicBezTo>
                  <a:pt x="18453" y="10479"/>
                  <a:pt x="18199" y="10696"/>
                  <a:pt x="18150" y="10851"/>
                </a:cubicBezTo>
                <a:cubicBezTo>
                  <a:pt x="18209" y="10805"/>
                  <a:pt x="18269" y="11010"/>
                  <a:pt x="18342" y="10999"/>
                </a:cubicBezTo>
                <a:cubicBezTo>
                  <a:pt x="18354" y="10871"/>
                  <a:pt x="18377" y="10711"/>
                  <a:pt x="18494" y="10870"/>
                </a:cubicBezTo>
                <a:close/>
                <a:moveTo>
                  <a:pt x="18925" y="10455"/>
                </a:moveTo>
                <a:cubicBezTo>
                  <a:pt x="19074" y="10535"/>
                  <a:pt x="18998" y="10353"/>
                  <a:pt x="19082" y="10331"/>
                </a:cubicBezTo>
                <a:cubicBezTo>
                  <a:pt x="19143" y="10315"/>
                  <a:pt x="19102" y="10429"/>
                  <a:pt x="19140" y="10453"/>
                </a:cubicBezTo>
                <a:cubicBezTo>
                  <a:pt x="19161" y="10466"/>
                  <a:pt x="19182" y="10192"/>
                  <a:pt x="19268" y="10229"/>
                </a:cubicBezTo>
                <a:cubicBezTo>
                  <a:pt x="19270" y="10283"/>
                  <a:pt x="19281" y="10332"/>
                  <a:pt x="19303" y="10378"/>
                </a:cubicBezTo>
                <a:cubicBezTo>
                  <a:pt x="19331" y="10411"/>
                  <a:pt x="19368" y="10180"/>
                  <a:pt x="19390" y="10163"/>
                </a:cubicBezTo>
                <a:cubicBezTo>
                  <a:pt x="19189" y="10042"/>
                  <a:pt x="19220" y="9561"/>
                  <a:pt x="19213" y="9410"/>
                </a:cubicBezTo>
                <a:cubicBezTo>
                  <a:pt x="19203" y="9250"/>
                  <a:pt x="18945" y="8663"/>
                  <a:pt x="18789" y="8793"/>
                </a:cubicBezTo>
                <a:cubicBezTo>
                  <a:pt x="18688" y="8878"/>
                  <a:pt x="18903" y="9380"/>
                  <a:pt x="18921" y="9513"/>
                </a:cubicBezTo>
                <a:cubicBezTo>
                  <a:pt x="18942" y="9666"/>
                  <a:pt x="18831" y="9812"/>
                  <a:pt x="18747" y="9883"/>
                </a:cubicBezTo>
                <a:cubicBezTo>
                  <a:pt x="18578" y="10022"/>
                  <a:pt x="18681" y="9752"/>
                  <a:pt x="18616" y="9737"/>
                </a:cubicBezTo>
                <a:cubicBezTo>
                  <a:pt x="18570" y="9727"/>
                  <a:pt x="18579" y="10013"/>
                  <a:pt x="18565" y="10058"/>
                </a:cubicBezTo>
                <a:cubicBezTo>
                  <a:pt x="18497" y="10271"/>
                  <a:pt x="18631" y="10204"/>
                  <a:pt x="18427" y="10176"/>
                </a:cubicBezTo>
                <a:cubicBezTo>
                  <a:pt x="18351" y="10166"/>
                  <a:pt x="18089" y="10234"/>
                  <a:pt x="18044" y="10303"/>
                </a:cubicBezTo>
                <a:cubicBezTo>
                  <a:pt x="18047" y="10299"/>
                  <a:pt x="17883" y="10560"/>
                  <a:pt x="17858" y="10523"/>
                </a:cubicBezTo>
                <a:cubicBezTo>
                  <a:pt x="17899" y="10754"/>
                  <a:pt x="18464" y="10422"/>
                  <a:pt x="18580" y="10472"/>
                </a:cubicBezTo>
                <a:cubicBezTo>
                  <a:pt x="18585" y="10596"/>
                  <a:pt x="18609" y="10680"/>
                  <a:pt x="18703" y="10735"/>
                </a:cubicBezTo>
                <a:cubicBezTo>
                  <a:pt x="18753" y="10764"/>
                  <a:pt x="18816" y="10592"/>
                  <a:pt x="18840" y="10543"/>
                </a:cubicBezTo>
                <a:cubicBezTo>
                  <a:pt x="18865" y="10494"/>
                  <a:pt x="18720" y="10465"/>
                  <a:pt x="18769" y="10389"/>
                </a:cubicBezTo>
                <a:cubicBezTo>
                  <a:pt x="18797" y="10347"/>
                  <a:pt x="18905" y="10444"/>
                  <a:pt x="18925" y="10455"/>
                </a:cubicBezTo>
                <a:close/>
                <a:moveTo>
                  <a:pt x="19160" y="8116"/>
                </a:moveTo>
                <a:lnTo>
                  <a:pt x="19146" y="8111"/>
                </a:lnTo>
                <a:cubicBezTo>
                  <a:pt x="19036" y="8151"/>
                  <a:pt x="19089" y="8247"/>
                  <a:pt x="18906" y="8142"/>
                </a:cubicBezTo>
                <a:cubicBezTo>
                  <a:pt x="18847" y="8108"/>
                  <a:pt x="18485" y="7762"/>
                  <a:pt x="18443" y="7857"/>
                </a:cubicBezTo>
                <a:cubicBezTo>
                  <a:pt x="18479" y="7928"/>
                  <a:pt x="18697" y="8296"/>
                  <a:pt x="18646" y="8380"/>
                </a:cubicBezTo>
                <a:cubicBezTo>
                  <a:pt x="18629" y="8381"/>
                  <a:pt x="18520" y="8340"/>
                  <a:pt x="18499" y="8358"/>
                </a:cubicBezTo>
                <a:cubicBezTo>
                  <a:pt x="18498" y="8393"/>
                  <a:pt x="18522" y="8403"/>
                  <a:pt x="18547" y="8410"/>
                </a:cubicBezTo>
                <a:cubicBezTo>
                  <a:pt x="18531" y="8460"/>
                  <a:pt x="18513" y="8509"/>
                  <a:pt x="18493" y="8557"/>
                </a:cubicBezTo>
                <a:cubicBezTo>
                  <a:pt x="18527" y="8619"/>
                  <a:pt x="18568" y="8674"/>
                  <a:pt x="18615" y="8721"/>
                </a:cubicBezTo>
                <a:cubicBezTo>
                  <a:pt x="18661" y="8865"/>
                  <a:pt x="18800" y="8728"/>
                  <a:pt x="18795" y="8712"/>
                </a:cubicBezTo>
                <a:cubicBezTo>
                  <a:pt x="18774" y="8635"/>
                  <a:pt x="18622" y="8687"/>
                  <a:pt x="18587" y="8598"/>
                </a:cubicBezTo>
                <a:cubicBezTo>
                  <a:pt x="18565" y="8543"/>
                  <a:pt x="18779" y="8529"/>
                  <a:pt x="18804" y="8536"/>
                </a:cubicBezTo>
                <a:cubicBezTo>
                  <a:pt x="18831" y="8543"/>
                  <a:pt x="19142" y="8756"/>
                  <a:pt x="19097" y="8609"/>
                </a:cubicBezTo>
                <a:cubicBezTo>
                  <a:pt x="19047" y="8447"/>
                  <a:pt x="19219" y="8414"/>
                  <a:pt x="19316" y="8366"/>
                </a:cubicBezTo>
                <a:cubicBezTo>
                  <a:pt x="19247" y="8378"/>
                  <a:pt x="19154" y="8192"/>
                  <a:pt x="19160" y="8116"/>
                </a:cubicBezTo>
                <a:close/>
                <a:moveTo>
                  <a:pt x="17646" y="6274"/>
                </a:moveTo>
                <a:cubicBezTo>
                  <a:pt x="17799" y="6419"/>
                  <a:pt x="17943" y="6645"/>
                  <a:pt x="18027" y="6862"/>
                </a:cubicBezTo>
                <a:cubicBezTo>
                  <a:pt x="18080" y="6997"/>
                  <a:pt x="18171" y="7189"/>
                  <a:pt x="18248" y="7303"/>
                </a:cubicBezTo>
                <a:cubicBezTo>
                  <a:pt x="18298" y="7378"/>
                  <a:pt x="18389" y="7663"/>
                  <a:pt x="18474" y="7676"/>
                </a:cubicBezTo>
                <a:cubicBezTo>
                  <a:pt x="18421" y="7470"/>
                  <a:pt x="18534" y="7473"/>
                  <a:pt x="18607" y="7547"/>
                </a:cubicBezTo>
                <a:cubicBezTo>
                  <a:pt x="18461" y="7353"/>
                  <a:pt x="18082" y="7060"/>
                  <a:pt x="18198" y="6858"/>
                </a:cubicBezTo>
                <a:cubicBezTo>
                  <a:pt x="18255" y="6759"/>
                  <a:pt x="18499" y="7018"/>
                  <a:pt x="18519" y="7049"/>
                </a:cubicBezTo>
                <a:cubicBezTo>
                  <a:pt x="18357" y="6801"/>
                  <a:pt x="18126" y="6627"/>
                  <a:pt x="17961" y="6378"/>
                </a:cubicBezTo>
                <a:cubicBezTo>
                  <a:pt x="17806" y="6144"/>
                  <a:pt x="17586" y="5734"/>
                  <a:pt x="17350" y="5619"/>
                </a:cubicBezTo>
                <a:cubicBezTo>
                  <a:pt x="17325" y="5663"/>
                  <a:pt x="17472" y="5827"/>
                  <a:pt x="17478" y="5878"/>
                </a:cubicBezTo>
                <a:cubicBezTo>
                  <a:pt x="17465" y="5877"/>
                  <a:pt x="17376" y="5743"/>
                  <a:pt x="17378" y="5856"/>
                </a:cubicBezTo>
                <a:cubicBezTo>
                  <a:pt x="17378" y="5852"/>
                  <a:pt x="17378" y="5849"/>
                  <a:pt x="17378" y="5857"/>
                </a:cubicBezTo>
                <a:cubicBezTo>
                  <a:pt x="17379" y="5869"/>
                  <a:pt x="17378" y="5863"/>
                  <a:pt x="17378" y="5857"/>
                </a:cubicBezTo>
                <a:cubicBezTo>
                  <a:pt x="17381" y="5928"/>
                  <a:pt x="17603" y="6232"/>
                  <a:pt x="17646" y="6274"/>
                </a:cubicBezTo>
                <a:close/>
                <a:moveTo>
                  <a:pt x="18607" y="7547"/>
                </a:moveTo>
                <a:cubicBezTo>
                  <a:pt x="18635" y="7584"/>
                  <a:pt x="18654" y="7616"/>
                  <a:pt x="18660" y="7644"/>
                </a:cubicBezTo>
                <a:cubicBezTo>
                  <a:pt x="18653" y="7607"/>
                  <a:pt x="18633" y="7573"/>
                  <a:pt x="18607" y="7547"/>
                </a:cubicBezTo>
                <a:close/>
                <a:moveTo>
                  <a:pt x="12796" y="1135"/>
                </a:moveTo>
                <a:cubicBezTo>
                  <a:pt x="12751" y="1122"/>
                  <a:pt x="12895" y="1166"/>
                  <a:pt x="12796" y="1135"/>
                </a:cubicBezTo>
                <a:cubicBezTo>
                  <a:pt x="12796" y="1135"/>
                  <a:pt x="12796" y="1135"/>
                  <a:pt x="12796" y="1135"/>
                </a:cubicBezTo>
                <a:close/>
                <a:moveTo>
                  <a:pt x="12796" y="1135"/>
                </a:moveTo>
                <a:cubicBezTo>
                  <a:pt x="12907" y="1169"/>
                  <a:pt x="13566" y="1269"/>
                  <a:pt x="13631" y="1102"/>
                </a:cubicBezTo>
                <a:cubicBezTo>
                  <a:pt x="13663" y="1018"/>
                  <a:pt x="12743" y="910"/>
                  <a:pt x="12645" y="914"/>
                </a:cubicBezTo>
                <a:cubicBezTo>
                  <a:pt x="12600" y="1062"/>
                  <a:pt x="12710" y="1110"/>
                  <a:pt x="12796" y="1135"/>
                </a:cubicBezTo>
                <a:close/>
                <a:moveTo>
                  <a:pt x="6624" y="191"/>
                </a:moveTo>
                <a:cubicBezTo>
                  <a:pt x="6624" y="192"/>
                  <a:pt x="6625" y="195"/>
                  <a:pt x="6626" y="199"/>
                </a:cubicBezTo>
                <a:cubicBezTo>
                  <a:pt x="6626" y="196"/>
                  <a:pt x="6625" y="194"/>
                  <a:pt x="6624" y="191"/>
                </a:cubicBezTo>
                <a:cubicBezTo>
                  <a:pt x="6624" y="191"/>
                  <a:pt x="6624" y="191"/>
                  <a:pt x="6624" y="191"/>
                </a:cubicBezTo>
                <a:close/>
                <a:moveTo>
                  <a:pt x="6637" y="229"/>
                </a:moveTo>
                <a:cubicBezTo>
                  <a:pt x="6645" y="251"/>
                  <a:pt x="6651" y="268"/>
                  <a:pt x="6637" y="229"/>
                </a:cubicBezTo>
                <a:cubicBezTo>
                  <a:pt x="6637" y="229"/>
                  <a:pt x="6637" y="229"/>
                  <a:pt x="6637" y="229"/>
                </a:cubicBezTo>
                <a:close/>
                <a:moveTo>
                  <a:pt x="6637" y="229"/>
                </a:moveTo>
                <a:cubicBezTo>
                  <a:pt x="6637" y="228"/>
                  <a:pt x="6636" y="225"/>
                  <a:pt x="6635" y="224"/>
                </a:cubicBezTo>
                <a:cubicBezTo>
                  <a:pt x="6636" y="225"/>
                  <a:pt x="6637" y="227"/>
                  <a:pt x="6637" y="229"/>
                </a:cubicBezTo>
                <a:close/>
                <a:moveTo>
                  <a:pt x="6626" y="199"/>
                </a:moveTo>
                <a:cubicBezTo>
                  <a:pt x="6629" y="205"/>
                  <a:pt x="6632" y="215"/>
                  <a:pt x="6635" y="224"/>
                </a:cubicBezTo>
                <a:cubicBezTo>
                  <a:pt x="6633" y="217"/>
                  <a:pt x="6630" y="209"/>
                  <a:pt x="6626" y="199"/>
                </a:cubicBezTo>
                <a:close/>
                <a:moveTo>
                  <a:pt x="6639" y="191"/>
                </a:moveTo>
                <a:cubicBezTo>
                  <a:pt x="6700" y="344"/>
                  <a:pt x="6882" y="206"/>
                  <a:pt x="6974" y="224"/>
                </a:cubicBezTo>
                <a:cubicBezTo>
                  <a:pt x="6891" y="274"/>
                  <a:pt x="7101" y="361"/>
                  <a:pt x="7127" y="364"/>
                </a:cubicBezTo>
                <a:cubicBezTo>
                  <a:pt x="7319" y="388"/>
                  <a:pt x="7515" y="426"/>
                  <a:pt x="7709" y="415"/>
                </a:cubicBezTo>
                <a:cubicBezTo>
                  <a:pt x="7714" y="407"/>
                  <a:pt x="7716" y="403"/>
                  <a:pt x="7718" y="393"/>
                </a:cubicBezTo>
                <a:cubicBezTo>
                  <a:pt x="7615" y="349"/>
                  <a:pt x="7588" y="217"/>
                  <a:pt x="7471" y="203"/>
                </a:cubicBezTo>
                <a:cubicBezTo>
                  <a:pt x="7304" y="184"/>
                  <a:pt x="7240" y="132"/>
                  <a:pt x="7094" y="42"/>
                </a:cubicBezTo>
                <a:cubicBezTo>
                  <a:pt x="7017" y="-6"/>
                  <a:pt x="6518" y="-65"/>
                  <a:pt x="6639" y="191"/>
                </a:cubicBezTo>
                <a:cubicBezTo>
                  <a:pt x="6639" y="191"/>
                  <a:pt x="6639" y="191"/>
                  <a:pt x="6639" y="191"/>
                </a:cubicBezTo>
                <a:close/>
                <a:moveTo>
                  <a:pt x="3049" y="1821"/>
                </a:moveTo>
                <a:cubicBezTo>
                  <a:pt x="3097" y="1824"/>
                  <a:pt x="3068" y="1822"/>
                  <a:pt x="3049" y="1821"/>
                </a:cubicBezTo>
                <a:cubicBezTo>
                  <a:pt x="3259" y="1833"/>
                  <a:pt x="3444" y="2105"/>
                  <a:pt x="3693" y="1983"/>
                </a:cubicBezTo>
                <a:cubicBezTo>
                  <a:pt x="3695" y="1975"/>
                  <a:pt x="3695" y="1960"/>
                  <a:pt x="3693" y="1951"/>
                </a:cubicBezTo>
                <a:cubicBezTo>
                  <a:pt x="3378" y="1819"/>
                  <a:pt x="3267" y="1534"/>
                  <a:pt x="3575" y="1251"/>
                </a:cubicBezTo>
                <a:cubicBezTo>
                  <a:pt x="3878" y="973"/>
                  <a:pt x="4250" y="1072"/>
                  <a:pt x="4563" y="873"/>
                </a:cubicBezTo>
                <a:cubicBezTo>
                  <a:pt x="4434" y="627"/>
                  <a:pt x="4069" y="857"/>
                  <a:pt x="3881" y="855"/>
                </a:cubicBezTo>
                <a:cubicBezTo>
                  <a:pt x="3631" y="853"/>
                  <a:pt x="3298" y="977"/>
                  <a:pt x="3102" y="1185"/>
                </a:cubicBezTo>
                <a:cubicBezTo>
                  <a:pt x="3040" y="1251"/>
                  <a:pt x="3027" y="1414"/>
                  <a:pt x="3008" y="1500"/>
                </a:cubicBezTo>
                <a:cubicBezTo>
                  <a:pt x="2968" y="1677"/>
                  <a:pt x="2751" y="1804"/>
                  <a:pt x="3049" y="1821"/>
                </a:cubicBezTo>
                <a:close/>
                <a:moveTo>
                  <a:pt x="10216" y="16862"/>
                </a:moveTo>
                <a:cubicBezTo>
                  <a:pt x="10007" y="16414"/>
                  <a:pt x="9990" y="17186"/>
                  <a:pt x="10036" y="17376"/>
                </a:cubicBezTo>
                <a:cubicBezTo>
                  <a:pt x="10092" y="17606"/>
                  <a:pt x="10129" y="17705"/>
                  <a:pt x="10318" y="17537"/>
                </a:cubicBezTo>
                <a:cubicBezTo>
                  <a:pt x="10499" y="17376"/>
                  <a:pt x="10291" y="17023"/>
                  <a:pt x="10216" y="16863"/>
                </a:cubicBezTo>
                <a:cubicBezTo>
                  <a:pt x="10225" y="16883"/>
                  <a:pt x="10244" y="16922"/>
                  <a:pt x="10216" y="16862"/>
                </a:cubicBezTo>
                <a:close/>
                <a:moveTo>
                  <a:pt x="10216" y="16862"/>
                </a:moveTo>
                <a:cubicBezTo>
                  <a:pt x="10216" y="16862"/>
                  <a:pt x="10216" y="16862"/>
                  <a:pt x="10216" y="16863"/>
                </a:cubicBezTo>
                <a:cubicBezTo>
                  <a:pt x="10211" y="16852"/>
                  <a:pt x="10209" y="16847"/>
                  <a:pt x="10216" y="16862"/>
                </a:cubicBezTo>
                <a:close/>
                <a:moveTo>
                  <a:pt x="17680" y="20444"/>
                </a:moveTo>
                <a:cubicBezTo>
                  <a:pt x="17677" y="20432"/>
                  <a:pt x="17678" y="20435"/>
                  <a:pt x="17679" y="20439"/>
                </a:cubicBezTo>
                <a:cubicBezTo>
                  <a:pt x="17647" y="20338"/>
                  <a:pt x="17562" y="20187"/>
                  <a:pt x="17562" y="20438"/>
                </a:cubicBezTo>
                <a:cubicBezTo>
                  <a:pt x="17562" y="20640"/>
                  <a:pt x="17719" y="20588"/>
                  <a:pt x="17681" y="20445"/>
                </a:cubicBezTo>
                <a:cubicBezTo>
                  <a:pt x="17681" y="20446"/>
                  <a:pt x="17681" y="20446"/>
                  <a:pt x="17680" y="20444"/>
                </a:cubicBezTo>
                <a:close/>
                <a:moveTo>
                  <a:pt x="20845" y="19801"/>
                </a:moveTo>
                <a:cubicBezTo>
                  <a:pt x="20845" y="19756"/>
                  <a:pt x="20831" y="19752"/>
                  <a:pt x="20720" y="19722"/>
                </a:cubicBezTo>
                <a:cubicBezTo>
                  <a:pt x="20484" y="19667"/>
                  <a:pt x="20309" y="19366"/>
                  <a:pt x="20078" y="19540"/>
                </a:cubicBezTo>
                <a:lnTo>
                  <a:pt x="20083" y="19581"/>
                </a:lnTo>
                <a:lnTo>
                  <a:pt x="20066" y="19592"/>
                </a:lnTo>
                <a:cubicBezTo>
                  <a:pt x="20073" y="19603"/>
                  <a:pt x="20078" y="19616"/>
                  <a:pt x="20080" y="19629"/>
                </a:cubicBezTo>
                <a:cubicBezTo>
                  <a:pt x="19967" y="19665"/>
                  <a:pt x="19867" y="19933"/>
                  <a:pt x="19784" y="19933"/>
                </a:cubicBezTo>
                <a:cubicBezTo>
                  <a:pt x="19806" y="19933"/>
                  <a:pt x="19649" y="19674"/>
                  <a:pt x="19649" y="19726"/>
                </a:cubicBezTo>
                <a:cubicBezTo>
                  <a:pt x="19591" y="19599"/>
                  <a:pt x="19738" y="19263"/>
                  <a:pt x="19533" y="19263"/>
                </a:cubicBezTo>
                <a:cubicBezTo>
                  <a:pt x="19510" y="19243"/>
                  <a:pt x="19395" y="19210"/>
                  <a:pt x="19371" y="19200"/>
                </a:cubicBezTo>
                <a:cubicBezTo>
                  <a:pt x="19228" y="19141"/>
                  <a:pt x="19205" y="19326"/>
                  <a:pt x="19144" y="19326"/>
                </a:cubicBezTo>
                <a:cubicBezTo>
                  <a:pt x="19123" y="19314"/>
                  <a:pt x="19057" y="19299"/>
                  <a:pt x="19047" y="19341"/>
                </a:cubicBezTo>
                <a:cubicBezTo>
                  <a:pt x="18878" y="19223"/>
                  <a:pt x="19194" y="19742"/>
                  <a:pt x="19275" y="19766"/>
                </a:cubicBezTo>
                <a:cubicBezTo>
                  <a:pt x="19141" y="19798"/>
                  <a:pt x="19298" y="20026"/>
                  <a:pt x="19315" y="20115"/>
                </a:cubicBezTo>
                <a:cubicBezTo>
                  <a:pt x="19376" y="20426"/>
                  <a:pt x="19468" y="20101"/>
                  <a:pt x="19519" y="20101"/>
                </a:cubicBezTo>
                <a:cubicBezTo>
                  <a:pt x="19605" y="20101"/>
                  <a:pt x="19914" y="20363"/>
                  <a:pt x="20018" y="20411"/>
                </a:cubicBezTo>
                <a:cubicBezTo>
                  <a:pt x="20127" y="20461"/>
                  <a:pt x="20181" y="20479"/>
                  <a:pt x="20248" y="20607"/>
                </a:cubicBezTo>
                <a:cubicBezTo>
                  <a:pt x="20277" y="20661"/>
                  <a:pt x="20274" y="20778"/>
                  <a:pt x="20326" y="20815"/>
                </a:cubicBezTo>
                <a:cubicBezTo>
                  <a:pt x="20319" y="20858"/>
                  <a:pt x="20311" y="20886"/>
                  <a:pt x="20321" y="20928"/>
                </a:cubicBezTo>
                <a:cubicBezTo>
                  <a:pt x="20186" y="20961"/>
                  <a:pt x="20099" y="21117"/>
                  <a:pt x="20109" y="21286"/>
                </a:cubicBezTo>
                <a:cubicBezTo>
                  <a:pt x="20228" y="21294"/>
                  <a:pt x="20372" y="21234"/>
                  <a:pt x="20433" y="21234"/>
                </a:cubicBezTo>
                <a:lnTo>
                  <a:pt x="20433" y="21233"/>
                </a:lnTo>
                <a:cubicBezTo>
                  <a:pt x="20433" y="21142"/>
                  <a:pt x="20719" y="21510"/>
                  <a:pt x="20736" y="21535"/>
                </a:cubicBezTo>
                <a:cubicBezTo>
                  <a:pt x="20771" y="21316"/>
                  <a:pt x="20771" y="21081"/>
                  <a:pt x="20799" y="20857"/>
                </a:cubicBezTo>
                <a:lnTo>
                  <a:pt x="20771" y="20809"/>
                </a:lnTo>
                <a:cubicBezTo>
                  <a:pt x="20895" y="20557"/>
                  <a:pt x="20831" y="20091"/>
                  <a:pt x="20845" y="19801"/>
                </a:cubicBezTo>
                <a:close/>
                <a:moveTo>
                  <a:pt x="21483" y="3136"/>
                </a:moveTo>
                <a:cubicBezTo>
                  <a:pt x="21484" y="3136"/>
                  <a:pt x="21512" y="3136"/>
                  <a:pt x="21512" y="3136"/>
                </a:cubicBezTo>
                <a:cubicBezTo>
                  <a:pt x="21524" y="3110"/>
                  <a:pt x="21544" y="3089"/>
                  <a:pt x="21567" y="3075"/>
                </a:cubicBezTo>
                <a:cubicBezTo>
                  <a:pt x="21432" y="2793"/>
                  <a:pt x="21025" y="2732"/>
                  <a:pt x="20788" y="2699"/>
                </a:cubicBezTo>
                <a:cubicBezTo>
                  <a:pt x="20424" y="2699"/>
                  <a:pt x="20032" y="2429"/>
                  <a:pt x="19669" y="2355"/>
                </a:cubicBezTo>
                <a:cubicBezTo>
                  <a:pt x="19252" y="2271"/>
                  <a:pt x="18850" y="2097"/>
                  <a:pt x="18423" y="2086"/>
                </a:cubicBezTo>
                <a:cubicBezTo>
                  <a:pt x="18281" y="2082"/>
                  <a:pt x="18025" y="1964"/>
                  <a:pt x="17928" y="2085"/>
                </a:cubicBezTo>
                <a:cubicBezTo>
                  <a:pt x="17787" y="1963"/>
                  <a:pt x="17753" y="2111"/>
                  <a:pt x="17640" y="2116"/>
                </a:cubicBezTo>
                <a:cubicBezTo>
                  <a:pt x="17589" y="2193"/>
                  <a:pt x="17369" y="2124"/>
                  <a:pt x="17309" y="2114"/>
                </a:cubicBezTo>
                <a:cubicBezTo>
                  <a:pt x="17131" y="2085"/>
                  <a:pt x="16946" y="2126"/>
                  <a:pt x="16770" y="2090"/>
                </a:cubicBezTo>
                <a:cubicBezTo>
                  <a:pt x="16661" y="2068"/>
                  <a:pt x="16615" y="1921"/>
                  <a:pt x="16498" y="1897"/>
                </a:cubicBezTo>
                <a:cubicBezTo>
                  <a:pt x="16256" y="1847"/>
                  <a:pt x="15932" y="1733"/>
                  <a:pt x="15687" y="1852"/>
                </a:cubicBezTo>
                <a:cubicBezTo>
                  <a:pt x="15505" y="1940"/>
                  <a:pt x="15223" y="1766"/>
                  <a:pt x="15033" y="1732"/>
                </a:cubicBezTo>
                <a:cubicBezTo>
                  <a:pt x="15028" y="1585"/>
                  <a:pt x="14601" y="1491"/>
                  <a:pt x="14524" y="1604"/>
                </a:cubicBezTo>
                <a:cubicBezTo>
                  <a:pt x="14389" y="1489"/>
                  <a:pt x="14096" y="1512"/>
                  <a:pt x="13941" y="1503"/>
                </a:cubicBezTo>
                <a:lnTo>
                  <a:pt x="13941" y="1502"/>
                </a:lnTo>
                <a:cubicBezTo>
                  <a:pt x="13859" y="1397"/>
                  <a:pt x="13713" y="1363"/>
                  <a:pt x="13601" y="1377"/>
                </a:cubicBezTo>
                <a:cubicBezTo>
                  <a:pt x="13463" y="1395"/>
                  <a:pt x="13552" y="1500"/>
                  <a:pt x="13642" y="1496"/>
                </a:cubicBezTo>
                <a:cubicBezTo>
                  <a:pt x="13538" y="1516"/>
                  <a:pt x="13426" y="1657"/>
                  <a:pt x="13589" y="1732"/>
                </a:cubicBezTo>
                <a:cubicBezTo>
                  <a:pt x="13432" y="1749"/>
                  <a:pt x="13289" y="1736"/>
                  <a:pt x="13132" y="1770"/>
                </a:cubicBezTo>
                <a:cubicBezTo>
                  <a:pt x="13010" y="1796"/>
                  <a:pt x="12688" y="1530"/>
                  <a:pt x="12823" y="1894"/>
                </a:cubicBezTo>
                <a:cubicBezTo>
                  <a:pt x="12699" y="1866"/>
                  <a:pt x="12578" y="1803"/>
                  <a:pt x="12462" y="1744"/>
                </a:cubicBezTo>
                <a:lnTo>
                  <a:pt x="12468" y="1739"/>
                </a:lnTo>
                <a:lnTo>
                  <a:pt x="12445" y="1651"/>
                </a:lnTo>
                <a:cubicBezTo>
                  <a:pt x="12201" y="1356"/>
                  <a:pt x="11570" y="1196"/>
                  <a:pt x="11249" y="1384"/>
                </a:cubicBezTo>
                <a:cubicBezTo>
                  <a:pt x="11292" y="1402"/>
                  <a:pt x="11339" y="1419"/>
                  <a:pt x="11379" y="1446"/>
                </a:cubicBezTo>
                <a:cubicBezTo>
                  <a:pt x="11235" y="1453"/>
                  <a:pt x="11040" y="1498"/>
                  <a:pt x="10902" y="1435"/>
                </a:cubicBezTo>
                <a:cubicBezTo>
                  <a:pt x="10924" y="1410"/>
                  <a:pt x="10943" y="1372"/>
                  <a:pt x="10960" y="1341"/>
                </a:cubicBezTo>
                <a:cubicBezTo>
                  <a:pt x="10707" y="1338"/>
                  <a:pt x="10460" y="1329"/>
                  <a:pt x="10209" y="1352"/>
                </a:cubicBezTo>
                <a:cubicBezTo>
                  <a:pt x="10151" y="1292"/>
                  <a:pt x="10082" y="1254"/>
                  <a:pt x="10017" y="1207"/>
                </a:cubicBezTo>
                <a:cubicBezTo>
                  <a:pt x="10017" y="1207"/>
                  <a:pt x="10014" y="1302"/>
                  <a:pt x="10014" y="1302"/>
                </a:cubicBezTo>
                <a:cubicBezTo>
                  <a:pt x="9917" y="1297"/>
                  <a:pt x="9781" y="1215"/>
                  <a:pt x="9686" y="1274"/>
                </a:cubicBezTo>
                <a:cubicBezTo>
                  <a:pt x="10299" y="771"/>
                  <a:pt x="9202" y="741"/>
                  <a:pt x="8912" y="764"/>
                </a:cubicBezTo>
                <a:cubicBezTo>
                  <a:pt x="8912" y="763"/>
                  <a:pt x="8942" y="682"/>
                  <a:pt x="8942" y="682"/>
                </a:cubicBezTo>
                <a:cubicBezTo>
                  <a:pt x="8857" y="692"/>
                  <a:pt x="8774" y="674"/>
                  <a:pt x="8690" y="667"/>
                </a:cubicBezTo>
                <a:cubicBezTo>
                  <a:pt x="8692" y="666"/>
                  <a:pt x="8711" y="652"/>
                  <a:pt x="8711" y="652"/>
                </a:cubicBezTo>
                <a:lnTo>
                  <a:pt x="8680" y="562"/>
                </a:lnTo>
                <a:cubicBezTo>
                  <a:pt x="8568" y="569"/>
                  <a:pt x="8454" y="542"/>
                  <a:pt x="8339" y="545"/>
                </a:cubicBezTo>
                <a:cubicBezTo>
                  <a:pt x="8372" y="543"/>
                  <a:pt x="8389" y="524"/>
                  <a:pt x="8390" y="487"/>
                </a:cubicBezTo>
                <a:cubicBezTo>
                  <a:pt x="8348" y="373"/>
                  <a:pt x="8029" y="432"/>
                  <a:pt x="7984" y="380"/>
                </a:cubicBezTo>
                <a:cubicBezTo>
                  <a:pt x="7880" y="261"/>
                  <a:pt x="7809" y="457"/>
                  <a:pt x="7733" y="455"/>
                </a:cubicBezTo>
                <a:cubicBezTo>
                  <a:pt x="7767" y="710"/>
                  <a:pt x="8058" y="574"/>
                  <a:pt x="8203" y="565"/>
                </a:cubicBezTo>
                <a:cubicBezTo>
                  <a:pt x="8141" y="586"/>
                  <a:pt x="8043" y="670"/>
                  <a:pt x="8093" y="768"/>
                </a:cubicBezTo>
                <a:cubicBezTo>
                  <a:pt x="8012" y="760"/>
                  <a:pt x="7931" y="780"/>
                  <a:pt x="7859" y="828"/>
                </a:cubicBezTo>
                <a:lnTo>
                  <a:pt x="7899" y="850"/>
                </a:lnTo>
                <a:cubicBezTo>
                  <a:pt x="7761" y="924"/>
                  <a:pt x="7599" y="792"/>
                  <a:pt x="7453" y="841"/>
                </a:cubicBezTo>
                <a:cubicBezTo>
                  <a:pt x="7359" y="872"/>
                  <a:pt x="7267" y="899"/>
                  <a:pt x="7171" y="911"/>
                </a:cubicBezTo>
                <a:cubicBezTo>
                  <a:pt x="6973" y="936"/>
                  <a:pt x="6832" y="1042"/>
                  <a:pt x="6697" y="1218"/>
                </a:cubicBezTo>
                <a:lnTo>
                  <a:pt x="6715" y="1300"/>
                </a:lnTo>
                <a:cubicBezTo>
                  <a:pt x="6595" y="1317"/>
                  <a:pt x="5933" y="1282"/>
                  <a:pt x="6309" y="1601"/>
                </a:cubicBezTo>
                <a:cubicBezTo>
                  <a:pt x="6139" y="1560"/>
                  <a:pt x="5956" y="1546"/>
                  <a:pt x="5807" y="1683"/>
                </a:cubicBezTo>
                <a:cubicBezTo>
                  <a:pt x="5762" y="1559"/>
                  <a:pt x="5703" y="1466"/>
                  <a:pt x="5588" y="1483"/>
                </a:cubicBezTo>
                <a:lnTo>
                  <a:pt x="5593" y="1581"/>
                </a:lnTo>
                <a:lnTo>
                  <a:pt x="5611" y="1582"/>
                </a:lnTo>
                <a:cubicBezTo>
                  <a:pt x="5618" y="1583"/>
                  <a:pt x="5633" y="1606"/>
                  <a:pt x="5635" y="1626"/>
                </a:cubicBezTo>
                <a:cubicBezTo>
                  <a:pt x="5565" y="1686"/>
                  <a:pt x="5488" y="1670"/>
                  <a:pt x="5467" y="1800"/>
                </a:cubicBezTo>
                <a:cubicBezTo>
                  <a:pt x="5452" y="1798"/>
                  <a:pt x="5437" y="1795"/>
                  <a:pt x="5422" y="1791"/>
                </a:cubicBezTo>
                <a:cubicBezTo>
                  <a:pt x="5363" y="1613"/>
                  <a:pt x="5452" y="1463"/>
                  <a:pt x="5208" y="1445"/>
                </a:cubicBezTo>
                <a:cubicBezTo>
                  <a:pt x="5135" y="1440"/>
                  <a:pt x="5060" y="1440"/>
                  <a:pt x="4988" y="1440"/>
                </a:cubicBezTo>
                <a:cubicBezTo>
                  <a:pt x="4835" y="1440"/>
                  <a:pt x="4896" y="1580"/>
                  <a:pt x="4862" y="1697"/>
                </a:cubicBezTo>
                <a:cubicBezTo>
                  <a:pt x="4835" y="1790"/>
                  <a:pt x="4726" y="1733"/>
                  <a:pt x="4708" y="1846"/>
                </a:cubicBezTo>
                <a:cubicBezTo>
                  <a:pt x="4689" y="1970"/>
                  <a:pt x="4799" y="1948"/>
                  <a:pt x="4812" y="1996"/>
                </a:cubicBezTo>
                <a:cubicBezTo>
                  <a:pt x="4844" y="2077"/>
                  <a:pt x="4824" y="2151"/>
                  <a:pt x="4867" y="2245"/>
                </a:cubicBezTo>
                <a:cubicBezTo>
                  <a:pt x="4713" y="2182"/>
                  <a:pt x="4560" y="2145"/>
                  <a:pt x="4400" y="2112"/>
                </a:cubicBezTo>
                <a:cubicBezTo>
                  <a:pt x="4221" y="2086"/>
                  <a:pt x="4014" y="1954"/>
                  <a:pt x="3841" y="1954"/>
                </a:cubicBezTo>
                <a:cubicBezTo>
                  <a:pt x="3573" y="1954"/>
                  <a:pt x="4110" y="2290"/>
                  <a:pt x="4127" y="2309"/>
                </a:cubicBezTo>
                <a:cubicBezTo>
                  <a:pt x="4105" y="2315"/>
                  <a:pt x="4083" y="2320"/>
                  <a:pt x="4060" y="2324"/>
                </a:cubicBezTo>
                <a:lnTo>
                  <a:pt x="4065" y="2298"/>
                </a:lnTo>
                <a:cubicBezTo>
                  <a:pt x="3852" y="2201"/>
                  <a:pt x="3571" y="2399"/>
                  <a:pt x="3372" y="2425"/>
                </a:cubicBezTo>
                <a:cubicBezTo>
                  <a:pt x="3370" y="2381"/>
                  <a:pt x="3421" y="2299"/>
                  <a:pt x="3432" y="2250"/>
                </a:cubicBezTo>
                <a:cubicBezTo>
                  <a:pt x="3242" y="2226"/>
                  <a:pt x="3075" y="2344"/>
                  <a:pt x="2898" y="2413"/>
                </a:cubicBezTo>
                <a:cubicBezTo>
                  <a:pt x="2804" y="2450"/>
                  <a:pt x="2559" y="2500"/>
                  <a:pt x="2574" y="2674"/>
                </a:cubicBezTo>
                <a:cubicBezTo>
                  <a:pt x="2584" y="2801"/>
                  <a:pt x="2315" y="2630"/>
                  <a:pt x="2302" y="2618"/>
                </a:cubicBezTo>
                <a:cubicBezTo>
                  <a:pt x="2377" y="2566"/>
                  <a:pt x="2604" y="2549"/>
                  <a:pt x="2395" y="2412"/>
                </a:cubicBezTo>
                <a:cubicBezTo>
                  <a:pt x="2245" y="2314"/>
                  <a:pt x="2091" y="2321"/>
                  <a:pt x="1929" y="2318"/>
                </a:cubicBezTo>
                <a:cubicBezTo>
                  <a:pt x="1937" y="2433"/>
                  <a:pt x="1993" y="2432"/>
                  <a:pt x="2055" y="2493"/>
                </a:cubicBezTo>
                <a:cubicBezTo>
                  <a:pt x="2046" y="2478"/>
                  <a:pt x="2074" y="2893"/>
                  <a:pt x="2169" y="2758"/>
                </a:cubicBezTo>
                <a:cubicBezTo>
                  <a:pt x="2163" y="2794"/>
                  <a:pt x="2158" y="2830"/>
                  <a:pt x="2156" y="2867"/>
                </a:cubicBezTo>
                <a:cubicBezTo>
                  <a:pt x="1969" y="2739"/>
                  <a:pt x="1862" y="2828"/>
                  <a:pt x="1686" y="2928"/>
                </a:cubicBezTo>
                <a:cubicBezTo>
                  <a:pt x="1500" y="3032"/>
                  <a:pt x="1637" y="3097"/>
                  <a:pt x="1707" y="3188"/>
                </a:cubicBezTo>
                <a:cubicBezTo>
                  <a:pt x="1680" y="3244"/>
                  <a:pt x="1425" y="3107"/>
                  <a:pt x="1395" y="3091"/>
                </a:cubicBezTo>
                <a:cubicBezTo>
                  <a:pt x="1324" y="3053"/>
                  <a:pt x="1217" y="3102"/>
                  <a:pt x="1148" y="3140"/>
                </a:cubicBezTo>
                <a:cubicBezTo>
                  <a:pt x="1225" y="3269"/>
                  <a:pt x="1313" y="3308"/>
                  <a:pt x="1425" y="3357"/>
                </a:cubicBezTo>
                <a:cubicBezTo>
                  <a:pt x="1277" y="3479"/>
                  <a:pt x="1067" y="3145"/>
                  <a:pt x="988" y="3080"/>
                </a:cubicBezTo>
                <a:cubicBezTo>
                  <a:pt x="1015" y="3019"/>
                  <a:pt x="1044" y="2956"/>
                  <a:pt x="990" y="2892"/>
                </a:cubicBezTo>
                <a:cubicBezTo>
                  <a:pt x="1164" y="2934"/>
                  <a:pt x="2149" y="3013"/>
                  <a:pt x="1702" y="2525"/>
                </a:cubicBezTo>
                <a:cubicBezTo>
                  <a:pt x="1515" y="2321"/>
                  <a:pt x="920" y="2139"/>
                  <a:pt x="679" y="2180"/>
                </a:cubicBezTo>
                <a:cubicBezTo>
                  <a:pt x="673" y="2165"/>
                  <a:pt x="662" y="2161"/>
                  <a:pt x="647" y="2169"/>
                </a:cubicBezTo>
                <a:cubicBezTo>
                  <a:pt x="682" y="2169"/>
                  <a:pt x="559" y="2063"/>
                  <a:pt x="524" y="2055"/>
                </a:cubicBezTo>
                <a:cubicBezTo>
                  <a:pt x="469" y="2042"/>
                  <a:pt x="389" y="2064"/>
                  <a:pt x="328" y="2064"/>
                </a:cubicBezTo>
                <a:cubicBezTo>
                  <a:pt x="303" y="2062"/>
                  <a:pt x="285" y="2082"/>
                  <a:pt x="285" y="2118"/>
                </a:cubicBezTo>
                <a:cubicBezTo>
                  <a:pt x="266" y="2111"/>
                  <a:pt x="247" y="2104"/>
                  <a:pt x="228" y="2096"/>
                </a:cubicBezTo>
                <a:lnTo>
                  <a:pt x="222" y="2118"/>
                </a:lnTo>
                <a:lnTo>
                  <a:pt x="216" y="2112"/>
                </a:lnTo>
                <a:cubicBezTo>
                  <a:pt x="127" y="2182"/>
                  <a:pt x="72" y="2289"/>
                  <a:pt x="1" y="2385"/>
                </a:cubicBezTo>
                <a:cubicBezTo>
                  <a:pt x="38" y="2448"/>
                  <a:pt x="247" y="2553"/>
                  <a:pt x="193" y="2625"/>
                </a:cubicBezTo>
                <a:cubicBezTo>
                  <a:pt x="81" y="2777"/>
                  <a:pt x="241" y="2837"/>
                  <a:pt x="293" y="2954"/>
                </a:cubicBezTo>
                <a:cubicBezTo>
                  <a:pt x="170" y="3047"/>
                  <a:pt x="319" y="3299"/>
                  <a:pt x="399" y="3343"/>
                </a:cubicBezTo>
                <a:cubicBezTo>
                  <a:pt x="293" y="3475"/>
                  <a:pt x="513" y="3547"/>
                  <a:pt x="565" y="3597"/>
                </a:cubicBezTo>
                <a:cubicBezTo>
                  <a:pt x="607" y="3637"/>
                  <a:pt x="411" y="3845"/>
                  <a:pt x="390" y="3866"/>
                </a:cubicBezTo>
                <a:cubicBezTo>
                  <a:pt x="245" y="4011"/>
                  <a:pt x="119" y="4126"/>
                  <a:pt x="0" y="4306"/>
                </a:cubicBezTo>
                <a:cubicBezTo>
                  <a:pt x="85" y="4284"/>
                  <a:pt x="190" y="4172"/>
                  <a:pt x="266" y="4167"/>
                </a:cubicBezTo>
                <a:cubicBezTo>
                  <a:pt x="283" y="4197"/>
                  <a:pt x="302" y="4226"/>
                  <a:pt x="323" y="4253"/>
                </a:cubicBezTo>
                <a:cubicBezTo>
                  <a:pt x="222" y="4199"/>
                  <a:pt x="162" y="4293"/>
                  <a:pt x="201" y="4411"/>
                </a:cubicBezTo>
                <a:cubicBezTo>
                  <a:pt x="162" y="4553"/>
                  <a:pt x="82" y="4589"/>
                  <a:pt x="175" y="4758"/>
                </a:cubicBezTo>
                <a:cubicBezTo>
                  <a:pt x="78" y="4850"/>
                  <a:pt x="345" y="5225"/>
                  <a:pt x="406" y="5296"/>
                </a:cubicBezTo>
                <a:cubicBezTo>
                  <a:pt x="430" y="5300"/>
                  <a:pt x="451" y="5290"/>
                  <a:pt x="470" y="5265"/>
                </a:cubicBezTo>
                <a:cubicBezTo>
                  <a:pt x="470" y="5264"/>
                  <a:pt x="471" y="5244"/>
                  <a:pt x="471" y="5244"/>
                </a:cubicBezTo>
                <a:cubicBezTo>
                  <a:pt x="468" y="5227"/>
                  <a:pt x="693" y="5374"/>
                  <a:pt x="723" y="5409"/>
                </a:cubicBezTo>
                <a:cubicBezTo>
                  <a:pt x="683" y="5491"/>
                  <a:pt x="819" y="5677"/>
                  <a:pt x="881" y="5677"/>
                </a:cubicBezTo>
                <a:cubicBezTo>
                  <a:pt x="881" y="5776"/>
                  <a:pt x="983" y="5725"/>
                  <a:pt x="1012" y="5801"/>
                </a:cubicBezTo>
                <a:cubicBezTo>
                  <a:pt x="1013" y="5803"/>
                  <a:pt x="840" y="5849"/>
                  <a:pt x="814" y="5864"/>
                </a:cubicBezTo>
                <a:cubicBezTo>
                  <a:pt x="850" y="5933"/>
                  <a:pt x="902" y="6106"/>
                  <a:pt x="948" y="6152"/>
                </a:cubicBezTo>
                <a:cubicBezTo>
                  <a:pt x="1062" y="6265"/>
                  <a:pt x="1164" y="6069"/>
                  <a:pt x="1293" y="6203"/>
                </a:cubicBezTo>
                <a:cubicBezTo>
                  <a:pt x="1286" y="6211"/>
                  <a:pt x="1265" y="6237"/>
                  <a:pt x="1265" y="6237"/>
                </a:cubicBezTo>
                <a:cubicBezTo>
                  <a:pt x="1317" y="6354"/>
                  <a:pt x="1446" y="6350"/>
                  <a:pt x="1481" y="6450"/>
                </a:cubicBezTo>
                <a:cubicBezTo>
                  <a:pt x="1563" y="6681"/>
                  <a:pt x="1653" y="6696"/>
                  <a:pt x="1848" y="6592"/>
                </a:cubicBezTo>
                <a:cubicBezTo>
                  <a:pt x="1905" y="6655"/>
                  <a:pt x="1926" y="6720"/>
                  <a:pt x="2004" y="6723"/>
                </a:cubicBezTo>
                <a:lnTo>
                  <a:pt x="2009" y="6693"/>
                </a:lnTo>
                <a:cubicBezTo>
                  <a:pt x="2095" y="6686"/>
                  <a:pt x="2174" y="6765"/>
                  <a:pt x="2257" y="6780"/>
                </a:cubicBezTo>
                <a:cubicBezTo>
                  <a:pt x="2237" y="6906"/>
                  <a:pt x="2273" y="6983"/>
                  <a:pt x="2267" y="7093"/>
                </a:cubicBezTo>
                <a:cubicBezTo>
                  <a:pt x="2263" y="7128"/>
                  <a:pt x="2226" y="7132"/>
                  <a:pt x="2204" y="7126"/>
                </a:cubicBezTo>
                <a:lnTo>
                  <a:pt x="2204" y="7098"/>
                </a:lnTo>
                <a:cubicBezTo>
                  <a:pt x="2092" y="7098"/>
                  <a:pt x="1997" y="7275"/>
                  <a:pt x="2085" y="7391"/>
                </a:cubicBezTo>
                <a:cubicBezTo>
                  <a:pt x="2053" y="7403"/>
                  <a:pt x="2020" y="7412"/>
                  <a:pt x="1986" y="7420"/>
                </a:cubicBezTo>
                <a:cubicBezTo>
                  <a:pt x="1976" y="7486"/>
                  <a:pt x="2003" y="7524"/>
                  <a:pt x="2047" y="7561"/>
                </a:cubicBezTo>
                <a:cubicBezTo>
                  <a:pt x="2027" y="7581"/>
                  <a:pt x="2018" y="7606"/>
                  <a:pt x="2021" y="7635"/>
                </a:cubicBezTo>
                <a:cubicBezTo>
                  <a:pt x="2021" y="7661"/>
                  <a:pt x="1989" y="7660"/>
                  <a:pt x="1990" y="7711"/>
                </a:cubicBezTo>
                <a:cubicBezTo>
                  <a:pt x="1945" y="7720"/>
                  <a:pt x="1898" y="7715"/>
                  <a:pt x="1853" y="7703"/>
                </a:cubicBezTo>
                <a:cubicBezTo>
                  <a:pt x="1856" y="7754"/>
                  <a:pt x="1852" y="7802"/>
                  <a:pt x="1841" y="7849"/>
                </a:cubicBezTo>
                <a:cubicBezTo>
                  <a:pt x="2028" y="7973"/>
                  <a:pt x="2205" y="8066"/>
                  <a:pt x="2363" y="8238"/>
                </a:cubicBezTo>
                <a:cubicBezTo>
                  <a:pt x="2296" y="8346"/>
                  <a:pt x="2888" y="8477"/>
                  <a:pt x="2736" y="8789"/>
                </a:cubicBezTo>
                <a:cubicBezTo>
                  <a:pt x="2487" y="8980"/>
                  <a:pt x="2231" y="8785"/>
                  <a:pt x="1999" y="8788"/>
                </a:cubicBezTo>
                <a:cubicBezTo>
                  <a:pt x="1930" y="8781"/>
                  <a:pt x="1954" y="8678"/>
                  <a:pt x="1835" y="8708"/>
                </a:cubicBezTo>
                <a:cubicBezTo>
                  <a:pt x="1704" y="8534"/>
                  <a:pt x="1349" y="8634"/>
                  <a:pt x="1224" y="8736"/>
                </a:cubicBezTo>
                <a:cubicBezTo>
                  <a:pt x="1102" y="8835"/>
                  <a:pt x="682" y="8887"/>
                  <a:pt x="661" y="8607"/>
                </a:cubicBezTo>
                <a:cubicBezTo>
                  <a:pt x="631" y="8603"/>
                  <a:pt x="588" y="8600"/>
                  <a:pt x="561" y="8615"/>
                </a:cubicBezTo>
                <a:cubicBezTo>
                  <a:pt x="559" y="8612"/>
                  <a:pt x="535" y="8572"/>
                  <a:pt x="535" y="8572"/>
                </a:cubicBezTo>
                <a:cubicBezTo>
                  <a:pt x="414" y="8571"/>
                  <a:pt x="318" y="8636"/>
                  <a:pt x="375" y="8778"/>
                </a:cubicBezTo>
                <a:cubicBezTo>
                  <a:pt x="343" y="8806"/>
                  <a:pt x="256" y="9007"/>
                  <a:pt x="329" y="9043"/>
                </a:cubicBezTo>
                <a:cubicBezTo>
                  <a:pt x="249" y="9165"/>
                  <a:pt x="305" y="9330"/>
                  <a:pt x="421" y="9335"/>
                </a:cubicBezTo>
                <a:cubicBezTo>
                  <a:pt x="437" y="9593"/>
                  <a:pt x="540" y="10027"/>
                  <a:pt x="785" y="10022"/>
                </a:cubicBezTo>
                <a:cubicBezTo>
                  <a:pt x="850" y="10027"/>
                  <a:pt x="1167" y="10311"/>
                  <a:pt x="1169" y="10017"/>
                </a:cubicBezTo>
                <a:cubicBezTo>
                  <a:pt x="1171" y="9906"/>
                  <a:pt x="1447" y="10181"/>
                  <a:pt x="1452" y="10184"/>
                </a:cubicBezTo>
                <a:cubicBezTo>
                  <a:pt x="1603" y="10274"/>
                  <a:pt x="1696" y="10029"/>
                  <a:pt x="1800" y="10012"/>
                </a:cubicBezTo>
                <a:cubicBezTo>
                  <a:pt x="1854" y="10012"/>
                  <a:pt x="1899" y="10096"/>
                  <a:pt x="1959" y="10058"/>
                </a:cubicBezTo>
                <a:cubicBezTo>
                  <a:pt x="1947" y="10128"/>
                  <a:pt x="1993" y="10195"/>
                  <a:pt x="1984" y="10276"/>
                </a:cubicBezTo>
                <a:cubicBezTo>
                  <a:pt x="1984" y="10276"/>
                  <a:pt x="2022" y="10292"/>
                  <a:pt x="2025" y="10293"/>
                </a:cubicBezTo>
                <a:cubicBezTo>
                  <a:pt x="2030" y="10351"/>
                  <a:pt x="2017" y="10414"/>
                  <a:pt x="2045" y="10467"/>
                </a:cubicBezTo>
                <a:cubicBezTo>
                  <a:pt x="1964" y="10561"/>
                  <a:pt x="1951" y="10674"/>
                  <a:pt x="1927" y="10801"/>
                </a:cubicBezTo>
                <a:cubicBezTo>
                  <a:pt x="1848" y="10835"/>
                  <a:pt x="1834" y="11184"/>
                  <a:pt x="1763" y="11286"/>
                </a:cubicBezTo>
                <a:cubicBezTo>
                  <a:pt x="1769" y="11302"/>
                  <a:pt x="2052" y="12076"/>
                  <a:pt x="1847" y="12076"/>
                </a:cubicBezTo>
                <a:cubicBezTo>
                  <a:pt x="1847" y="12076"/>
                  <a:pt x="1847" y="12076"/>
                  <a:pt x="1847" y="12076"/>
                </a:cubicBezTo>
                <a:lnTo>
                  <a:pt x="1837" y="12090"/>
                </a:lnTo>
                <a:cubicBezTo>
                  <a:pt x="1850" y="12113"/>
                  <a:pt x="1854" y="12139"/>
                  <a:pt x="1849" y="12168"/>
                </a:cubicBezTo>
                <a:lnTo>
                  <a:pt x="1968" y="12175"/>
                </a:lnTo>
                <a:cubicBezTo>
                  <a:pt x="2045" y="12306"/>
                  <a:pt x="2361" y="12799"/>
                  <a:pt x="2334" y="12928"/>
                </a:cubicBezTo>
                <a:cubicBezTo>
                  <a:pt x="2299" y="13089"/>
                  <a:pt x="2510" y="13140"/>
                  <a:pt x="2556" y="13229"/>
                </a:cubicBezTo>
                <a:cubicBezTo>
                  <a:pt x="2628" y="13365"/>
                  <a:pt x="2637" y="13466"/>
                  <a:pt x="2665" y="13606"/>
                </a:cubicBezTo>
                <a:cubicBezTo>
                  <a:pt x="2622" y="13995"/>
                  <a:pt x="2974" y="14177"/>
                  <a:pt x="3079" y="14465"/>
                </a:cubicBezTo>
                <a:cubicBezTo>
                  <a:pt x="3147" y="14644"/>
                  <a:pt x="3352" y="14818"/>
                  <a:pt x="3369" y="15010"/>
                </a:cubicBezTo>
                <a:cubicBezTo>
                  <a:pt x="3389" y="15237"/>
                  <a:pt x="3410" y="15717"/>
                  <a:pt x="3527" y="15914"/>
                </a:cubicBezTo>
                <a:cubicBezTo>
                  <a:pt x="3685" y="16178"/>
                  <a:pt x="3909" y="15819"/>
                  <a:pt x="4050" y="15819"/>
                </a:cubicBezTo>
                <a:cubicBezTo>
                  <a:pt x="4318" y="15819"/>
                  <a:pt x="4521" y="15540"/>
                  <a:pt x="4746" y="15429"/>
                </a:cubicBezTo>
                <a:cubicBezTo>
                  <a:pt x="4904" y="15350"/>
                  <a:pt x="5142" y="15358"/>
                  <a:pt x="5113" y="15092"/>
                </a:cubicBezTo>
                <a:cubicBezTo>
                  <a:pt x="5108" y="15051"/>
                  <a:pt x="5191" y="15049"/>
                  <a:pt x="5224" y="15056"/>
                </a:cubicBezTo>
                <a:cubicBezTo>
                  <a:pt x="5227" y="15026"/>
                  <a:pt x="5232" y="14996"/>
                  <a:pt x="5238" y="14967"/>
                </a:cubicBezTo>
                <a:cubicBezTo>
                  <a:pt x="5244" y="14974"/>
                  <a:pt x="5256" y="14987"/>
                  <a:pt x="5262" y="14995"/>
                </a:cubicBezTo>
                <a:cubicBezTo>
                  <a:pt x="5385" y="14964"/>
                  <a:pt x="5690" y="14881"/>
                  <a:pt x="5666" y="14697"/>
                </a:cubicBezTo>
                <a:cubicBezTo>
                  <a:pt x="5680" y="14778"/>
                  <a:pt x="5943" y="14440"/>
                  <a:pt x="5924" y="14454"/>
                </a:cubicBezTo>
                <a:cubicBezTo>
                  <a:pt x="5959" y="14436"/>
                  <a:pt x="6024" y="14445"/>
                  <a:pt x="6061" y="14446"/>
                </a:cubicBezTo>
                <a:lnTo>
                  <a:pt x="6064" y="14398"/>
                </a:lnTo>
                <a:lnTo>
                  <a:pt x="6088" y="14378"/>
                </a:lnTo>
                <a:cubicBezTo>
                  <a:pt x="6071" y="14281"/>
                  <a:pt x="6052" y="14106"/>
                  <a:pt x="6092" y="14014"/>
                </a:cubicBezTo>
                <a:cubicBezTo>
                  <a:pt x="6217" y="14121"/>
                  <a:pt x="6399" y="13516"/>
                  <a:pt x="6416" y="13402"/>
                </a:cubicBezTo>
                <a:cubicBezTo>
                  <a:pt x="6337" y="13408"/>
                  <a:pt x="6330" y="13381"/>
                  <a:pt x="6268" y="13333"/>
                </a:cubicBezTo>
                <a:cubicBezTo>
                  <a:pt x="6116" y="13110"/>
                  <a:pt x="6087" y="13191"/>
                  <a:pt x="5900" y="13054"/>
                </a:cubicBezTo>
                <a:cubicBezTo>
                  <a:pt x="5695" y="12901"/>
                  <a:pt x="5769" y="12651"/>
                  <a:pt x="5663" y="12468"/>
                </a:cubicBezTo>
                <a:cubicBezTo>
                  <a:pt x="5681" y="12448"/>
                  <a:pt x="5685" y="12420"/>
                  <a:pt x="5677" y="12383"/>
                </a:cubicBezTo>
                <a:cubicBezTo>
                  <a:pt x="5773" y="12362"/>
                  <a:pt x="5783" y="12641"/>
                  <a:pt x="5830" y="12702"/>
                </a:cubicBezTo>
                <a:cubicBezTo>
                  <a:pt x="5907" y="12800"/>
                  <a:pt x="6096" y="12798"/>
                  <a:pt x="6204" y="12813"/>
                </a:cubicBezTo>
                <a:cubicBezTo>
                  <a:pt x="6343" y="12843"/>
                  <a:pt x="6560" y="12984"/>
                  <a:pt x="6684" y="12921"/>
                </a:cubicBezTo>
                <a:cubicBezTo>
                  <a:pt x="6904" y="12809"/>
                  <a:pt x="7142" y="12917"/>
                  <a:pt x="7377" y="12831"/>
                </a:cubicBezTo>
                <a:cubicBezTo>
                  <a:pt x="7381" y="12857"/>
                  <a:pt x="7392" y="12874"/>
                  <a:pt x="7409" y="12884"/>
                </a:cubicBezTo>
                <a:cubicBezTo>
                  <a:pt x="7402" y="12977"/>
                  <a:pt x="7445" y="12999"/>
                  <a:pt x="7507" y="12996"/>
                </a:cubicBezTo>
                <a:cubicBezTo>
                  <a:pt x="7525" y="13107"/>
                  <a:pt x="7595" y="13302"/>
                  <a:pt x="7708" y="13243"/>
                </a:cubicBezTo>
                <a:cubicBezTo>
                  <a:pt x="7799" y="13358"/>
                  <a:pt x="7948" y="13516"/>
                  <a:pt x="8082" y="13456"/>
                </a:cubicBezTo>
                <a:cubicBezTo>
                  <a:pt x="8040" y="13536"/>
                  <a:pt x="7899" y="13395"/>
                  <a:pt x="7863" y="13512"/>
                </a:cubicBezTo>
                <a:cubicBezTo>
                  <a:pt x="7838" y="13591"/>
                  <a:pt x="7985" y="13734"/>
                  <a:pt x="8024" y="13785"/>
                </a:cubicBezTo>
                <a:cubicBezTo>
                  <a:pt x="8174" y="13978"/>
                  <a:pt x="8328" y="14099"/>
                  <a:pt x="8506" y="13859"/>
                </a:cubicBezTo>
                <a:cubicBezTo>
                  <a:pt x="8506" y="13859"/>
                  <a:pt x="8511" y="13822"/>
                  <a:pt x="8511" y="13821"/>
                </a:cubicBezTo>
                <a:cubicBezTo>
                  <a:pt x="8597" y="14372"/>
                  <a:pt x="8658" y="15060"/>
                  <a:pt x="8944" y="15536"/>
                </a:cubicBezTo>
                <a:cubicBezTo>
                  <a:pt x="9051" y="15713"/>
                  <a:pt x="9457" y="17441"/>
                  <a:pt x="9713" y="17105"/>
                </a:cubicBezTo>
                <a:cubicBezTo>
                  <a:pt x="9784" y="17012"/>
                  <a:pt x="9781" y="16935"/>
                  <a:pt x="9870" y="16876"/>
                </a:cubicBezTo>
                <a:cubicBezTo>
                  <a:pt x="9961" y="16816"/>
                  <a:pt x="9845" y="16697"/>
                  <a:pt x="9968" y="16619"/>
                </a:cubicBezTo>
                <a:cubicBezTo>
                  <a:pt x="9997" y="16525"/>
                  <a:pt x="10045" y="16545"/>
                  <a:pt x="10043" y="16402"/>
                </a:cubicBezTo>
                <a:cubicBezTo>
                  <a:pt x="10042" y="16315"/>
                  <a:pt x="9996" y="16229"/>
                  <a:pt x="10027" y="16148"/>
                </a:cubicBezTo>
                <a:cubicBezTo>
                  <a:pt x="10149" y="15836"/>
                  <a:pt x="9994" y="15606"/>
                  <a:pt x="10014" y="15300"/>
                </a:cubicBezTo>
                <a:cubicBezTo>
                  <a:pt x="10017" y="15254"/>
                  <a:pt x="10218" y="15132"/>
                  <a:pt x="10207" y="15132"/>
                </a:cubicBezTo>
                <a:cubicBezTo>
                  <a:pt x="10321" y="15132"/>
                  <a:pt x="10494" y="14748"/>
                  <a:pt x="10602" y="14634"/>
                </a:cubicBezTo>
                <a:cubicBezTo>
                  <a:pt x="10691" y="14538"/>
                  <a:pt x="10737" y="14284"/>
                  <a:pt x="10862" y="14259"/>
                </a:cubicBezTo>
                <a:cubicBezTo>
                  <a:pt x="10992" y="14233"/>
                  <a:pt x="11028" y="14088"/>
                  <a:pt x="11120" y="13995"/>
                </a:cubicBezTo>
                <a:cubicBezTo>
                  <a:pt x="10889" y="13710"/>
                  <a:pt x="11322" y="13817"/>
                  <a:pt x="11401" y="13792"/>
                </a:cubicBezTo>
                <a:lnTo>
                  <a:pt x="11405" y="13809"/>
                </a:lnTo>
                <a:cubicBezTo>
                  <a:pt x="11513" y="13796"/>
                  <a:pt x="11840" y="13734"/>
                  <a:pt x="11758" y="13509"/>
                </a:cubicBezTo>
                <a:cubicBezTo>
                  <a:pt x="11915" y="13567"/>
                  <a:pt x="11804" y="13766"/>
                  <a:pt x="11804" y="13858"/>
                </a:cubicBezTo>
                <a:cubicBezTo>
                  <a:pt x="11855" y="13932"/>
                  <a:pt x="11916" y="14007"/>
                  <a:pt x="11963" y="14088"/>
                </a:cubicBezTo>
                <a:cubicBezTo>
                  <a:pt x="12025" y="14193"/>
                  <a:pt x="12122" y="14206"/>
                  <a:pt x="12170" y="14271"/>
                </a:cubicBezTo>
                <a:cubicBezTo>
                  <a:pt x="12116" y="14362"/>
                  <a:pt x="12121" y="14561"/>
                  <a:pt x="12259" y="14543"/>
                </a:cubicBezTo>
                <a:lnTo>
                  <a:pt x="12265" y="14517"/>
                </a:lnTo>
                <a:cubicBezTo>
                  <a:pt x="12405" y="14547"/>
                  <a:pt x="12309" y="15318"/>
                  <a:pt x="12423" y="15210"/>
                </a:cubicBezTo>
                <a:cubicBezTo>
                  <a:pt x="12494" y="15441"/>
                  <a:pt x="12802" y="15118"/>
                  <a:pt x="12844" y="14997"/>
                </a:cubicBezTo>
                <a:cubicBezTo>
                  <a:pt x="12856" y="15037"/>
                  <a:pt x="12878" y="15060"/>
                  <a:pt x="12911" y="15067"/>
                </a:cubicBezTo>
                <a:cubicBezTo>
                  <a:pt x="12901" y="15223"/>
                  <a:pt x="13012" y="15781"/>
                  <a:pt x="13143" y="15859"/>
                </a:cubicBezTo>
                <a:lnTo>
                  <a:pt x="13144" y="15854"/>
                </a:lnTo>
                <a:cubicBezTo>
                  <a:pt x="13197" y="16052"/>
                  <a:pt x="13142" y="16636"/>
                  <a:pt x="13250" y="16730"/>
                </a:cubicBezTo>
                <a:cubicBezTo>
                  <a:pt x="13233" y="16829"/>
                  <a:pt x="13157" y="17177"/>
                  <a:pt x="13261" y="17253"/>
                </a:cubicBezTo>
                <a:cubicBezTo>
                  <a:pt x="13268" y="17259"/>
                  <a:pt x="13275" y="17264"/>
                  <a:pt x="13282" y="17267"/>
                </a:cubicBezTo>
                <a:cubicBezTo>
                  <a:pt x="13318" y="17267"/>
                  <a:pt x="13328" y="17221"/>
                  <a:pt x="13335" y="17183"/>
                </a:cubicBezTo>
                <a:cubicBezTo>
                  <a:pt x="13489" y="17447"/>
                  <a:pt x="13664" y="17696"/>
                  <a:pt x="13664" y="18046"/>
                </a:cubicBezTo>
                <a:cubicBezTo>
                  <a:pt x="13665" y="18236"/>
                  <a:pt x="13986" y="18792"/>
                  <a:pt x="14143" y="18792"/>
                </a:cubicBezTo>
                <a:lnTo>
                  <a:pt x="14108" y="18792"/>
                </a:lnTo>
                <a:lnTo>
                  <a:pt x="14340" y="18993"/>
                </a:lnTo>
                <a:cubicBezTo>
                  <a:pt x="14381" y="18801"/>
                  <a:pt x="14438" y="18554"/>
                  <a:pt x="14266" y="18407"/>
                </a:cubicBezTo>
                <a:cubicBezTo>
                  <a:pt x="14222" y="18370"/>
                  <a:pt x="14205" y="18151"/>
                  <a:pt x="14226" y="18088"/>
                </a:cubicBezTo>
                <a:cubicBezTo>
                  <a:pt x="14290" y="17896"/>
                  <a:pt x="14071" y="17539"/>
                  <a:pt x="13928" y="17499"/>
                </a:cubicBezTo>
                <a:cubicBezTo>
                  <a:pt x="13881" y="17415"/>
                  <a:pt x="13661" y="17373"/>
                  <a:pt x="13645" y="17259"/>
                </a:cubicBezTo>
                <a:cubicBezTo>
                  <a:pt x="13745" y="17168"/>
                  <a:pt x="13574" y="16889"/>
                  <a:pt x="13558" y="16792"/>
                </a:cubicBezTo>
                <a:cubicBezTo>
                  <a:pt x="13529" y="16788"/>
                  <a:pt x="13501" y="16791"/>
                  <a:pt x="13472" y="16803"/>
                </a:cubicBezTo>
                <a:cubicBezTo>
                  <a:pt x="13429" y="16495"/>
                  <a:pt x="13632" y="16145"/>
                  <a:pt x="13549" y="15846"/>
                </a:cubicBezTo>
                <a:cubicBezTo>
                  <a:pt x="13573" y="15845"/>
                  <a:pt x="13595" y="15843"/>
                  <a:pt x="13619" y="15840"/>
                </a:cubicBezTo>
                <a:cubicBezTo>
                  <a:pt x="13609" y="16099"/>
                  <a:pt x="13684" y="15951"/>
                  <a:pt x="13779" y="16047"/>
                </a:cubicBezTo>
                <a:cubicBezTo>
                  <a:pt x="13864" y="16023"/>
                  <a:pt x="13870" y="16267"/>
                  <a:pt x="13976" y="16189"/>
                </a:cubicBezTo>
                <a:cubicBezTo>
                  <a:pt x="14020" y="16272"/>
                  <a:pt x="14042" y="16563"/>
                  <a:pt x="14148" y="16421"/>
                </a:cubicBezTo>
                <a:cubicBezTo>
                  <a:pt x="14160" y="16430"/>
                  <a:pt x="14169" y="16479"/>
                  <a:pt x="14172" y="16497"/>
                </a:cubicBezTo>
                <a:cubicBezTo>
                  <a:pt x="14248" y="16535"/>
                  <a:pt x="14324" y="16665"/>
                  <a:pt x="14393" y="16675"/>
                </a:cubicBezTo>
                <a:cubicBezTo>
                  <a:pt x="14349" y="16802"/>
                  <a:pt x="14378" y="16936"/>
                  <a:pt x="14328" y="17065"/>
                </a:cubicBezTo>
                <a:cubicBezTo>
                  <a:pt x="14423" y="17103"/>
                  <a:pt x="14649" y="16942"/>
                  <a:pt x="14681" y="16817"/>
                </a:cubicBezTo>
                <a:cubicBezTo>
                  <a:pt x="14747" y="16823"/>
                  <a:pt x="14771" y="16679"/>
                  <a:pt x="14777" y="16616"/>
                </a:cubicBezTo>
                <a:lnTo>
                  <a:pt x="14795" y="16636"/>
                </a:lnTo>
                <a:cubicBezTo>
                  <a:pt x="14920" y="16540"/>
                  <a:pt x="15138" y="16456"/>
                  <a:pt x="15162" y="16247"/>
                </a:cubicBezTo>
                <a:cubicBezTo>
                  <a:pt x="15186" y="16037"/>
                  <a:pt x="15149" y="15872"/>
                  <a:pt x="15136" y="15668"/>
                </a:cubicBezTo>
                <a:cubicBezTo>
                  <a:pt x="15108" y="15228"/>
                  <a:pt x="14762" y="15014"/>
                  <a:pt x="14564" y="14711"/>
                </a:cubicBezTo>
                <a:cubicBezTo>
                  <a:pt x="14528" y="14587"/>
                  <a:pt x="14270" y="14343"/>
                  <a:pt x="14428" y="14189"/>
                </a:cubicBezTo>
                <a:cubicBezTo>
                  <a:pt x="14501" y="14117"/>
                  <a:pt x="14517" y="14012"/>
                  <a:pt x="14591" y="13938"/>
                </a:cubicBezTo>
                <a:cubicBezTo>
                  <a:pt x="14638" y="13892"/>
                  <a:pt x="14715" y="13816"/>
                  <a:pt x="14743" y="13760"/>
                </a:cubicBezTo>
                <a:cubicBezTo>
                  <a:pt x="14780" y="13785"/>
                  <a:pt x="14880" y="13924"/>
                  <a:pt x="14917" y="13797"/>
                </a:cubicBezTo>
                <a:cubicBezTo>
                  <a:pt x="14919" y="13798"/>
                  <a:pt x="14921" y="13800"/>
                  <a:pt x="14924" y="13802"/>
                </a:cubicBezTo>
                <a:cubicBezTo>
                  <a:pt x="14874" y="13903"/>
                  <a:pt x="14944" y="14050"/>
                  <a:pt x="15003" y="14121"/>
                </a:cubicBezTo>
                <a:cubicBezTo>
                  <a:pt x="14696" y="14139"/>
                  <a:pt x="14934" y="14721"/>
                  <a:pt x="15063" y="14532"/>
                </a:cubicBezTo>
                <a:cubicBezTo>
                  <a:pt x="15168" y="14522"/>
                  <a:pt x="15172" y="14273"/>
                  <a:pt x="15207" y="14188"/>
                </a:cubicBezTo>
                <a:cubicBezTo>
                  <a:pt x="15207" y="14093"/>
                  <a:pt x="15157" y="14104"/>
                  <a:pt x="15102" y="14115"/>
                </a:cubicBezTo>
                <a:cubicBezTo>
                  <a:pt x="15199" y="14030"/>
                  <a:pt x="15118" y="14016"/>
                  <a:pt x="15104" y="13913"/>
                </a:cubicBezTo>
                <a:cubicBezTo>
                  <a:pt x="15092" y="13820"/>
                  <a:pt x="15241" y="13850"/>
                  <a:pt x="15281" y="13822"/>
                </a:cubicBezTo>
                <a:cubicBezTo>
                  <a:pt x="15359" y="13767"/>
                  <a:pt x="15439" y="13745"/>
                  <a:pt x="15523" y="13688"/>
                </a:cubicBezTo>
                <a:cubicBezTo>
                  <a:pt x="15526" y="13681"/>
                  <a:pt x="15528" y="13675"/>
                  <a:pt x="15529" y="13668"/>
                </a:cubicBezTo>
                <a:cubicBezTo>
                  <a:pt x="15564" y="13634"/>
                  <a:pt x="15623" y="13651"/>
                  <a:pt x="15631" y="13574"/>
                </a:cubicBezTo>
                <a:cubicBezTo>
                  <a:pt x="15689" y="13627"/>
                  <a:pt x="16074" y="13471"/>
                  <a:pt x="16095" y="13390"/>
                </a:cubicBezTo>
                <a:cubicBezTo>
                  <a:pt x="16114" y="13308"/>
                  <a:pt x="16263" y="13203"/>
                  <a:pt x="16314" y="13153"/>
                </a:cubicBezTo>
                <a:cubicBezTo>
                  <a:pt x="16369" y="13097"/>
                  <a:pt x="16451" y="12820"/>
                  <a:pt x="16493" y="12794"/>
                </a:cubicBezTo>
                <a:lnTo>
                  <a:pt x="16510" y="12781"/>
                </a:lnTo>
                <a:cubicBezTo>
                  <a:pt x="16523" y="12573"/>
                  <a:pt x="16584" y="12331"/>
                  <a:pt x="16643" y="12135"/>
                </a:cubicBezTo>
                <a:cubicBezTo>
                  <a:pt x="16777" y="12226"/>
                  <a:pt x="16741" y="11976"/>
                  <a:pt x="16718" y="11897"/>
                </a:cubicBezTo>
                <a:lnTo>
                  <a:pt x="16759" y="11906"/>
                </a:lnTo>
                <a:cubicBezTo>
                  <a:pt x="16726" y="11747"/>
                  <a:pt x="16728" y="11491"/>
                  <a:pt x="16531" y="11506"/>
                </a:cubicBezTo>
                <a:cubicBezTo>
                  <a:pt x="16589" y="11423"/>
                  <a:pt x="16734" y="11436"/>
                  <a:pt x="16572" y="11272"/>
                </a:cubicBezTo>
                <a:lnTo>
                  <a:pt x="16584" y="11278"/>
                </a:lnTo>
                <a:cubicBezTo>
                  <a:pt x="16598" y="11049"/>
                  <a:pt x="16383" y="11061"/>
                  <a:pt x="16346" y="10916"/>
                </a:cubicBezTo>
                <a:cubicBezTo>
                  <a:pt x="16216" y="10747"/>
                  <a:pt x="16131" y="10449"/>
                  <a:pt x="15922" y="10393"/>
                </a:cubicBezTo>
                <a:cubicBezTo>
                  <a:pt x="15951" y="10281"/>
                  <a:pt x="15996" y="10050"/>
                  <a:pt x="16094" y="10009"/>
                </a:cubicBezTo>
                <a:cubicBezTo>
                  <a:pt x="16162" y="9981"/>
                  <a:pt x="16172" y="9976"/>
                  <a:pt x="16241" y="9976"/>
                </a:cubicBezTo>
                <a:cubicBezTo>
                  <a:pt x="16389" y="9976"/>
                  <a:pt x="16256" y="9717"/>
                  <a:pt x="16138" y="9717"/>
                </a:cubicBezTo>
                <a:cubicBezTo>
                  <a:pt x="16041" y="9717"/>
                  <a:pt x="15947" y="9596"/>
                  <a:pt x="15855" y="9645"/>
                </a:cubicBezTo>
                <a:cubicBezTo>
                  <a:pt x="15815" y="9666"/>
                  <a:pt x="15657" y="9959"/>
                  <a:pt x="15665" y="9700"/>
                </a:cubicBezTo>
                <a:cubicBezTo>
                  <a:pt x="15671" y="9442"/>
                  <a:pt x="15348" y="9696"/>
                  <a:pt x="15343" y="9394"/>
                </a:cubicBezTo>
                <a:cubicBezTo>
                  <a:pt x="15385" y="9432"/>
                  <a:pt x="15449" y="9421"/>
                  <a:pt x="15498" y="9408"/>
                </a:cubicBezTo>
                <a:cubicBezTo>
                  <a:pt x="15515" y="9403"/>
                  <a:pt x="15696" y="9022"/>
                  <a:pt x="15715" y="8978"/>
                </a:cubicBezTo>
                <a:cubicBezTo>
                  <a:pt x="15802" y="8780"/>
                  <a:pt x="15869" y="9340"/>
                  <a:pt x="15873" y="9343"/>
                </a:cubicBezTo>
                <a:cubicBezTo>
                  <a:pt x="15724" y="9412"/>
                  <a:pt x="15962" y="9649"/>
                  <a:pt x="16042" y="9398"/>
                </a:cubicBezTo>
                <a:cubicBezTo>
                  <a:pt x="16080" y="9281"/>
                  <a:pt x="16134" y="9226"/>
                  <a:pt x="16255" y="9232"/>
                </a:cubicBezTo>
                <a:cubicBezTo>
                  <a:pt x="16563" y="9232"/>
                  <a:pt x="16381" y="9707"/>
                  <a:pt x="16600" y="9725"/>
                </a:cubicBezTo>
                <a:cubicBezTo>
                  <a:pt x="16602" y="9756"/>
                  <a:pt x="16619" y="9789"/>
                  <a:pt x="16637" y="9811"/>
                </a:cubicBezTo>
                <a:cubicBezTo>
                  <a:pt x="16663" y="9798"/>
                  <a:pt x="16698" y="9771"/>
                  <a:pt x="16709" y="9740"/>
                </a:cubicBezTo>
                <a:cubicBezTo>
                  <a:pt x="16725" y="9749"/>
                  <a:pt x="16741" y="9758"/>
                  <a:pt x="16757" y="9767"/>
                </a:cubicBezTo>
                <a:cubicBezTo>
                  <a:pt x="16769" y="9767"/>
                  <a:pt x="16778" y="9762"/>
                  <a:pt x="16785" y="9756"/>
                </a:cubicBezTo>
                <a:cubicBezTo>
                  <a:pt x="16797" y="9780"/>
                  <a:pt x="16820" y="9802"/>
                  <a:pt x="16840" y="9817"/>
                </a:cubicBezTo>
                <a:cubicBezTo>
                  <a:pt x="16852" y="9804"/>
                  <a:pt x="16864" y="9788"/>
                  <a:pt x="16873" y="9771"/>
                </a:cubicBezTo>
                <a:cubicBezTo>
                  <a:pt x="16891" y="9805"/>
                  <a:pt x="16902" y="9828"/>
                  <a:pt x="16908" y="9843"/>
                </a:cubicBezTo>
                <a:cubicBezTo>
                  <a:pt x="16847" y="9895"/>
                  <a:pt x="17004" y="10307"/>
                  <a:pt x="17021" y="10410"/>
                </a:cubicBezTo>
                <a:cubicBezTo>
                  <a:pt x="17070" y="10691"/>
                  <a:pt x="17304" y="10518"/>
                  <a:pt x="17449" y="10518"/>
                </a:cubicBezTo>
                <a:cubicBezTo>
                  <a:pt x="17808" y="10215"/>
                  <a:pt x="17261" y="9613"/>
                  <a:pt x="17080" y="9402"/>
                </a:cubicBezTo>
                <a:lnTo>
                  <a:pt x="17048" y="9438"/>
                </a:lnTo>
                <a:cubicBezTo>
                  <a:pt x="16837" y="9231"/>
                  <a:pt x="16887" y="9348"/>
                  <a:pt x="17005" y="9091"/>
                </a:cubicBezTo>
                <a:cubicBezTo>
                  <a:pt x="17099" y="8895"/>
                  <a:pt x="16986" y="8839"/>
                  <a:pt x="17044" y="8633"/>
                </a:cubicBezTo>
                <a:cubicBezTo>
                  <a:pt x="17065" y="8626"/>
                  <a:pt x="17115" y="8634"/>
                  <a:pt x="17137" y="8636"/>
                </a:cubicBezTo>
                <a:cubicBezTo>
                  <a:pt x="17110" y="8586"/>
                  <a:pt x="17077" y="8532"/>
                  <a:pt x="17040" y="8493"/>
                </a:cubicBezTo>
                <a:cubicBezTo>
                  <a:pt x="17041" y="8492"/>
                  <a:pt x="17041" y="8490"/>
                  <a:pt x="17042" y="8488"/>
                </a:cubicBezTo>
                <a:cubicBezTo>
                  <a:pt x="17064" y="8487"/>
                  <a:pt x="17086" y="8479"/>
                  <a:pt x="17106" y="8468"/>
                </a:cubicBezTo>
                <a:cubicBezTo>
                  <a:pt x="17135" y="8432"/>
                  <a:pt x="17150" y="8393"/>
                  <a:pt x="17159" y="8342"/>
                </a:cubicBezTo>
                <a:cubicBezTo>
                  <a:pt x="17315" y="8418"/>
                  <a:pt x="17705" y="8619"/>
                  <a:pt x="17671" y="8117"/>
                </a:cubicBezTo>
                <a:cubicBezTo>
                  <a:pt x="17658" y="7925"/>
                  <a:pt x="17808" y="7735"/>
                  <a:pt x="17792" y="7535"/>
                </a:cubicBezTo>
                <a:cubicBezTo>
                  <a:pt x="17781" y="7389"/>
                  <a:pt x="17861" y="7091"/>
                  <a:pt x="17823" y="6968"/>
                </a:cubicBezTo>
                <a:cubicBezTo>
                  <a:pt x="17754" y="6743"/>
                  <a:pt x="17595" y="6575"/>
                  <a:pt x="17533" y="6355"/>
                </a:cubicBezTo>
                <a:cubicBezTo>
                  <a:pt x="17482" y="6176"/>
                  <a:pt x="17477" y="6076"/>
                  <a:pt x="17371" y="5930"/>
                </a:cubicBezTo>
                <a:cubicBezTo>
                  <a:pt x="17206" y="5696"/>
                  <a:pt x="16964" y="5566"/>
                  <a:pt x="16701" y="5550"/>
                </a:cubicBezTo>
                <a:lnTo>
                  <a:pt x="16702" y="5599"/>
                </a:lnTo>
                <a:lnTo>
                  <a:pt x="16682" y="5620"/>
                </a:lnTo>
                <a:cubicBezTo>
                  <a:pt x="16715" y="5661"/>
                  <a:pt x="16696" y="5689"/>
                  <a:pt x="16705" y="5735"/>
                </a:cubicBezTo>
                <a:cubicBezTo>
                  <a:pt x="16705" y="5735"/>
                  <a:pt x="16701" y="5738"/>
                  <a:pt x="16686" y="5738"/>
                </a:cubicBezTo>
                <a:cubicBezTo>
                  <a:pt x="16699" y="5604"/>
                  <a:pt x="16597" y="5649"/>
                  <a:pt x="16543" y="5672"/>
                </a:cubicBezTo>
                <a:cubicBezTo>
                  <a:pt x="16464" y="5655"/>
                  <a:pt x="16474" y="5478"/>
                  <a:pt x="16362" y="5478"/>
                </a:cubicBezTo>
                <a:cubicBezTo>
                  <a:pt x="16292" y="5478"/>
                  <a:pt x="16248" y="5504"/>
                  <a:pt x="16175" y="5453"/>
                </a:cubicBezTo>
                <a:cubicBezTo>
                  <a:pt x="16188" y="5307"/>
                  <a:pt x="16331" y="5234"/>
                  <a:pt x="16320" y="5059"/>
                </a:cubicBezTo>
                <a:cubicBezTo>
                  <a:pt x="16316" y="4984"/>
                  <a:pt x="16399" y="4871"/>
                  <a:pt x="16438" y="4830"/>
                </a:cubicBezTo>
                <a:cubicBezTo>
                  <a:pt x="16438" y="4780"/>
                  <a:pt x="16419" y="4738"/>
                  <a:pt x="16403" y="4694"/>
                </a:cubicBezTo>
                <a:cubicBezTo>
                  <a:pt x="16485" y="4410"/>
                  <a:pt x="16622" y="4513"/>
                  <a:pt x="16822" y="4502"/>
                </a:cubicBezTo>
                <a:cubicBezTo>
                  <a:pt x="17017" y="4491"/>
                  <a:pt x="17229" y="4512"/>
                  <a:pt x="17432" y="4486"/>
                </a:cubicBezTo>
                <a:cubicBezTo>
                  <a:pt x="17432" y="4486"/>
                  <a:pt x="17380" y="4399"/>
                  <a:pt x="17380" y="4399"/>
                </a:cubicBezTo>
                <a:cubicBezTo>
                  <a:pt x="17472" y="4395"/>
                  <a:pt x="17591" y="4417"/>
                  <a:pt x="17675" y="4457"/>
                </a:cubicBezTo>
                <a:lnTo>
                  <a:pt x="17587" y="4479"/>
                </a:lnTo>
                <a:cubicBezTo>
                  <a:pt x="17820" y="4694"/>
                  <a:pt x="18012" y="4482"/>
                  <a:pt x="18255" y="4567"/>
                </a:cubicBezTo>
                <a:lnTo>
                  <a:pt x="18310" y="4498"/>
                </a:lnTo>
                <a:cubicBezTo>
                  <a:pt x="18234" y="4374"/>
                  <a:pt x="18125" y="4427"/>
                  <a:pt x="18045" y="4339"/>
                </a:cubicBezTo>
                <a:cubicBezTo>
                  <a:pt x="18017" y="4297"/>
                  <a:pt x="18066" y="4003"/>
                  <a:pt x="18073" y="3947"/>
                </a:cubicBezTo>
                <a:cubicBezTo>
                  <a:pt x="18187" y="3913"/>
                  <a:pt x="18309" y="3913"/>
                  <a:pt x="18421" y="3949"/>
                </a:cubicBezTo>
                <a:cubicBezTo>
                  <a:pt x="18458" y="3949"/>
                  <a:pt x="18515" y="4111"/>
                  <a:pt x="18527" y="4157"/>
                </a:cubicBezTo>
                <a:cubicBezTo>
                  <a:pt x="18550" y="4152"/>
                  <a:pt x="18576" y="4143"/>
                  <a:pt x="18595" y="4129"/>
                </a:cubicBezTo>
                <a:cubicBezTo>
                  <a:pt x="18617" y="4170"/>
                  <a:pt x="18639" y="4210"/>
                  <a:pt x="18664" y="4248"/>
                </a:cubicBezTo>
                <a:cubicBezTo>
                  <a:pt x="18693" y="4222"/>
                  <a:pt x="18725" y="4201"/>
                  <a:pt x="18757" y="4186"/>
                </a:cubicBezTo>
                <a:cubicBezTo>
                  <a:pt x="18758" y="4038"/>
                  <a:pt x="18825" y="3956"/>
                  <a:pt x="18932" y="4040"/>
                </a:cubicBezTo>
                <a:cubicBezTo>
                  <a:pt x="18932" y="4003"/>
                  <a:pt x="18933" y="3962"/>
                  <a:pt x="18927" y="3925"/>
                </a:cubicBezTo>
                <a:cubicBezTo>
                  <a:pt x="18949" y="3962"/>
                  <a:pt x="18974" y="4040"/>
                  <a:pt x="19016" y="4044"/>
                </a:cubicBezTo>
                <a:cubicBezTo>
                  <a:pt x="19020" y="4065"/>
                  <a:pt x="19027" y="4085"/>
                  <a:pt x="19036" y="4104"/>
                </a:cubicBezTo>
                <a:cubicBezTo>
                  <a:pt x="18991" y="4134"/>
                  <a:pt x="18948" y="4163"/>
                  <a:pt x="18913" y="4209"/>
                </a:cubicBezTo>
                <a:lnTo>
                  <a:pt x="18933" y="4227"/>
                </a:lnTo>
                <a:lnTo>
                  <a:pt x="18922" y="4242"/>
                </a:lnTo>
                <a:cubicBezTo>
                  <a:pt x="18933" y="4251"/>
                  <a:pt x="18941" y="4262"/>
                  <a:pt x="18947" y="4276"/>
                </a:cubicBezTo>
                <a:cubicBezTo>
                  <a:pt x="18922" y="4461"/>
                  <a:pt x="18945" y="4782"/>
                  <a:pt x="18746" y="4754"/>
                </a:cubicBezTo>
                <a:cubicBezTo>
                  <a:pt x="18747" y="4788"/>
                  <a:pt x="18744" y="4821"/>
                  <a:pt x="18739" y="4854"/>
                </a:cubicBezTo>
                <a:cubicBezTo>
                  <a:pt x="18836" y="5008"/>
                  <a:pt x="18864" y="5224"/>
                  <a:pt x="18983" y="5396"/>
                </a:cubicBezTo>
                <a:cubicBezTo>
                  <a:pt x="19126" y="5602"/>
                  <a:pt x="19308" y="5753"/>
                  <a:pt x="19457" y="5949"/>
                </a:cubicBezTo>
                <a:cubicBezTo>
                  <a:pt x="19532" y="6048"/>
                  <a:pt x="19836" y="6469"/>
                  <a:pt x="19960" y="6469"/>
                </a:cubicBezTo>
                <a:cubicBezTo>
                  <a:pt x="20212" y="6469"/>
                  <a:pt x="19956" y="6018"/>
                  <a:pt x="19950" y="5979"/>
                </a:cubicBezTo>
                <a:cubicBezTo>
                  <a:pt x="19977" y="5936"/>
                  <a:pt x="20168" y="5982"/>
                  <a:pt x="20211" y="5985"/>
                </a:cubicBezTo>
                <a:cubicBezTo>
                  <a:pt x="20174" y="5942"/>
                  <a:pt x="19926" y="5707"/>
                  <a:pt x="19968" y="5649"/>
                </a:cubicBezTo>
                <a:cubicBezTo>
                  <a:pt x="19982" y="5630"/>
                  <a:pt x="20101" y="5654"/>
                  <a:pt x="20126" y="5664"/>
                </a:cubicBezTo>
                <a:cubicBezTo>
                  <a:pt x="20192" y="5412"/>
                  <a:pt x="19863" y="5420"/>
                  <a:pt x="19903" y="5247"/>
                </a:cubicBezTo>
                <a:cubicBezTo>
                  <a:pt x="19934" y="5260"/>
                  <a:pt x="19968" y="5294"/>
                  <a:pt x="19997" y="5315"/>
                </a:cubicBezTo>
                <a:cubicBezTo>
                  <a:pt x="20147" y="5117"/>
                  <a:pt x="19645" y="4785"/>
                  <a:pt x="19523" y="4756"/>
                </a:cubicBezTo>
                <a:cubicBezTo>
                  <a:pt x="19467" y="4748"/>
                  <a:pt x="19432" y="4643"/>
                  <a:pt x="19443" y="4586"/>
                </a:cubicBezTo>
                <a:cubicBezTo>
                  <a:pt x="19470" y="4445"/>
                  <a:pt x="19324" y="4420"/>
                  <a:pt x="19334" y="4366"/>
                </a:cubicBezTo>
                <a:cubicBezTo>
                  <a:pt x="19351" y="4272"/>
                  <a:pt x="19470" y="4429"/>
                  <a:pt x="19504" y="4429"/>
                </a:cubicBezTo>
                <a:cubicBezTo>
                  <a:pt x="19583" y="4429"/>
                  <a:pt x="19522" y="4292"/>
                  <a:pt x="19560" y="4279"/>
                </a:cubicBezTo>
                <a:cubicBezTo>
                  <a:pt x="19779" y="4468"/>
                  <a:pt x="19644" y="4227"/>
                  <a:pt x="19830" y="4227"/>
                </a:cubicBezTo>
                <a:cubicBezTo>
                  <a:pt x="19974" y="4180"/>
                  <a:pt x="20153" y="4358"/>
                  <a:pt x="20275" y="4424"/>
                </a:cubicBezTo>
                <a:cubicBezTo>
                  <a:pt x="20286" y="4362"/>
                  <a:pt x="20280" y="4286"/>
                  <a:pt x="20244" y="4238"/>
                </a:cubicBezTo>
                <a:cubicBezTo>
                  <a:pt x="20487" y="4009"/>
                  <a:pt x="20524" y="3674"/>
                  <a:pt x="20914" y="3862"/>
                </a:cubicBezTo>
                <a:cubicBezTo>
                  <a:pt x="20928" y="3840"/>
                  <a:pt x="20946" y="3835"/>
                  <a:pt x="20968" y="3843"/>
                </a:cubicBezTo>
                <a:cubicBezTo>
                  <a:pt x="20980" y="3602"/>
                  <a:pt x="20494" y="3359"/>
                  <a:pt x="20326" y="3322"/>
                </a:cubicBezTo>
                <a:cubicBezTo>
                  <a:pt x="20400" y="3299"/>
                  <a:pt x="20509" y="3221"/>
                  <a:pt x="20442" y="3106"/>
                </a:cubicBezTo>
                <a:cubicBezTo>
                  <a:pt x="20615" y="3209"/>
                  <a:pt x="20796" y="3130"/>
                  <a:pt x="20975" y="3259"/>
                </a:cubicBezTo>
                <a:cubicBezTo>
                  <a:pt x="21042" y="3307"/>
                  <a:pt x="21600" y="3507"/>
                  <a:pt x="21591" y="3334"/>
                </a:cubicBezTo>
                <a:cubicBezTo>
                  <a:pt x="21518" y="3261"/>
                  <a:pt x="21537" y="3195"/>
                  <a:pt x="21483" y="3136"/>
                </a:cubicBezTo>
                <a:close/>
                <a:moveTo>
                  <a:pt x="16994" y="18909"/>
                </a:moveTo>
                <a:cubicBezTo>
                  <a:pt x="16992" y="18916"/>
                  <a:pt x="16986" y="18936"/>
                  <a:pt x="16994" y="18908"/>
                </a:cubicBezTo>
                <a:cubicBezTo>
                  <a:pt x="16995" y="18905"/>
                  <a:pt x="16995" y="18906"/>
                  <a:pt x="16994" y="18908"/>
                </a:cubicBezTo>
                <a:cubicBezTo>
                  <a:pt x="17025" y="18802"/>
                  <a:pt x="16849" y="18703"/>
                  <a:pt x="16797" y="18645"/>
                </a:cubicBezTo>
                <a:cubicBezTo>
                  <a:pt x="16910" y="18509"/>
                  <a:pt x="16724" y="18432"/>
                  <a:pt x="16738" y="18304"/>
                </a:cubicBezTo>
                <a:lnTo>
                  <a:pt x="16754" y="18340"/>
                </a:lnTo>
                <a:lnTo>
                  <a:pt x="16768" y="18257"/>
                </a:lnTo>
                <a:lnTo>
                  <a:pt x="16776" y="18259"/>
                </a:lnTo>
                <a:cubicBezTo>
                  <a:pt x="16763" y="18110"/>
                  <a:pt x="16888" y="18117"/>
                  <a:pt x="16947" y="18016"/>
                </a:cubicBezTo>
                <a:cubicBezTo>
                  <a:pt x="16932" y="18006"/>
                  <a:pt x="16894" y="17954"/>
                  <a:pt x="16878" y="17954"/>
                </a:cubicBezTo>
                <a:cubicBezTo>
                  <a:pt x="17187" y="17954"/>
                  <a:pt x="16910" y="17614"/>
                  <a:pt x="16748" y="17594"/>
                </a:cubicBezTo>
                <a:cubicBezTo>
                  <a:pt x="16760" y="17529"/>
                  <a:pt x="16681" y="17426"/>
                  <a:pt x="16659" y="17362"/>
                </a:cubicBezTo>
                <a:cubicBezTo>
                  <a:pt x="16473" y="17255"/>
                  <a:pt x="16458" y="17581"/>
                  <a:pt x="16391" y="17697"/>
                </a:cubicBezTo>
                <a:lnTo>
                  <a:pt x="16408" y="17712"/>
                </a:lnTo>
                <a:cubicBezTo>
                  <a:pt x="16350" y="17704"/>
                  <a:pt x="16222" y="17768"/>
                  <a:pt x="16295" y="17866"/>
                </a:cubicBezTo>
                <a:cubicBezTo>
                  <a:pt x="16216" y="17940"/>
                  <a:pt x="16061" y="17932"/>
                  <a:pt x="16023" y="18049"/>
                </a:cubicBezTo>
                <a:cubicBezTo>
                  <a:pt x="15957" y="18251"/>
                  <a:pt x="15876" y="18304"/>
                  <a:pt x="15732" y="18363"/>
                </a:cubicBezTo>
                <a:cubicBezTo>
                  <a:pt x="15609" y="18415"/>
                  <a:pt x="15571" y="18696"/>
                  <a:pt x="15535" y="18708"/>
                </a:cubicBezTo>
                <a:cubicBezTo>
                  <a:pt x="15508" y="18708"/>
                  <a:pt x="15366" y="18659"/>
                  <a:pt x="15367" y="18626"/>
                </a:cubicBezTo>
                <a:lnTo>
                  <a:pt x="15369" y="18534"/>
                </a:lnTo>
                <a:lnTo>
                  <a:pt x="15311" y="18575"/>
                </a:lnTo>
                <a:lnTo>
                  <a:pt x="15306" y="18562"/>
                </a:lnTo>
                <a:cubicBezTo>
                  <a:pt x="15117" y="18677"/>
                  <a:pt x="15108" y="18934"/>
                  <a:pt x="15200" y="19136"/>
                </a:cubicBezTo>
                <a:cubicBezTo>
                  <a:pt x="15161" y="19181"/>
                  <a:pt x="15164" y="19258"/>
                  <a:pt x="15203" y="19303"/>
                </a:cubicBezTo>
                <a:cubicBezTo>
                  <a:pt x="15195" y="19335"/>
                  <a:pt x="15210" y="19374"/>
                  <a:pt x="15235" y="19385"/>
                </a:cubicBezTo>
                <a:cubicBezTo>
                  <a:pt x="15225" y="19424"/>
                  <a:pt x="15232" y="19455"/>
                  <a:pt x="15254" y="19479"/>
                </a:cubicBezTo>
                <a:cubicBezTo>
                  <a:pt x="15285" y="19481"/>
                  <a:pt x="15311" y="19464"/>
                  <a:pt x="15340" y="19452"/>
                </a:cubicBezTo>
                <a:cubicBezTo>
                  <a:pt x="15350" y="19468"/>
                  <a:pt x="15353" y="19488"/>
                  <a:pt x="15347" y="19511"/>
                </a:cubicBezTo>
                <a:cubicBezTo>
                  <a:pt x="15325" y="19540"/>
                  <a:pt x="15350" y="19890"/>
                  <a:pt x="15399" y="19920"/>
                </a:cubicBezTo>
                <a:cubicBezTo>
                  <a:pt x="15473" y="19966"/>
                  <a:pt x="15568" y="19928"/>
                  <a:pt x="15643" y="19918"/>
                </a:cubicBezTo>
                <a:cubicBezTo>
                  <a:pt x="15630" y="20115"/>
                  <a:pt x="15842" y="20079"/>
                  <a:pt x="15913" y="19951"/>
                </a:cubicBezTo>
                <a:cubicBezTo>
                  <a:pt x="15943" y="20003"/>
                  <a:pt x="16038" y="20088"/>
                  <a:pt x="16085" y="20029"/>
                </a:cubicBezTo>
                <a:cubicBezTo>
                  <a:pt x="16181" y="20173"/>
                  <a:pt x="16201" y="20238"/>
                  <a:pt x="16389" y="20115"/>
                </a:cubicBezTo>
                <a:cubicBezTo>
                  <a:pt x="16410" y="20270"/>
                  <a:pt x="16541" y="20049"/>
                  <a:pt x="16499" y="19901"/>
                </a:cubicBezTo>
                <a:cubicBezTo>
                  <a:pt x="16526" y="19881"/>
                  <a:pt x="16539" y="19851"/>
                  <a:pt x="16538" y="19809"/>
                </a:cubicBezTo>
                <a:lnTo>
                  <a:pt x="16562" y="19798"/>
                </a:lnTo>
                <a:cubicBezTo>
                  <a:pt x="16568" y="19733"/>
                  <a:pt x="16573" y="19601"/>
                  <a:pt x="16539" y="19554"/>
                </a:cubicBezTo>
                <a:cubicBezTo>
                  <a:pt x="16562" y="19523"/>
                  <a:pt x="16573" y="19505"/>
                  <a:pt x="16597" y="19520"/>
                </a:cubicBezTo>
                <a:cubicBezTo>
                  <a:pt x="16644" y="19442"/>
                  <a:pt x="16806" y="19309"/>
                  <a:pt x="16741" y="19205"/>
                </a:cubicBezTo>
                <a:cubicBezTo>
                  <a:pt x="16704" y="19144"/>
                  <a:pt x="16767" y="18984"/>
                  <a:pt x="16806" y="18955"/>
                </a:cubicBezTo>
                <a:cubicBezTo>
                  <a:pt x="16858" y="18955"/>
                  <a:pt x="16966" y="19000"/>
                  <a:pt x="16994" y="18909"/>
                </a:cubicBezTo>
                <a:close/>
                <a:moveTo>
                  <a:pt x="17082" y="15769"/>
                </a:moveTo>
                <a:cubicBezTo>
                  <a:pt x="17065" y="15769"/>
                  <a:pt x="17051" y="15769"/>
                  <a:pt x="17082" y="15769"/>
                </a:cubicBezTo>
                <a:cubicBezTo>
                  <a:pt x="17137" y="15769"/>
                  <a:pt x="17106" y="15769"/>
                  <a:pt x="17083" y="15769"/>
                </a:cubicBezTo>
                <a:cubicBezTo>
                  <a:pt x="17275" y="15768"/>
                  <a:pt x="17243" y="16089"/>
                  <a:pt x="17193" y="16059"/>
                </a:cubicBezTo>
                <a:cubicBezTo>
                  <a:pt x="17151" y="16034"/>
                  <a:pt x="17029" y="15770"/>
                  <a:pt x="17082" y="15769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22502" tIns="22502" rIns="22502" bIns="22502" anchor="ctr"/>
          <a:lstStyle/>
          <a:p>
            <a:pPr algn="ctr" defTabSz="269932" hangingPunct="0">
              <a:lnSpc>
                <a:spcPct val="80000"/>
              </a:lnSpc>
              <a:spcBef>
                <a:spcPts val="2058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 sz="42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venir Next"/>
              <a:ea typeface="Avenir Next"/>
              <a:cs typeface="Avenir Next"/>
              <a:sym typeface="Avenir Next"/>
            </a:endParaRPr>
          </a:p>
        </p:txBody>
      </p:sp>
      <p:sp>
        <p:nvSpPr>
          <p:cNvPr id="281" name="Линия"/>
          <p:cNvSpPr/>
          <p:nvPr/>
        </p:nvSpPr>
        <p:spPr>
          <a:xfrm>
            <a:off x="1836561" y="4332913"/>
            <a:ext cx="3160901" cy="1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82" name="Линия"/>
          <p:cNvSpPr/>
          <p:nvPr/>
        </p:nvSpPr>
        <p:spPr>
          <a:xfrm>
            <a:off x="1836664" y="4332913"/>
            <a:ext cx="598165" cy="1"/>
          </a:xfrm>
          <a:prstGeom prst="line">
            <a:avLst/>
          </a:prstGeom>
          <a:ln w="25400">
            <a:solidFill>
              <a:srgbClr val="4ECF73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83" name="Кружок"/>
          <p:cNvSpPr/>
          <p:nvPr/>
        </p:nvSpPr>
        <p:spPr>
          <a:xfrm>
            <a:off x="2244085" y="4288816"/>
            <a:ext cx="66146" cy="88195"/>
          </a:xfrm>
          <a:prstGeom prst="ellipse">
            <a:avLst/>
          </a:prstGeom>
          <a:solidFill>
            <a:srgbClr val="4ECF73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84" name="Линия"/>
          <p:cNvSpPr/>
          <p:nvPr/>
        </p:nvSpPr>
        <p:spPr>
          <a:xfrm>
            <a:off x="1836561" y="4806670"/>
            <a:ext cx="3160901" cy="1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85" name="Линия"/>
          <p:cNvSpPr/>
          <p:nvPr/>
        </p:nvSpPr>
        <p:spPr>
          <a:xfrm>
            <a:off x="1836562" y="4806670"/>
            <a:ext cx="1221920" cy="1"/>
          </a:xfrm>
          <a:prstGeom prst="line">
            <a:avLst/>
          </a:prstGeom>
          <a:ln w="25400">
            <a:solidFill>
              <a:srgbClr val="1ACA9B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86" name="Кружок"/>
          <p:cNvSpPr/>
          <p:nvPr/>
        </p:nvSpPr>
        <p:spPr>
          <a:xfrm>
            <a:off x="2922739" y="4762573"/>
            <a:ext cx="66146" cy="88195"/>
          </a:xfrm>
          <a:prstGeom prst="ellipse">
            <a:avLst/>
          </a:prstGeom>
          <a:solidFill>
            <a:srgbClr val="1ACA9B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87" name="Investigationes demonstraverunt lectores legere me lius quod ii legunt saepius. Claritas est etiam processus dynamicus, qui sequitur"/>
          <p:cNvSpPr txBox="1">
            <a:spLocks noGrp="1"/>
          </p:cNvSpPr>
          <p:nvPr>
            <p:ph type="body" sz="quarter" idx="17"/>
          </p:nvPr>
        </p:nvSpPr>
        <p:spPr>
          <a:xfrm>
            <a:off x="1816035" y="5617895"/>
            <a:ext cx="3108194" cy="276038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Investigationes demonstraverunt lectores legere me lius quod ii legunt saepius. Claritas est etiam processus dynamicus, qui sequitur </a:t>
            </a:r>
          </a:p>
        </p:txBody>
      </p:sp>
      <p:sp>
        <p:nvSpPr>
          <p:cNvPr id="288" name="Линия"/>
          <p:cNvSpPr/>
          <p:nvPr/>
        </p:nvSpPr>
        <p:spPr>
          <a:xfrm>
            <a:off x="1836561" y="5315595"/>
            <a:ext cx="3160901" cy="1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89" name="Линия"/>
          <p:cNvSpPr/>
          <p:nvPr/>
        </p:nvSpPr>
        <p:spPr>
          <a:xfrm>
            <a:off x="1836562" y="5315595"/>
            <a:ext cx="2020736" cy="1"/>
          </a:xfrm>
          <a:prstGeom prst="line">
            <a:avLst/>
          </a:prstGeom>
          <a:ln w="25400">
            <a:solidFill>
              <a:schemeClr val="accent1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290" name="Кружок"/>
          <p:cNvSpPr/>
          <p:nvPr/>
        </p:nvSpPr>
        <p:spPr>
          <a:xfrm>
            <a:off x="3699622" y="5271498"/>
            <a:ext cx="66146" cy="88195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91" name="(2020)  Title here"/>
          <p:cNvSpPr txBox="1">
            <a:spLocks noGrp="1"/>
          </p:cNvSpPr>
          <p:nvPr>
            <p:ph type="body" sz="quarter" idx="18"/>
          </p:nvPr>
        </p:nvSpPr>
        <p:spPr>
          <a:xfrm>
            <a:off x="1827195" y="4373107"/>
            <a:ext cx="3179633" cy="16831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292" name="23%"/>
          <p:cNvSpPr txBox="1">
            <a:spLocks noGrp="1"/>
          </p:cNvSpPr>
          <p:nvPr>
            <p:ph type="body" sz="quarter" idx="19"/>
          </p:nvPr>
        </p:nvSpPr>
        <p:spPr>
          <a:xfrm>
            <a:off x="2099556" y="3581583"/>
            <a:ext cx="355200" cy="110703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23</a:t>
            </a:r>
            <a:r>
              <a:rPr sz="800"/>
              <a:t>%</a:t>
            </a:r>
          </a:p>
        </p:txBody>
      </p:sp>
      <p:sp>
        <p:nvSpPr>
          <p:cNvPr id="293" name="(2020)  Title here"/>
          <p:cNvSpPr txBox="1">
            <a:spLocks noGrp="1"/>
          </p:cNvSpPr>
          <p:nvPr>
            <p:ph type="body" sz="quarter" idx="20"/>
          </p:nvPr>
        </p:nvSpPr>
        <p:spPr>
          <a:xfrm>
            <a:off x="1827195" y="4855255"/>
            <a:ext cx="3179633" cy="16831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294" name="48%"/>
          <p:cNvSpPr txBox="1">
            <a:spLocks noGrp="1"/>
          </p:cNvSpPr>
          <p:nvPr>
            <p:ph type="body" sz="quarter" idx="21"/>
          </p:nvPr>
        </p:nvSpPr>
        <p:spPr>
          <a:xfrm>
            <a:off x="2778212" y="4047490"/>
            <a:ext cx="355200" cy="110703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48</a:t>
            </a:r>
            <a:r>
              <a:rPr sz="800"/>
              <a:t>%</a:t>
            </a:r>
          </a:p>
        </p:txBody>
      </p:sp>
      <p:sp>
        <p:nvSpPr>
          <p:cNvPr id="295" name="(2020)  Title here"/>
          <p:cNvSpPr txBox="1">
            <a:spLocks noGrp="1"/>
          </p:cNvSpPr>
          <p:nvPr>
            <p:ph type="body" sz="quarter" idx="22"/>
          </p:nvPr>
        </p:nvSpPr>
        <p:spPr>
          <a:xfrm>
            <a:off x="1827195" y="5364455"/>
            <a:ext cx="3179633" cy="16831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just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296" name="70%"/>
          <p:cNvSpPr txBox="1">
            <a:spLocks noGrp="1"/>
          </p:cNvSpPr>
          <p:nvPr>
            <p:ph type="body" sz="quarter" idx="23"/>
          </p:nvPr>
        </p:nvSpPr>
        <p:spPr>
          <a:xfrm>
            <a:off x="3555095" y="4566487"/>
            <a:ext cx="355200" cy="110703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0</a:t>
            </a:r>
            <a:r>
              <a:rPr sz="800"/>
              <a:t>%</a:t>
            </a:r>
          </a:p>
        </p:txBody>
      </p:sp>
      <p:sp>
        <p:nvSpPr>
          <p:cNvPr id="297" name="Треугольник"/>
          <p:cNvSpPr/>
          <p:nvPr/>
        </p:nvSpPr>
        <p:spPr>
          <a:xfrm rot="10800000" flipH="1">
            <a:off x="4880063" y="2865579"/>
            <a:ext cx="149852" cy="1998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4ECF73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98" name="Треугольник"/>
          <p:cNvSpPr/>
          <p:nvPr/>
        </p:nvSpPr>
        <p:spPr>
          <a:xfrm rot="10800000" flipH="1">
            <a:off x="5883622" y="3365458"/>
            <a:ext cx="149852" cy="1998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1ACA9B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99" name="23%"/>
          <p:cNvSpPr txBox="1">
            <a:spLocks noGrp="1"/>
          </p:cNvSpPr>
          <p:nvPr>
            <p:ph type="body" sz="quarter" idx="24"/>
          </p:nvPr>
        </p:nvSpPr>
        <p:spPr>
          <a:xfrm>
            <a:off x="4777389" y="2157824"/>
            <a:ext cx="355200" cy="110703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23</a:t>
            </a:r>
            <a:r>
              <a:rPr sz="800"/>
              <a:t>%</a:t>
            </a:r>
          </a:p>
        </p:txBody>
      </p:sp>
      <p:sp>
        <p:nvSpPr>
          <p:cNvPr id="300" name="48%"/>
          <p:cNvSpPr txBox="1">
            <a:spLocks noGrp="1"/>
          </p:cNvSpPr>
          <p:nvPr>
            <p:ph type="body" sz="quarter" idx="25"/>
          </p:nvPr>
        </p:nvSpPr>
        <p:spPr>
          <a:xfrm>
            <a:off x="5780948" y="2661110"/>
            <a:ext cx="355200" cy="110703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48</a:t>
            </a:r>
            <a:r>
              <a:rPr sz="800"/>
              <a:t>%</a:t>
            </a:r>
          </a:p>
        </p:txBody>
      </p:sp>
      <p:sp>
        <p:nvSpPr>
          <p:cNvPr id="301" name="Треугольник"/>
          <p:cNvSpPr/>
          <p:nvPr/>
        </p:nvSpPr>
        <p:spPr>
          <a:xfrm rot="10800000" flipH="1">
            <a:off x="6294388" y="2800029"/>
            <a:ext cx="149852" cy="1998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chemeClr val="accent1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02" name="70%"/>
          <p:cNvSpPr txBox="1">
            <a:spLocks noGrp="1"/>
          </p:cNvSpPr>
          <p:nvPr>
            <p:ph type="body" sz="quarter" idx="26"/>
          </p:nvPr>
        </p:nvSpPr>
        <p:spPr>
          <a:xfrm>
            <a:off x="6191714" y="2087011"/>
            <a:ext cx="355200" cy="110703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0</a:t>
            </a:r>
            <a:r>
              <a:rPr sz="800"/>
              <a:t>%</a:t>
            </a:r>
          </a:p>
        </p:txBody>
      </p:sp>
      <p:sp>
        <p:nvSpPr>
          <p:cNvPr id="303" name="Eodem modo typi, qui nunc nobis videntur parum clari, fiant sollemnes in futurum."/>
          <p:cNvSpPr txBox="1">
            <a:spLocks noGrp="1"/>
          </p:cNvSpPr>
          <p:nvPr>
            <p:ph type="body" sz="quarter" idx="27"/>
          </p:nvPr>
        </p:nvSpPr>
        <p:spPr>
          <a:xfrm>
            <a:off x="5291974" y="4917206"/>
            <a:ext cx="2020736" cy="860813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30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6846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Изображение"/>
          <p:cNvSpPr>
            <a:spLocks noGrp="1"/>
          </p:cNvSpPr>
          <p:nvPr>
            <p:ph type="pic" idx="13"/>
          </p:nvPr>
        </p:nvSpPr>
        <p:spPr>
          <a:xfrm>
            <a:off x="-6116" y="-5953"/>
            <a:ext cx="9156232" cy="6869907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312" name="365"/>
          <p:cNvSpPr txBox="1">
            <a:spLocks noGrp="1"/>
          </p:cNvSpPr>
          <p:nvPr>
            <p:ph type="body" sz="quarter" idx="14"/>
          </p:nvPr>
        </p:nvSpPr>
        <p:spPr>
          <a:xfrm>
            <a:off x="1958963" y="2403208"/>
            <a:ext cx="1546875" cy="970281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5100" b="1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365</a:t>
            </a:r>
          </a:p>
        </p:txBody>
      </p:sp>
      <p:sp>
        <p:nvSpPr>
          <p:cNvPr id="313" name="Прямоугольник"/>
          <p:cNvSpPr>
            <a:spLocks noGrp="1"/>
          </p:cNvSpPr>
          <p:nvPr>
            <p:ph type="body" sz="half" idx="15"/>
          </p:nvPr>
        </p:nvSpPr>
        <p:spPr>
          <a:xfrm>
            <a:off x="1629479" y="3694433"/>
            <a:ext cx="5885049" cy="2595991"/>
          </a:xfrm>
          <a:prstGeom prst="rect">
            <a:avLst/>
          </a:prstGeom>
          <a:solidFill>
            <a:srgbClr val="010E33">
              <a:alpha val="29179"/>
            </a:srgbClr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14" name="Claritas est processus dynamicus,"/>
          <p:cNvSpPr txBox="1">
            <a:spLocks noGrp="1"/>
          </p:cNvSpPr>
          <p:nvPr>
            <p:ph type="body" sz="quarter" idx="16"/>
          </p:nvPr>
        </p:nvSpPr>
        <p:spPr>
          <a:xfrm>
            <a:off x="2117811" y="3782683"/>
            <a:ext cx="1606278" cy="1426098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700" b="1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st processus dynamicus,</a:t>
            </a:r>
          </a:p>
        </p:txBody>
      </p:sp>
      <p:sp>
        <p:nvSpPr>
          <p:cNvPr id="315" name="In iis qui facit claritatem. Investigationes demonstraverunt lectores legere me lius quod."/>
          <p:cNvSpPr txBox="1">
            <a:spLocks noGrp="1"/>
          </p:cNvSpPr>
          <p:nvPr>
            <p:ph type="body" sz="quarter" idx="17"/>
          </p:nvPr>
        </p:nvSpPr>
        <p:spPr>
          <a:xfrm>
            <a:off x="2120726" y="5255343"/>
            <a:ext cx="1546875" cy="676147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316" name="165"/>
          <p:cNvSpPr txBox="1">
            <a:spLocks noGrp="1"/>
          </p:cNvSpPr>
          <p:nvPr>
            <p:ph type="body" sz="quarter" idx="18"/>
          </p:nvPr>
        </p:nvSpPr>
        <p:spPr>
          <a:xfrm>
            <a:off x="3798566" y="2403208"/>
            <a:ext cx="1546875" cy="970281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5100" b="1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165</a:t>
            </a:r>
          </a:p>
        </p:txBody>
      </p:sp>
      <p:sp>
        <p:nvSpPr>
          <p:cNvPr id="317" name="Claritas etiam processus dynamicus,"/>
          <p:cNvSpPr txBox="1">
            <a:spLocks noGrp="1"/>
          </p:cNvSpPr>
          <p:nvPr>
            <p:ph type="body" sz="quarter" idx="19"/>
          </p:nvPr>
        </p:nvSpPr>
        <p:spPr>
          <a:xfrm>
            <a:off x="3920055" y="3782683"/>
            <a:ext cx="1606278" cy="1426098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700" b="1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tiam processus dynamicus,</a:t>
            </a:r>
          </a:p>
        </p:txBody>
      </p:sp>
      <p:sp>
        <p:nvSpPr>
          <p:cNvPr id="318" name="In iis qui facit claritatem. Investigationes demonstraverunt lectores legere me lius quod."/>
          <p:cNvSpPr txBox="1">
            <a:spLocks noGrp="1"/>
          </p:cNvSpPr>
          <p:nvPr>
            <p:ph type="body" sz="quarter" idx="20"/>
          </p:nvPr>
        </p:nvSpPr>
        <p:spPr>
          <a:xfrm>
            <a:off x="3929668" y="5255343"/>
            <a:ext cx="1546875" cy="676147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319" name="Линия"/>
          <p:cNvSpPr/>
          <p:nvPr/>
        </p:nvSpPr>
        <p:spPr>
          <a:xfrm flipV="1">
            <a:off x="3679032" y="2282081"/>
            <a:ext cx="0" cy="1212160"/>
          </a:xfrm>
          <a:prstGeom prst="line">
            <a:avLst/>
          </a:prstGeom>
          <a:ln w="177800">
            <a:solidFill>
              <a:srgbClr val="FFFFFF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320" name="Линия"/>
          <p:cNvSpPr/>
          <p:nvPr/>
        </p:nvSpPr>
        <p:spPr>
          <a:xfrm flipV="1">
            <a:off x="5496049" y="2282081"/>
            <a:ext cx="0" cy="1212160"/>
          </a:xfrm>
          <a:prstGeom prst="line">
            <a:avLst/>
          </a:prstGeom>
          <a:ln w="177800">
            <a:solidFill>
              <a:srgbClr val="FFFFFF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321" name="Est etiam processus dynamicus,"/>
          <p:cNvSpPr txBox="1">
            <a:spLocks noGrp="1"/>
          </p:cNvSpPr>
          <p:nvPr>
            <p:ph type="body" sz="quarter" idx="21"/>
          </p:nvPr>
        </p:nvSpPr>
        <p:spPr>
          <a:xfrm>
            <a:off x="5711137" y="3782683"/>
            <a:ext cx="1422662" cy="1426098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700" b="1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st etiam processus dynamicus,</a:t>
            </a:r>
          </a:p>
        </p:txBody>
      </p:sp>
      <p:sp>
        <p:nvSpPr>
          <p:cNvPr id="322" name="In iis qui claritatem. Investigationes demonstraverunt me lius quod."/>
          <p:cNvSpPr txBox="1">
            <a:spLocks noGrp="1"/>
          </p:cNvSpPr>
          <p:nvPr>
            <p:ph type="body" sz="quarter" idx="22"/>
          </p:nvPr>
        </p:nvSpPr>
        <p:spPr>
          <a:xfrm>
            <a:off x="5724536" y="5255343"/>
            <a:ext cx="1546875" cy="676147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claritatem. Investigationes demonstraverunt me lius quod.</a:t>
            </a:r>
          </a:p>
        </p:txBody>
      </p:sp>
      <p:sp>
        <p:nvSpPr>
          <p:cNvPr id="323" name="89"/>
          <p:cNvSpPr txBox="1">
            <a:spLocks noGrp="1"/>
          </p:cNvSpPr>
          <p:nvPr>
            <p:ph type="body" sz="quarter" idx="23"/>
          </p:nvPr>
        </p:nvSpPr>
        <p:spPr>
          <a:xfrm>
            <a:off x="5519153" y="2403208"/>
            <a:ext cx="1546875" cy="970281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5100" b="1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89</a:t>
            </a:r>
          </a:p>
        </p:txBody>
      </p:sp>
      <p:sp>
        <p:nvSpPr>
          <p:cNvPr id="324" name="Кружок"/>
          <p:cNvSpPr>
            <a:spLocks noGrp="1"/>
          </p:cNvSpPr>
          <p:nvPr>
            <p:ph type="body" sz="quarter" idx="24"/>
          </p:nvPr>
        </p:nvSpPr>
        <p:spPr>
          <a:xfrm>
            <a:off x="4237175" y="519356"/>
            <a:ext cx="669727" cy="892969"/>
          </a:xfrm>
          <a:prstGeom prst="ellipse">
            <a:avLst/>
          </a:prstGeom>
          <a:solidFill>
            <a:srgbClr val="FFFFFF">
              <a:alpha val="72831"/>
            </a:srgbClr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5" name="Линия"/>
          <p:cNvSpPr>
            <a:spLocks noGrp="1"/>
          </p:cNvSpPr>
          <p:nvPr>
            <p:ph type="body" sz="quarter" idx="25"/>
          </p:nvPr>
        </p:nvSpPr>
        <p:spPr>
          <a:xfrm>
            <a:off x="4443257" y="701986"/>
            <a:ext cx="159477" cy="527710"/>
          </a:xfrm>
          <a:prstGeom prst="line">
            <a:avLst/>
          </a:prstGeom>
          <a:ln w="25400">
            <a:solidFill>
              <a:srgbClr val="4F6687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6" name="Линия"/>
          <p:cNvSpPr>
            <a:spLocks noGrp="1"/>
          </p:cNvSpPr>
          <p:nvPr>
            <p:ph type="body" sz="quarter" idx="26"/>
          </p:nvPr>
        </p:nvSpPr>
        <p:spPr>
          <a:xfrm flipH="1">
            <a:off x="4541273" y="701986"/>
            <a:ext cx="159477" cy="527710"/>
          </a:xfrm>
          <a:prstGeom prst="line">
            <a:avLst/>
          </a:prstGeom>
          <a:ln w="25400">
            <a:solidFill>
              <a:srgbClr val="4F6687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7" name="Линия"/>
          <p:cNvSpPr>
            <a:spLocks noGrp="1"/>
          </p:cNvSpPr>
          <p:nvPr>
            <p:ph type="body" sz="quarter" idx="27"/>
          </p:nvPr>
        </p:nvSpPr>
        <p:spPr>
          <a:xfrm flipH="1">
            <a:off x="4507784" y="701988"/>
            <a:ext cx="159477" cy="527711"/>
          </a:xfrm>
          <a:prstGeom prst="line">
            <a:avLst/>
          </a:prstGeom>
          <a:ln>
            <a:solidFill>
              <a:srgbClr val="4F6687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8" name="Линия"/>
          <p:cNvSpPr>
            <a:spLocks noGrp="1"/>
          </p:cNvSpPr>
          <p:nvPr>
            <p:ph type="body" sz="quarter" idx="28"/>
          </p:nvPr>
        </p:nvSpPr>
        <p:spPr>
          <a:xfrm>
            <a:off x="4332231" y="1110445"/>
            <a:ext cx="479542" cy="1"/>
          </a:xfrm>
          <a:prstGeom prst="line">
            <a:avLst/>
          </a:prstGeom>
          <a:ln>
            <a:solidFill>
              <a:srgbClr val="4F6687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9" name="Simple title here"/>
          <p:cNvSpPr txBox="1">
            <a:spLocks noGrp="1"/>
          </p:cNvSpPr>
          <p:nvPr>
            <p:ph type="body" sz="quarter" idx="29"/>
          </p:nvPr>
        </p:nvSpPr>
        <p:spPr>
          <a:xfrm>
            <a:off x="3731386" y="1566226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4F6686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33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658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Прямоугольник"/>
          <p:cNvSpPr/>
          <p:nvPr/>
        </p:nvSpPr>
        <p:spPr>
          <a:xfrm>
            <a:off x="-6365" y="-5954"/>
            <a:ext cx="9129944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38" name="Прямоугольник"/>
          <p:cNvSpPr/>
          <p:nvPr/>
        </p:nvSpPr>
        <p:spPr>
          <a:xfrm>
            <a:off x="-1494" y="6536699"/>
            <a:ext cx="9146999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39" name="Legunt Saepius"/>
          <p:cNvSpPr txBox="1">
            <a:spLocks noGrp="1"/>
          </p:cNvSpPr>
          <p:nvPr>
            <p:ph type="body" sz="quarter" idx="13"/>
          </p:nvPr>
        </p:nvSpPr>
        <p:spPr>
          <a:xfrm>
            <a:off x="2704092" y="907866"/>
            <a:ext cx="3709030" cy="691536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1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Legunt Saepius</a:t>
            </a:r>
          </a:p>
        </p:txBody>
      </p:sp>
      <p:sp>
        <p:nvSpPr>
          <p:cNvPr id="340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3731386" y="1696391"/>
            <a:ext cx="1681230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341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5"/>
          </p:nvPr>
        </p:nvSpPr>
        <p:spPr>
          <a:xfrm>
            <a:off x="2489072" y="5355882"/>
            <a:ext cx="4801831" cy="368371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342" name="Комментарий в прямоугольнике"/>
          <p:cNvSpPr/>
          <p:nvPr/>
        </p:nvSpPr>
        <p:spPr>
          <a:xfrm flipH="1">
            <a:off x="1832902" y="5386820"/>
            <a:ext cx="552302" cy="3059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15" y="0"/>
                </a:moveTo>
                <a:lnTo>
                  <a:pt x="5815" y="11753"/>
                </a:lnTo>
                <a:lnTo>
                  <a:pt x="0" y="15549"/>
                </a:lnTo>
                <a:lnTo>
                  <a:pt x="5815" y="19359"/>
                </a:lnTo>
                <a:lnTo>
                  <a:pt x="5815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5815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43" name="3"/>
          <p:cNvSpPr txBox="1">
            <a:spLocks noGrp="1"/>
          </p:cNvSpPr>
          <p:nvPr>
            <p:ph type="body" sz="quarter" idx="16"/>
          </p:nvPr>
        </p:nvSpPr>
        <p:spPr>
          <a:xfrm>
            <a:off x="1957986" y="5418673"/>
            <a:ext cx="153568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3</a:t>
            </a:r>
          </a:p>
        </p:txBody>
      </p:sp>
      <p:graphicFrame>
        <p:nvGraphicFramePr>
          <p:cNvPr id="344" name="2D‑площадная диаграмма"/>
          <p:cNvGraphicFramePr/>
          <p:nvPr/>
        </p:nvGraphicFramePr>
        <p:xfrm>
          <a:off x="2192842" y="2957738"/>
          <a:ext cx="4750070" cy="1905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45" name="Кружок"/>
          <p:cNvSpPr/>
          <p:nvPr/>
        </p:nvSpPr>
        <p:spPr>
          <a:xfrm>
            <a:off x="3693139" y="2838218"/>
            <a:ext cx="416905" cy="555874"/>
          </a:xfrm>
          <a:prstGeom prst="ellipse">
            <a:avLst/>
          </a:prstGeom>
          <a:solidFill>
            <a:srgbClr val="4ECF73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46" name="Кружок"/>
          <p:cNvSpPr/>
          <p:nvPr/>
        </p:nvSpPr>
        <p:spPr>
          <a:xfrm>
            <a:off x="5274681" y="3281612"/>
            <a:ext cx="361181" cy="481574"/>
          </a:xfrm>
          <a:prstGeom prst="ellipse">
            <a:avLst/>
          </a:prstGeom>
          <a:solidFill>
            <a:srgbClr val="1ACA9B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47" name="Кружок"/>
          <p:cNvSpPr/>
          <p:nvPr/>
        </p:nvSpPr>
        <p:spPr>
          <a:xfrm>
            <a:off x="3721001" y="3981106"/>
            <a:ext cx="361181" cy="481575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48" name="100%"/>
          <p:cNvSpPr txBox="1">
            <a:spLocks noGrp="1"/>
          </p:cNvSpPr>
          <p:nvPr>
            <p:ph type="body" sz="quarter" idx="17"/>
          </p:nvPr>
        </p:nvSpPr>
        <p:spPr>
          <a:xfrm>
            <a:off x="3693139" y="3017844"/>
            <a:ext cx="416905" cy="214482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000"/>
              <a:t>100</a:t>
            </a:r>
            <a:r>
              <a:rPr sz="800"/>
              <a:t>%</a:t>
            </a:r>
          </a:p>
        </p:txBody>
      </p:sp>
      <p:sp>
        <p:nvSpPr>
          <p:cNvPr id="349" name="25%"/>
          <p:cNvSpPr txBox="1">
            <a:spLocks noGrp="1"/>
          </p:cNvSpPr>
          <p:nvPr>
            <p:ph type="body" sz="quarter" idx="18"/>
          </p:nvPr>
        </p:nvSpPr>
        <p:spPr>
          <a:xfrm>
            <a:off x="3693139" y="4123580"/>
            <a:ext cx="416905" cy="214482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000"/>
              <a:t>25</a:t>
            </a:r>
            <a:r>
              <a:rPr sz="800"/>
              <a:t>%</a:t>
            </a:r>
          </a:p>
        </p:txBody>
      </p:sp>
      <p:sp>
        <p:nvSpPr>
          <p:cNvPr id="350" name="50%"/>
          <p:cNvSpPr txBox="1">
            <a:spLocks noGrp="1"/>
          </p:cNvSpPr>
          <p:nvPr>
            <p:ph type="body" sz="quarter" idx="19"/>
          </p:nvPr>
        </p:nvSpPr>
        <p:spPr>
          <a:xfrm>
            <a:off x="5246819" y="3424088"/>
            <a:ext cx="416905" cy="214482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1000"/>
              <a:t>50</a:t>
            </a:r>
            <a:r>
              <a:rPr sz="800"/>
              <a:t>%</a:t>
            </a:r>
          </a:p>
        </p:txBody>
      </p:sp>
      <p:sp>
        <p:nvSpPr>
          <p:cNvPr id="351" name="Fiant sollemnes in futurum."/>
          <p:cNvSpPr txBox="1">
            <a:spLocks noGrp="1"/>
          </p:cNvSpPr>
          <p:nvPr>
            <p:ph type="body" sz="quarter" idx="20"/>
          </p:nvPr>
        </p:nvSpPr>
        <p:spPr>
          <a:xfrm>
            <a:off x="4973749" y="2823977"/>
            <a:ext cx="738719" cy="42992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52" name="Fiant sollemnes in futurum."/>
          <p:cNvSpPr txBox="1">
            <a:spLocks noGrp="1"/>
          </p:cNvSpPr>
          <p:nvPr>
            <p:ph type="body" sz="quarter" idx="21"/>
          </p:nvPr>
        </p:nvSpPr>
        <p:spPr>
          <a:xfrm>
            <a:off x="2915430" y="2645384"/>
            <a:ext cx="738719" cy="42992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53" name="Fiant sollemnes in futurum."/>
          <p:cNvSpPr txBox="1">
            <a:spLocks noGrp="1"/>
          </p:cNvSpPr>
          <p:nvPr>
            <p:ph type="body" sz="quarter" idx="22"/>
          </p:nvPr>
        </p:nvSpPr>
        <p:spPr>
          <a:xfrm>
            <a:off x="4149775" y="4154352"/>
            <a:ext cx="738719" cy="42992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5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4478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rts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Прямоугольник"/>
          <p:cNvSpPr/>
          <p:nvPr/>
        </p:nvSpPr>
        <p:spPr>
          <a:xfrm>
            <a:off x="-9927" y="-5954"/>
            <a:ext cx="9163853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62" name="Прямоугольник"/>
          <p:cNvSpPr/>
          <p:nvPr/>
        </p:nvSpPr>
        <p:spPr>
          <a:xfrm>
            <a:off x="-371" y="6536699"/>
            <a:ext cx="9152007" cy="31747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63" name="Legunt Saepius"/>
          <p:cNvSpPr txBox="1">
            <a:spLocks noGrp="1"/>
          </p:cNvSpPr>
          <p:nvPr>
            <p:ph type="body" sz="quarter" idx="13"/>
          </p:nvPr>
        </p:nvSpPr>
        <p:spPr>
          <a:xfrm>
            <a:off x="2704092" y="687538"/>
            <a:ext cx="3709030" cy="691536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1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Legunt Saepius</a:t>
            </a:r>
          </a:p>
        </p:txBody>
      </p:sp>
      <p:sp>
        <p:nvSpPr>
          <p:cNvPr id="364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4"/>
          </p:nvPr>
        </p:nvSpPr>
        <p:spPr>
          <a:xfrm>
            <a:off x="4615658" y="5327442"/>
            <a:ext cx="2453707" cy="830035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365" name="Комментарий в прямоугольнике"/>
          <p:cNvSpPr/>
          <p:nvPr/>
        </p:nvSpPr>
        <p:spPr>
          <a:xfrm flipH="1">
            <a:off x="2113228" y="4643339"/>
            <a:ext cx="403622" cy="447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66" name="4"/>
          <p:cNvSpPr txBox="1">
            <a:spLocks noGrp="1"/>
          </p:cNvSpPr>
          <p:nvPr>
            <p:ph type="body" sz="quarter" idx="15"/>
          </p:nvPr>
        </p:nvSpPr>
        <p:spPr>
          <a:xfrm>
            <a:off x="2231613" y="4673621"/>
            <a:ext cx="153568" cy="260649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4</a:t>
            </a:r>
          </a:p>
        </p:txBody>
      </p:sp>
      <p:graphicFrame>
        <p:nvGraphicFramePr>
          <p:cNvPr id="367" name="2D‑круговая диаграмма"/>
          <p:cNvGraphicFramePr/>
          <p:nvPr/>
        </p:nvGraphicFramePr>
        <p:xfrm>
          <a:off x="2614130" y="2965285"/>
          <a:ext cx="1056780" cy="1409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68" name="Кружок"/>
          <p:cNvSpPr/>
          <p:nvPr/>
        </p:nvSpPr>
        <p:spPr>
          <a:xfrm>
            <a:off x="2648181" y="3010686"/>
            <a:ext cx="988678" cy="1318237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69" name="50%"/>
          <p:cNvSpPr txBox="1">
            <a:spLocks noGrp="1"/>
          </p:cNvSpPr>
          <p:nvPr>
            <p:ph type="body" sz="quarter" idx="16"/>
          </p:nvPr>
        </p:nvSpPr>
        <p:spPr>
          <a:xfrm>
            <a:off x="2819865" y="3421918"/>
            <a:ext cx="645437" cy="495774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50</a:t>
            </a:r>
            <a:r>
              <a:rPr sz="1800"/>
              <a:t>%</a:t>
            </a:r>
          </a:p>
        </p:txBody>
      </p:sp>
      <p:graphicFrame>
        <p:nvGraphicFramePr>
          <p:cNvPr id="370" name="2D‑круговая диаграмма"/>
          <p:cNvGraphicFramePr/>
          <p:nvPr/>
        </p:nvGraphicFramePr>
        <p:xfrm>
          <a:off x="5479788" y="2965285"/>
          <a:ext cx="1056780" cy="1409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71" name="Кружок"/>
          <p:cNvSpPr/>
          <p:nvPr/>
        </p:nvSpPr>
        <p:spPr>
          <a:xfrm>
            <a:off x="5513843" y="3010686"/>
            <a:ext cx="988677" cy="1318237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72" name="76%"/>
          <p:cNvSpPr txBox="1">
            <a:spLocks noGrp="1"/>
          </p:cNvSpPr>
          <p:nvPr>
            <p:ph type="body" sz="quarter" idx="17"/>
          </p:nvPr>
        </p:nvSpPr>
        <p:spPr>
          <a:xfrm>
            <a:off x="5685489" y="3268283"/>
            <a:ext cx="645437" cy="803043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6</a:t>
            </a:r>
            <a:r>
              <a:rPr sz="1800"/>
              <a:t>%</a:t>
            </a:r>
          </a:p>
        </p:txBody>
      </p:sp>
      <p:graphicFrame>
        <p:nvGraphicFramePr>
          <p:cNvPr id="373" name="2D‑круговая диаграмма"/>
          <p:cNvGraphicFramePr/>
          <p:nvPr/>
        </p:nvGraphicFramePr>
        <p:xfrm>
          <a:off x="4043610" y="2965285"/>
          <a:ext cx="1056780" cy="1409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74" name="Кружок"/>
          <p:cNvSpPr/>
          <p:nvPr/>
        </p:nvSpPr>
        <p:spPr>
          <a:xfrm>
            <a:off x="4077663" y="3010686"/>
            <a:ext cx="988678" cy="1318237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75" name="89%"/>
          <p:cNvSpPr txBox="1">
            <a:spLocks noGrp="1"/>
          </p:cNvSpPr>
          <p:nvPr>
            <p:ph type="body" sz="quarter" idx="18"/>
          </p:nvPr>
        </p:nvSpPr>
        <p:spPr>
          <a:xfrm>
            <a:off x="4266309" y="3376179"/>
            <a:ext cx="645436" cy="587252"/>
          </a:xfrm>
          <a:prstGeom prst="rect">
            <a:avLst/>
          </a:prstGeom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89</a:t>
            </a:r>
            <a:r>
              <a:rPr sz="1800"/>
              <a:t>%</a:t>
            </a:r>
          </a:p>
        </p:txBody>
      </p:sp>
      <p:sp>
        <p:nvSpPr>
          <p:cNvPr id="376" name="Eodem modo typi, qui nunc nobis videntur parum clari, fiant sollemnes in futurum."/>
          <p:cNvSpPr txBox="1">
            <a:spLocks noGrp="1"/>
          </p:cNvSpPr>
          <p:nvPr>
            <p:ph type="body" sz="quarter" idx="19"/>
          </p:nvPr>
        </p:nvSpPr>
        <p:spPr>
          <a:xfrm>
            <a:off x="2074692" y="5429753"/>
            <a:ext cx="2268641" cy="660758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377" name="Прямоугольник"/>
          <p:cNvSpPr/>
          <p:nvPr/>
        </p:nvSpPr>
        <p:spPr>
          <a:xfrm>
            <a:off x="3331753" y="1781885"/>
            <a:ext cx="2453708" cy="317470"/>
          </a:xfrm>
          <a:prstGeom prst="rect">
            <a:avLst/>
          </a:prstGeom>
          <a:solidFill>
            <a:srgbClr val="C4C3C4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78" name="Simple title here"/>
          <p:cNvSpPr txBox="1">
            <a:spLocks noGrp="1"/>
          </p:cNvSpPr>
          <p:nvPr>
            <p:ph type="body" sz="quarter" idx="20"/>
          </p:nvPr>
        </p:nvSpPr>
        <p:spPr>
          <a:xfrm>
            <a:off x="3858448" y="1836617"/>
            <a:ext cx="1434368" cy="229871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1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379" name="Линия"/>
          <p:cNvSpPr/>
          <p:nvPr/>
        </p:nvSpPr>
        <p:spPr>
          <a:xfrm>
            <a:off x="3331854" y="2568225"/>
            <a:ext cx="2453707" cy="1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380" name="Линия"/>
          <p:cNvSpPr/>
          <p:nvPr/>
        </p:nvSpPr>
        <p:spPr>
          <a:xfrm flipV="1">
            <a:off x="4551908" y="2240688"/>
            <a:ext cx="0" cy="317470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381" name="Линия"/>
          <p:cNvSpPr/>
          <p:nvPr/>
        </p:nvSpPr>
        <p:spPr>
          <a:xfrm flipV="1">
            <a:off x="4551908" y="2539161"/>
            <a:ext cx="0" cy="317470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382" name="Линия"/>
          <p:cNvSpPr/>
          <p:nvPr/>
        </p:nvSpPr>
        <p:spPr>
          <a:xfrm flipV="1">
            <a:off x="3197452" y="2565950"/>
            <a:ext cx="133323" cy="296890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383" name="Линия"/>
          <p:cNvSpPr/>
          <p:nvPr/>
        </p:nvSpPr>
        <p:spPr>
          <a:xfrm flipH="1" flipV="1">
            <a:off x="5782493" y="2563788"/>
            <a:ext cx="133323" cy="296890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/>
            </a:pPr>
            <a:endParaRPr sz="3200" kern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384" name="Fiant sollemnes in futurum."/>
          <p:cNvSpPr txBox="1">
            <a:spLocks noGrp="1"/>
          </p:cNvSpPr>
          <p:nvPr>
            <p:ph type="body" sz="quarter" idx="21"/>
          </p:nvPr>
        </p:nvSpPr>
        <p:spPr>
          <a:xfrm>
            <a:off x="2052768" y="2700248"/>
            <a:ext cx="738719" cy="42992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85" name="Fiant sollemnes in futurum."/>
          <p:cNvSpPr txBox="1">
            <a:spLocks noGrp="1"/>
          </p:cNvSpPr>
          <p:nvPr>
            <p:ph type="body" sz="quarter" idx="22"/>
          </p:nvPr>
        </p:nvSpPr>
        <p:spPr>
          <a:xfrm>
            <a:off x="4794406" y="4334381"/>
            <a:ext cx="738719" cy="42992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86" name="Fiant sollemnes in futurum."/>
          <p:cNvSpPr txBox="1">
            <a:spLocks noGrp="1"/>
          </p:cNvSpPr>
          <p:nvPr>
            <p:ph type="body" sz="quarter" idx="23"/>
          </p:nvPr>
        </p:nvSpPr>
        <p:spPr>
          <a:xfrm>
            <a:off x="6312453" y="2700248"/>
            <a:ext cx="738719" cy="429926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8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153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cons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Прямоугольник"/>
          <p:cNvSpPr/>
          <p:nvPr/>
        </p:nvSpPr>
        <p:spPr>
          <a:xfrm>
            <a:off x="-1453" y="-5954"/>
            <a:ext cx="9146906" cy="6869907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395" name="Изображение"/>
          <p:cNvSpPr>
            <a:spLocks noGrp="1"/>
          </p:cNvSpPr>
          <p:nvPr>
            <p:ph type="pic" idx="13"/>
          </p:nvPr>
        </p:nvSpPr>
        <p:spPr>
          <a:xfrm>
            <a:off x="-184" y="0"/>
            <a:ext cx="9144368" cy="6858001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396" name="Кружок"/>
          <p:cNvSpPr>
            <a:spLocks noGrp="1"/>
          </p:cNvSpPr>
          <p:nvPr>
            <p:ph type="body" sz="quarter" idx="14"/>
          </p:nvPr>
        </p:nvSpPr>
        <p:spPr>
          <a:xfrm>
            <a:off x="3403050" y="1239742"/>
            <a:ext cx="2302186" cy="3069581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97" name="Кружок"/>
          <p:cNvSpPr>
            <a:spLocks noGrp="1"/>
          </p:cNvSpPr>
          <p:nvPr>
            <p:ph type="body" sz="quarter" idx="15"/>
          </p:nvPr>
        </p:nvSpPr>
        <p:spPr>
          <a:xfrm>
            <a:off x="2871888" y="2580517"/>
            <a:ext cx="1274958" cy="1699944"/>
          </a:xfrm>
          <a:prstGeom prst="ellipse">
            <a:avLst/>
          </a:prstGeom>
          <a:solidFill>
            <a:srgbClr val="4ECF73"/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98" name="Кружок"/>
          <p:cNvSpPr>
            <a:spLocks noGrp="1"/>
          </p:cNvSpPr>
          <p:nvPr>
            <p:ph type="body" sz="quarter" idx="16"/>
          </p:nvPr>
        </p:nvSpPr>
        <p:spPr>
          <a:xfrm>
            <a:off x="3916764" y="846832"/>
            <a:ext cx="1274957" cy="1699944"/>
          </a:xfrm>
          <a:prstGeom prst="ellipse">
            <a:avLst/>
          </a:prstGeom>
          <a:solidFill>
            <a:srgbClr val="1ACA9B"/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99" name="Кружок"/>
          <p:cNvSpPr>
            <a:spLocks noGrp="1"/>
          </p:cNvSpPr>
          <p:nvPr>
            <p:ph type="body" sz="quarter" idx="17"/>
          </p:nvPr>
        </p:nvSpPr>
        <p:spPr>
          <a:xfrm>
            <a:off x="4988277" y="2580517"/>
            <a:ext cx="1274957" cy="1699944"/>
          </a:xfrm>
          <a:prstGeom prst="ellipse">
            <a:avLst/>
          </a:prstGeom>
          <a:solidFill>
            <a:schemeClr val="accent1"/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00" name="Eodem modo typi, qui nunc nobis videntur parum clari, fiant sollemnes in futurum."/>
          <p:cNvSpPr txBox="1">
            <a:spLocks noGrp="1"/>
          </p:cNvSpPr>
          <p:nvPr>
            <p:ph type="body" sz="quarter" idx="18"/>
          </p:nvPr>
        </p:nvSpPr>
        <p:spPr>
          <a:xfrm>
            <a:off x="2569284" y="5031135"/>
            <a:ext cx="4005432" cy="98392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401" name="Изображение"/>
          <p:cNvSpPr>
            <a:spLocks noGrp="1"/>
          </p:cNvSpPr>
          <p:nvPr>
            <p:ph type="pic" sz="quarter" idx="19"/>
          </p:nvPr>
        </p:nvSpPr>
        <p:spPr>
          <a:xfrm>
            <a:off x="3220808" y="2910055"/>
            <a:ext cx="561131" cy="511916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402" name="Изображение"/>
          <p:cNvSpPr>
            <a:spLocks noGrp="1"/>
          </p:cNvSpPr>
          <p:nvPr>
            <p:ph type="pic" sz="quarter" idx="20"/>
          </p:nvPr>
        </p:nvSpPr>
        <p:spPr>
          <a:xfrm>
            <a:off x="4262181" y="1048959"/>
            <a:ext cx="583936" cy="711864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403" name="Изображение"/>
          <p:cNvSpPr>
            <a:spLocks noGrp="1"/>
          </p:cNvSpPr>
          <p:nvPr>
            <p:ph type="pic" sz="quarter" idx="21"/>
          </p:nvPr>
        </p:nvSpPr>
        <p:spPr>
          <a:xfrm>
            <a:off x="5309654" y="2868383"/>
            <a:ext cx="632061" cy="595220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404" name="Fiant sollemnes in futurum."/>
          <p:cNvSpPr txBox="1">
            <a:spLocks noGrp="1"/>
          </p:cNvSpPr>
          <p:nvPr>
            <p:ph type="body" sz="quarter" idx="22"/>
          </p:nvPr>
        </p:nvSpPr>
        <p:spPr>
          <a:xfrm>
            <a:off x="3053658" y="3560034"/>
            <a:ext cx="911418" cy="306815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405" name="Fiant sollemnes in futurum."/>
          <p:cNvSpPr txBox="1">
            <a:spLocks noGrp="1"/>
          </p:cNvSpPr>
          <p:nvPr>
            <p:ph type="body" sz="quarter" idx="23"/>
          </p:nvPr>
        </p:nvSpPr>
        <p:spPr>
          <a:xfrm>
            <a:off x="4098432" y="1833631"/>
            <a:ext cx="911418" cy="306815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406" name="Fiant sollemnes in futurum."/>
          <p:cNvSpPr txBox="1">
            <a:spLocks noGrp="1"/>
          </p:cNvSpPr>
          <p:nvPr>
            <p:ph type="body" sz="quarter" idx="24"/>
          </p:nvPr>
        </p:nvSpPr>
        <p:spPr>
          <a:xfrm>
            <a:off x="5169995" y="3560034"/>
            <a:ext cx="911418" cy="306815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40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880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Изображение"/>
          <p:cNvSpPr>
            <a:spLocks noGrp="1"/>
          </p:cNvSpPr>
          <p:nvPr>
            <p:ph type="pic" idx="13"/>
          </p:nvPr>
        </p:nvSpPr>
        <p:spPr>
          <a:xfrm>
            <a:off x="1830" y="0"/>
            <a:ext cx="9140351" cy="4858030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415" name="Прямоугольник"/>
          <p:cNvSpPr>
            <a:spLocks noGrp="1"/>
          </p:cNvSpPr>
          <p:nvPr>
            <p:ph type="body" sz="quarter" idx="14"/>
          </p:nvPr>
        </p:nvSpPr>
        <p:spPr>
          <a:xfrm>
            <a:off x="-19263" y="2085"/>
            <a:ext cx="9182526" cy="317470"/>
          </a:xfrm>
          <a:prstGeom prst="rect">
            <a:avLst/>
          </a:prstGeom>
          <a:solidFill>
            <a:srgbClr val="F7F6F8"/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16" name="98"/>
          <p:cNvSpPr txBox="1">
            <a:spLocks noGrp="1"/>
          </p:cNvSpPr>
          <p:nvPr>
            <p:ph type="body" sz="quarter" idx="15"/>
          </p:nvPr>
        </p:nvSpPr>
        <p:spPr>
          <a:xfrm>
            <a:off x="4020732" y="1730059"/>
            <a:ext cx="1102547" cy="1183978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300">
                <a:solidFill>
                  <a:srgbClr val="FFFFFF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98</a:t>
            </a:r>
          </a:p>
        </p:txBody>
      </p:sp>
      <p:sp>
        <p:nvSpPr>
          <p:cNvPr id="417" name="congue"/>
          <p:cNvSpPr txBox="1">
            <a:spLocks noGrp="1"/>
          </p:cNvSpPr>
          <p:nvPr>
            <p:ph type="body" sz="quarter" idx="16"/>
          </p:nvPr>
        </p:nvSpPr>
        <p:spPr>
          <a:xfrm>
            <a:off x="4163540" y="2677360"/>
            <a:ext cx="817211" cy="337593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ngue</a:t>
            </a:r>
          </a:p>
        </p:txBody>
      </p:sp>
      <p:sp>
        <p:nvSpPr>
          <p:cNvPr id="418" name="Кружок"/>
          <p:cNvSpPr>
            <a:spLocks noGrp="1"/>
          </p:cNvSpPr>
          <p:nvPr>
            <p:ph type="body" sz="quarter" idx="17"/>
          </p:nvPr>
        </p:nvSpPr>
        <p:spPr>
          <a:xfrm>
            <a:off x="4237175" y="725116"/>
            <a:ext cx="669727" cy="892969"/>
          </a:xfrm>
          <a:prstGeom prst="ellipse">
            <a:avLst/>
          </a:prstGeom>
          <a:solidFill>
            <a:srgbClr val="FFFFFF"/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19" name="Линия"/>
          <p:cNvSpPr>
            <a:spLocks noGrp="1"/>
          </p:cNvSpPr>
          <p:nvPr>
            <p:ph type="body" sz="quarter" idx="18"/>
          </p:nvPr>
        </p:nvSpPr>
        <p:spPr>
          <a:xfrm>
            <a:off x="4443257" y="907745"/>
            <a:ext cx="159477" cy="527710"/>
          </a:xfrm>
          <a:prstGeom prst="line">
            <a:avLst/>
          </a:prstGeom>
          <a:ln w="25400">
            <a:solidFill>
              <a:srgbClr val="2C2C2C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20" name="Линия"/>
          <p:cNvSpPr>
            <a:spLocks noGrp="1"/>
          </p:cNvSpPr>
          <p:nvPr>
            <p:ph type="body" sz="quarter" idx="19"/>
          </p:nvPr>
        </p:nvSpPr>
        <p:spPr>
          <a:xfrm flipH="1">
            <a:off x="4541273" y="907745"/>
            <a:ext cx="159477" cy="527710"/>
          </a:xfrm>
          <a:prstGeom prst="line">
            <a:avLst/>
          </a:prstGeom>
          <a:ln w="25400">
            <a:solidFill>
              <a:srgbClr val="2C2C2C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21" name="Линия"/>
          <p:cNvSpPr>
            <a:spLocks noGrp="1"/>
          </p:cNvSpPr>
          <p:nvPr>
            <p:ph type="body" sz="quarter" idx="20"/>
          </p:nvPr>
        </p:nvSpPr>
        <p:spPr>
          <a:xfrm flipH="1">
            <a:off x="4507784" y="907745"/>
            <a:ext cx="159477" cy="527711"/>
          </a:xfrm>
          <a:prstGeom prst="line">
            <a:avLst/>
          </a:prstGeom>
          <a:ln>
            <a:solidFill>
              <a:srgbClr val="2C2C2C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22" name="Линия"/>
          <p:cNvSpPr>
            <a:spLocks noGrp="1"/>
          </p:cNvSpPr>
          <p:nvPr>
            <p:ph type="body" sz="quarter" idx="21"/>
          </p:nvPr>
        </p:nvSpPr>
        <p:spPr>
          <a:xfrm>
            <a:off x="4332231" y="1316203"/>
            <a:ext cx="479542" cy="1"/>
          </a:xfrm>
          <a:prstGeom prst="line">
            <a:avLst/>
          </a:prstGeom>
          <a:ln>
            <a:solidFill>
              <a:srgbClr val="2C2C2C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23" name="Кружок"/>
          <p:cNvSpPr/>
          <p:nvPr/>
        </p:nvSpPr>
        <p:spPr>
          <a:xfrm>
            <a:off x="1916353" y="5377036"/>
            <a:ext cx="548413" cy="731305"/>
          </a:xfrm>
          <a:prstGeom prst="ellipse">
            <a:avLst/>
          </a:prstGeom>
          <a:solidFill>
            <a:srgbClr val="CECDCF"/>
          </a:solidFill>
          <a:ln w="12700">
            <a:solidFill>
              <a:srgbClr val="F7F6F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24" name="Изображение"/>
          <p:cNvSpPr>
            <a:spLocks noGrp="1"/>
          </p:cNvSpPr>
          <p:nvPr>
            <p:ph type="pic" sz="quarter" idx="22"/>
          </p:nvPr>
        </p:nvSpPr>
        <p:spPr>
          <a:xfrm>
            <a:off x="1989541" y="5553304"/>
            <a:ext cx="401768" cy="378350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425" name="Email:"/>
          <p:cNvSpPr txBox="1">
            <a:spLocks noGrp="1"/>
          </p:cNvSpPr>
          <p:nvPr>
            <p:ph type="body" sz="quarter" idx="23"/>
          </p:nvPr>
        </p:nvSpPr>
        <p:spPr>
          <a:xfrm>
            <a:off x="2495882" y="5432348"/>
            <a:ext cx="555873" cy="245260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mail:</a:t>
            </a:r>
          </a:p>
        </p:txBody>
      </p:sp>
      <p:sp>
        <p:nvSpPr>
          <p:cNvPr id="426" name="youremail@myemail.com"/>
          <p:cNvSpPr txBox="1">
            <a:spLocks noGrp="1"/>
          </p:cNvSpPr>
          <p:nvPr>
            <p:ph type="body" sz="quarter" idx="24"/>
          </p:nvPr>
        </p:nvSpPr>
        <p:spPr>
          <a:xfrm>
            <a:off x="3031661" y="5451153"/>
            <a:ext cx="1605426" cy="199093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 u="sng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  <a:hlinkClick r:id=""/>
              </a:defRPr>
            </a:lvl1pPr>
          </a:lstStyle>
          <a:p>
            <a:pPr>
              <a:defRPr u="none"/>
            </a:pPr>
            <a:r>
              <a:rPr u="sng">
                <a:hlinkClick r:id="rId2"/>
              </a:rPr>
              <a:t>youremail@myemail.com</a:t>
            </a:r>
          </a:p>
        </p:txBody>
      </p:sp>
      <p:sp>
        <p:nvSpPr>
          <p:cNvPr id="427" name="Typi non habent claritatem insitam; est usus legentis in"/>
          <p:cNvSpPr txBox="1">
            <a:spLocks noGrp="1"/>
          </p:cNvSpPr>
          <p:nvPr>
            <p:ph type="body" sz="quarter" idx="25"/>
          </p:nvPr>
        </p:nvSpPr>
        <p:spPr>
          <a:xfrm>
            <a:off x="2553048" y="5742826"/>
            <a:ext cx="1662882" cy="337593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</a:t>
            </a:r>
          </a:p>
        </p:txBody>
      </p:sp>
      <p:sp>
        <p:nvSpPr>
          <p:cNvPr id="428" name="Company name,  5647 Street Address, Country"/>
          <p:cNvSpPr txBox="1">
            <a:spLocks noGrp="1"/>
          </p:cNvSpPr>
          <p:nvPr>
            <p:ph type="body" sz="quarter" idx="26"/>
          </p:nvPr>
        </p:nvSpPr>
        <p:spPr>
          <a:xfrm>
            <a:off x="1569394" y="3794166"/>
            <a:ext cx="1433216" cy="660758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mpany name,  5647 Street Address, Country</a:t>
            </a:r>
          </a:p>
        </p:txBody>
      </p:sp>
      <p:sp>
        <p:nvSpPr>
          <p:cNvPr id="429" name="Изображение"/>
          <p:cNvSpPr>
            <a:spLocks noGrp="1"/>
          </p:cNvSpPr>
          <p:nvPr>
            <p:ph type="pic" sz="quarter" idx="27"/>
          </p:nvPr>
        </p:nvSpPr>
        <p:spPr>
          <a:xfrm>
            <a:off x="1560533" y="2817571"/>
            <a:ext cx="556728" cy="739282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430" name="Кружок"/>
          <p:cNvSpPr/>
          <p:nvPr/>
        </p:nvSpPr>
        <p:spPr>
          <a:xfrm>
            <a:off x="4818400" y="5377036"/>
            <a:ext cx="548412" cy="731305"/>
          </a:xfrm>
          <a:prstGeom prst="ellipse">
            <a:avLst/>
          </a:prstGeom>
          <a:solidFill>
            <a:srgbClr val="CECDCF"/>
          </a:solidFill>
          <a:ln w="12700">
            <a:solidFill>
              <a:srgbClr val="F7F6F8"/>
            </a:solidFill>
            <a:miter lim="400000"/>
          </a:ln>
        </p:spPr>
        <p:txBody>
          <a:bodyPr lIns="30004" tIns="30004" rIns="30004" bIns="30004" anchor="ctr"/>
          <a:lstStyle/>
          <a:p>
            <a:pPr algn="ctr" defTabSz="344909" hangingPunct="0">
              <a:defRPr sz="3200">
                <a:solidFill>
                  <a:srgbClr val="FFFFFF"/>
                </a:solidFill>
              </a:defRPr>
            </a:pPr>
            <a:endParaRPr sz="3200" kern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431" name="Изображение"/>
          <p:cNvSpPr>
            <a:spLocks noGrp="1"/>
          </p:cNvSpPr>
          <p:nvPr>
            <p:ph type="pic" sz="quarter" idx="28"/>
          </p:nvPr>
        </p:nvSpPr>
        <p:spPr>
          <a:xfrm>
            <a:off x="4964417" y="5444660"/>
            <a:ext cx="256491" cy="596057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432" name="1(355)979 68 76"/>
          <p:cNvSpPr txBox="1">
            <a:spLocks noGrp="1"/>
          </p:cNvSpPr>
          <p:nvPr>
            <p:ph type="body" sz="quarter" idx="29"/>
          </p:nvPr>
        </p:nvSpPr>
        <p:spPr>
          <a:xfrm>
            <a:off x="6090603" y="5460083"/>
            <a:ext cx="1125036" cy="199093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45454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1(355)979 68 76</a:t>
            </a:r>
          </a:p>
        </p:txBody>
      </p:sp>
      <p:sp>
        <p:nvSpPr>
          <p:cNvPr id="433" name="Phone:"/>
          <p:cNvSpPr txBox="1">
            <a:spLocks noGrp="1"/>
          </p:cNvSpPr>
          <p:nvPr>
            <p:ph type="body" sz="quarter" idx="30"/>
          </p:nvPr>
        </p:nvSpPr>
        <p:spPr>
          <a:xfrm>
            <a:off x="5548146" y="5432348"/>
            <a:ext cx="562571" cy="245260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00">
                <a:solidFill>
                  <a:srgbClr val="45454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Phone:</a:t>
            </a:r>
          </a:p>
        </p:txBody>
      </p:sp>
      <p:sp>
        <p:nvSpPr>
          <p:cNvPr id="434" name="Typi non habent claritatem insitam; est usus legentis in"/>
          <p:cNvSpPr txBox="1">
            <a:spLocks noGrp="1"/>
          </p:cNvSpPr>
          <p:nvPr>
            <p:ph type="body" sz="quarter" idx="31"/>
          </p:nvPr>
        </p:nvSpPr>
        <p:spPr>
          <a:xfrm>
            <a:off x="5568216" y="5733897"/>
            <a:ext cx="1662882" cy="337593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</a:t>
            </a:r>
          </a:p>
        </p:txBody>
      </p:sp>
      <p:sp>
        <p:nvSpPr>
          <p:cNvPr id="4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538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735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Изображение"/>
          <p:cNvSpPr>
            <a:spLocks noGrp="1"/>
          </p:cNvSpPr>
          <p:nvPr>
            <p:ph type="pic" idx="13"/>
          </p:nvPr>
        </p:nvSpPr>
        <p:spPr>
          <a:xfrm>
            <a:off x="-1074" y="-2387"/>
            <a:ext cx="9146148" cy="6862774"/>
          </a:xfrm>
          <a:prstGeom prst="rect">
            <a:avLst/>
          </a:prstGeom>
        </p:spPr>
        <p:txBody>
          <a:bodyPr tIns="19202" bIns="19202">
            <a:noAutofit/>
          </a:bodyPr>
          <a:lstStyle/>
          <a:p>
            <a:endParaRPr/>
          </a:p>
        </p:txBody>
      </p:sp>
      <p:sp>
        <p:nvSpPr>
          <p:cNvPr id="443" name="98"/>
          <p:cNvSpPr txBox="1">
            <a:spLocks noGrp="1"/>
          </p:cNvSpPr>
          <p:nvPr>
            <p:ph type="body" sz="quarter" idx="14"/>
          </p:nvPr>
        </p:nvSpPr>
        <p:spPr>
          <a:xfrm>
            <a:off x="4020732" y="1845769"/>
            <a:ext cx="1102547" cy="1183978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300">
                <a:solidFill>
                  <a:srgbClr val="FFFFFF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98</a:t>
            </a:r>
          </a:p>
        </p:txBody>
      </p:sp>
      <p:sp>
        <p:nvSpPr>
          <p:cNvPr id="444" name="Thank You"/>
          <p:cNvSpPr txBox="1">
            <a:spLocks noGrp="1"/>
          </p:cNvSpPr>
          <p:nvPr>
            <p:ph type="body" sz="quarter" idx="15"/>
          </p:nvPr>
        </p:nvSpPr>
        <p:spPr>
          <a:xfrm>
            <a:off x="3272128" y="3592224"/>
            <a:ext cx="2599752" cy="691536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1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hank You</a:t>
            </a:r>
          </a:p>
        </p:txBody>
      </p:sp>
      <p:sp>
        <p:nvSpPr>
          <p:cNvPr id="445" name="vel illum dolore eu feugiat nulla facilisis at vero eros et accumsan et iusto odio dignissim qui"/>
          <p:cNvSpPr txBox="1">
            <a:spLocks noGrp="1"/>
          </p:cNvSpPr>
          <p:nvPr>
            <p:ph type="body" sz="quarter" idx="16"/>
          </p:nvPr>
        </p:nvSpPr>
        <p:spPr>
          <a:xfrm>
            <a:off x="2465691" y="4585726"/>
            <a:ext cx="4212618" cy="460704"/>
          </a:xfrm>
          <a:prstGeom prst="rect">
            <a:avLst/>
          </a:prstGeom>
        </p:spPr>
        <p:txBody>
          <a:bodyPr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3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 vel illum dolore eu feugiat nulla facilisis at vero eros et accumsan et iusto odio dignissim qui</a:t>
            </a:r>
          </a:p>
        </p:txBody>
      </p:sp>
      <p:sp>
        <p:nvSpPr>
          <p:cNvPr id="446" name="congue"/>
          <p:cNvSpPr txBox="1">
            <a:spLocks noGrp="1"/>
          </p:cNvSpPr>
          <p:nvPr>
            <p:ph type="body" sz="quarter" idx="17"/>
          </p:nvPr>
        </p:nvSpPr>
        <p:spPr>
          <a:xfrm>
            <a:off x="4163540" y="2793070"/>
            <a:ext cx="817211" cy="337593"/>
          </a:xfrm>
          <a:prstGeom prst="rect">
            <a:avLst/>
          </a:prstGeom>
        </p:spPr>
        <p:txBody>
          <a:bodyPr wrap="none" lIns="30004" tIns="30004" rIns="30004" bIns="30004" anchor="ctr">
            <a:spAutoFit/>
          </a:bodyPr>
          <a:lstStyle>
            <a:lvl1pPr marL="0" indent="0" algn="ctr" defTabSz="34490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ngue</a:t>
            </a:r>
          </a:p>
        </p:txBody>
      </p:sp>
      <p:sp>
        <p:nvSpPr>
          <p:cNvPr id="447" name="Кружок"/>
          <p:cNvSpPr>
            <a:spLocks noGrp="1"/>
          </p:cNvSpPr>
          <p:nvPr>
            <p:ph type="body" sz="quarter" idx="18"/>
          </p:nvPr>
        </p:nvSpPr>
        <p:spPr>
          <a:xfrm>
            <a:off x="4237175" y="840825"/>
            <a:ext cx="669727" cy="892970"/>
          </a:xfrm>
          <a:prstGeom prst="ellipse">
            <a:avLst/>
          </a:prstGeom>
          <a:solidFill>
            <a:srgbClr val="FFFFFF"/>
          </a:solidFill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48" name="Линия"/>
          <p:cNvSpPr>
            <a:spLocks noGrp="1"/>
          </p:cNvSpPr>
          <p:nvPr>
            <p:ph type="body" sz="quarter" idx="19"/>
          </p:nvPr>
        </p:nvSpPr>
        <p:spPr>
          <a:xfrm>
            <a:off x="4443257" y="1023454"/>
            <a:ext cx="159477" cy="527711"/>
          </a:xfrm>
          <a:prstGeom prst="line">
            <a:avLst/>
          </a:prstGeom>
          <a:ln w="25400">
            <a:solidFill>
              <a:srgbClr val="4F6687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49" name="Линия"/>
          <p:cNvSpPr>
            <a:spLocks noGrp="1"/>
          </p:cNvSpPr>
          <p:nvPr>
            <p:ph type="body" sz="quarter" idx="20"/>
          </p:nvPr>
        </p:nvSpPr>
        <p:spPr>
          <a:xfrm flipH="1">
            <a:off x="4541273" y="1023454"/>
            <a:ext cx="159477" cy="527711"/>
          </a:xfrm>
          <a:prstGeom prst="line">
            <a:avLst/>
          </a:prstGeom>
          <a:ln w="25400">
            <a:solidFill>
              <a:srgbClr val="4F6687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50" name="Линия"/>
          <p:cNvSpPr>
            <a:spLocks noGrp="1"/>
          </p:cNvSpPr>
          <p:nvPr>
            <p:ph type="body" sz="quarter" idx="21"/>
          </p:nvPr>
        </p:nvSpPr>
        <p:spPr>
          <a:xfrm flipH="1">
            <a:off x="4507784" y="1023454"/>
            <a:ext cx="159477" cy="527711"/>
          </a:xfrm>
          <a:prstGeom prst="line">
            <a:avLst/>
          </a:prstGeom>
          <a:ln>
            <a:solidFill>
              <a:srgbClr val="4F6687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51" name="Линия"/>
          <p:cNvSpPr>
            <a:spLocks noGrp="1"/>
          </p:cNvSpPr>
          <p:nvPr>
            <p:ph type="body" sz="quarter" idx="22"/>
          </p:nvPr>
        </p:nvSpPr>
        <p:spPr>
          <a:xfrm>
            <a:off x="4332231" y="1431914"/>
            <a:ext cx="479542" cy="1"/>
          </a:xfrm>
          <a:prstGeom prst="line">
            <a:avLst/>
          </a:prstGeom>
          <a:ln>
            <a:solidFill>
              <a:srgbClr val="4F6687"/>
            </a:solidFill>
          </a:ln>
        </p:spPr>
        <p:txBody>
          <a:bodyPr lIns="30004" tIns="30004" rIns="30004" bIns="30004" anchor="ctr">
            <a:noAutofit/>
          </a:bodyPr>
          <a:lstStyle>
            <a:lvl1pPr marL="0" indent="0" algn="ctr" defTabSz="345043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5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9809" y="6505277"/>
            <a:ext cx="217688" cy="214482"/>
          </a:xfrm>
          <a:prstGeom prst="rect">
            <a:avLst/>
          </a:prstGeom>
        </p:spPr>
        <p:txBody>
          <a:bodyPr lIns="30004" tIns="30004" rIns="30004" bIns="30004" anchor="t"/>
          <a:lstStyle>
            <a:lvl1pPr algn="ctr" defTabSz="344909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7095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8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593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9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916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657594" y="6581536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 algn="ctr" defTabSz="767529">
              <a:defRPr sz="7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945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Shape 122"/>
          <p:cNvSpPr txBox="1"/>
          <p:nvPr/>
        </p:nvSpPr>
        <p:spPr>
          <a:xfrm>
            <a:off x="372103" y="224890"/>
            <a:ext cx="5092911" cy="33239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defTabSz="383911" hangingPunct="0">
              <a:defRPr sz="5400" cap="all">
                <a:solidFill>
                  <a:srgbClr val="5B5D66"/>
                </a:solidFill>
                <a:latin typeface="Gilroy-Light"/>
                <a:ea typeface="Gilroy-Light"/>
                <a:cs typeface="Gilroy-Light"/>
                <a:sym typeface="Gilroy-Light"/>
              </a:defRPr>
            </a:pPr>
            <a:r>
              <a:rPr sz="5400" kern="0" cap="all">
                <a:solidFill>
                  <a:srgbClr val="5B5D66"/>
                </a:solidFill>
                <a:latin typeface="Gilroy-Light"/>
                <a:ea typeface="Gilroy-Light"/>
                <a:cs typeface="Gilroy-Light"/>
                <a:sym typeface="Gilroy-Light"/>
              </a:rPr>
              <a:t>Стратегические</a:t>
            </a:r>
            <a:endParaRPr sz="4500" kern="0" cap="all">
              <a:solidFill>
                <a:srgbClr val="5B5D66"/>
              </a:solidFill>
              <a:latin typeface="Gilroy-Light"/>
              <a:ea typeface="Gilroy-Light"/>
              <a:cs typeface="Gilroy-Light"/>
              <a:sym typeface="Gilroy-Light"/>
            </a:endParaRPr>
          </a:p>
          <a:p>
            <a:pPr defTabSz="383911" hangingPunct="0">
              <a:defRPr sz="5400" cap="all">
                <a:solidFill>
                  <a:srgbClr val="EA3324"/>
                </a:solidFill>
                <a:latin typeface="Gilroy-Light"/>
                <a:ea typeface="Gilroy-Light"/>
                <a:cs typeface="Gilroy-Light"/>
                <a:sym typeface="Gilroy-Light"/>
              </a:defRPr>
            </a:pPr>
            <a:r>
              <a:rPr sz="5400" kern="0" cap="all">
                <a:solidFill>
                  <a:srgbClr val="EA3324"/>
                </a:solidFill>
                <a:latin typeface="Gilroy-Light"/>
                <a:ea typeface="Gilroy-Light"/>
                <a:cs typeface="Gilroy-Light"/>
                <a:sym typeface="Gilroy-Light"/>
              </a:rPr>
              <a:t>Ограничения</a:t>
            </a:r>
          </a:p>
        </p:txBody>
      </p:sp>
      <p:sp>
        <p:nvSpPr>
          <p:cNvPr id="50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657686" y="658156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 algn="ctr" defTabSz="757821">
              <a:defRPr sz="7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284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140175"/>
      </p:ext>
    </p:extLst>
  </p:cSld>
  <p:clrMapOvr>
    <a:masterClrMapping/>
  </p:clrMapOvr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54814"/>
      </p:ext>
    </p:extLst>
  </p:cSld>
  <p:clrMapOvr>
    <a:masterClrMapping/>
  </p:clrMapOvr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465407"/>
      </p:ext>
    </p:extLst>
  </p:cSld>
  <p:clrMapOvr>
    <a:masterClrMapping/>
  </p:clrMapOvr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71495"/>
      </p:ext>
    </p:extLst>
  </p:cSld>
  <p:clrMapOvr>
    <a:masterClrMapping/>
  </p:clrMapOvr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88689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652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471859"/>
      </p:ext>
    </p:extLst>
  </p:cSld>
  <p:clrMapOvr>
    <a:masterClrMapping/>
  </p:clrMapOvr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851760"/>
      </p:ext>
    </p:extLst>
  </p:cSld>
  <p:clrMapOvr>
    <a:masterClrMapping/>
  </p:clrMapOvr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819749"/>
      </p:ext>
    </p:extLst>
  </p:cSld>
  <p:clrMapOvr>
    <a:masterClrMapping/>
  </p:clrMapOvr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571676"/>
      </p:ext>
    </p:extLst>
  </p:cSld>
  <p:clrMapOvr>
    <a:masterClrMapping/>
  </p:clrMapOvr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603489"/>
      </p:ext>
    </p:extLst>
  </p:cSld>
  <p:clrMapOvr>
    <a:masterClrMapping/>
  </p:clrMapOvr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985835"/>
      </p:ext>
    </p:extLst>
  </p:cSld>
  <p:clrMapOvr>
    <a:masterClrMapping/>
  </p:clrMapOvr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10748" y="6377941"/>
            <a:ext cx="2927762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462" y="6377941"/>
            <a:ext cx="2104328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9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9326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107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665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036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2884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626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197335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808076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hape 74"/>
          <p:cNvSpPr>
            <a:spLocks noGrp="1"/>
          </p:cNvSpPr>
          <p:nvPr>
            <p:ph type="title"/>
          </p:nvPr>
        </p:nvSpPr>
        <p:spPr>
          <a:xfrm>
            <a:off x="457238" y="273050"/>
            <a:ext cx="3008315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3575050" y="273078"/>
            <a:ext cx="5111750" cy="5853113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Shape 76"/>
          <p:cNvSpPr>
            <a:spLocks noGrp="1"/>
          </p:cNvSpPr>
          <p:nvPr>
            <p:ph type="body" sz="half" idx="13"/>
          </p:nvPr>
        </p:nvSpPr>
        <p:spPr>
          <a:xfrm>
            <a:off x="457198" y="1435103"/>
            <a:ext cx="3008316" cy="4691063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7" name="Shape 77"/>
          <p:cNvSpPr>
            <a:spLocks noGrp="1"/>
          </p:cNvSpPr>
          <p:nvPr>
            <p:ph type="sldNum" sz="quarter" idx="2"/>
          </p:nvPr>
        </p:nvSpPr>
        <p:spPr>
          <a:xfrm>
            <a:off x="832844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3531389"/>
      </p:ext>
    </p:extLst>
  </p:cSld>
  <p:clrMapOvr>
    <a:masterClrMapping/>
  </p:clrMapOvr>
  <p:transition spd="med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8111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7548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666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1643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819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628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956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5814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652271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988014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Shape 84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2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85" name="Shape 85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2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2" cy="8048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0">
              <a:spcBef>
                <a:spcPts val="300"/>
              </a:spcBef>
              <a:buSzTx/>
              <a:buFontTx/>
              <a:buNone/>
              <a:defRPr sz="1400"/>
            </a:lvl2pPr>
            <a:lvl3pPr marL="0" indent="0">
              <a:spcBef>
                <a:spcPts val="300"/>
              </a:spcBef>
              <a:buSzTx/>
              <a:buFontTx/>
              <a:buNone/>
              <a:defRPr sz="1400"/>
            </a:lvl3pPr>
            <a:lvl4pPr marL="0" indent="0">
              <a:spcBef>
                <a:spcPts val="300"/>
              </a:spcBef>
              <a:buSzTx/>
              <a:buFontTx/>
              <a:buNone/>
              <a:defRPr sz="1400"/>
            </a:lvl4pPr>
            <a:lvl5pPr marL="0" indent="0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7" name="Shape 87"/>
          <p:cNvSpPr>
            <a:spLocks noGrp="1"/>
          </p:cNvSpPr>
          <p:nvPr>
            <p:ph type="sldNum" sz="quarter" idx="2"/>
          </p:nvPr>
        </p:nvSpPr>
        <p:spPr>
          <a:xfrm>
            <a:off x="830171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4483717"/>
      </p:ext>
    </p:extLst>
  </p:cSld>
  <p:clrMapOvr>
    <a:masterClrMapping/>
  </p:clrMapOvr>
  <p:transition spd="med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760652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969432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5318855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640337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8759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6170978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5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2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8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2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70956280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833985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54056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4" y="6300797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538712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Shape 9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5" name="Shape 95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6" name="Shape 96"/>
          <p:cNvSpPr>
            <a:spLocks noGrp="1"/>
          </p:cNvSpPr>
          <p:nvPr>
            <p:ph type="sldNum" sz="quarter" idx="2"/>
          </p:nvPr>
        </p:nvSpPr>
        <p:spPr>
          <a:xfrm>
            <a:off x="830171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94996720"/>
      </p:ext>
    </p:extLst>
  </p:cSld>
  <p:clrMapOvr>
    <a:masterClrMapping/>
  </p:clrMapOvr>
  <p:transition spd="med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61166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43445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66179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18210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22531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86085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84661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64140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9614065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545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8116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Shape 103"/>
          <p:cNvSpPr>
            <a:spLocks noGrp="1"/>
          </p:cNvSpPr>
          <p:nvPr>
            <p:ph type="title"/>
          </p:nvPr>
        </p:nvSpPr>
        <p:spPr>
          <a:xfrm>
            <a:off x="6629400" y="274667"/>
            <a:ext cx="2057400" cy="5851527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04" name="Shape 104"/>
          <p:cNvSpPr>
            <a:spLocks noGrp="1"/>
          </p:cNvSpPr>
          <p:nvPr>
            <p:ph type="body" idx="1"/>
          </p:nvPr>
        </p:nvSpPr>
        <p:spPr>
          <a:xfrm>
            <a:off x="457200" y="274667"/>
            <a:ext cx="6019800" cy="5851527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5" name="Shape 105"/>
          <p:cNvSpPr>
            <a:spLocks noGrp="1"/>
          </p:cNvSpPr>
          <p:nvPr>
            <p:ph type="sldNum" sz="quarter" idx="2"/>
          </p:nvPr>
        </p:nvSpPr>
        <p:spPr>
          <a:xfrm>
            <a:off x="8301714" y="6285358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9607176"/>
      </p:ext>
    </p:extLst>
  </p:cSld>
  <p:clrMapOvr>
    <a:masterClrMapping/>
  </p:clrMapOvr>
  <p:transition spd="med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89123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790246"/>
      </p:ext>
    </p:extLst>
  </p:cSld>
  <p:clrMapOvr>
    <a:masterClrMapping/>
  </p:clrMapOvr>
  <p:transition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430711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5564831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832210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82092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30315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316946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0118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08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Shape 112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510352"/>
      </p:ext>
    </p:extLst>
  </p:cSld>
  <p:clrMapOvr>
    <a:masterClrMapping/>
  </p:clrMapOvr>
  <p:transition spd="med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614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828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210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4313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4515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895355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7554180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707782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6490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234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9432735"/>
      </p:ext>
    </p:extLst>
  </p:cSld>
  <p:clrMapOvr>
    <a:masterClrMapping/>
  </p:clrMapOvr>
  <p:transition spd="med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635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712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963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2087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1612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800028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4327416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41542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58709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147325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/>
          <p:nvPr/>
        </p:nvSpPr>
        <p:spPr>
          <a:xfrm>
            <a:off x="877551" y="1984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127" name="Shape 127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28" name="Shape 128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29" name="Shape 129"/>
          <p:cNvSpPr/>
          <p:nvPr/>
        </p:nvSpPr>
        <p:spPr>
          <a:xfrm>
            <a:off x="0" y="6629507"/>
            <a:ext cx="9144000" cy="22878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30" name="Shape 130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1259714"/>
      </p:ext>
    </p:extLst>
  </p:cSld>
  <p:clrMapOvr>
    <a:masterClrMapping/>
  </p:clrMapOvr>
  <p:transition spd="med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876063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834997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0957417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5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2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8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2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39414596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72547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261689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4" y="6300797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890456"/>
      </p:ext>
    </p:extLst>
  </p:cSld>
  <p:clrMapOvr>
    <a:masterClrMapping/>
  </p:clrMapOvr>
  <p:transition spd="med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52353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9473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056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Shape 137"/>
          <p:cNvSpPr/>
          <p:nvPr/>
        </p:nvSpPr>
        <p:spPr>
          <a:xfrm>
            <a:off x="877551" y="1984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138" name="Shape 138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39" name="Shape 139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40" name="Shape 140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306957"/>
      </p:ext>
    </p:extLst>
  </p:cSld>
  <p:clrMapOvr>
    <a:masterClrMapping/>
  </p:clrMapOvr>
  <p:transition spd="med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48848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89421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44651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08475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34925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8793280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09988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36835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8037005"/>
      </p:ext>
    </p:extLst>
  </p:cSld>
  <p:clrMapOvr>
    <a:masterClrMapping/>
  </p:clrMapOvr>
  <p:transition spd="med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4299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/>
          <p:nvPr/>
        </p:nvSpPr>
        <p:spPr>
          <a:xfrm>
            <a:off x="877551" y="1984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148" name="Shape 148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49" name="Shape 149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50" name="Shape 150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9095348"/>
      </p:ext>
    </p:extLst>
  </p:cSld>
  <p:clrMapOvr>
    <a:masterClrMapping/>
  </p:clrMapOvr>
  <p:transition spd="med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1226007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837262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741731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495942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431028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2564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294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1003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831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989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/>
          <p:nvPr/>
        </p:nvSpPr>
        <p:spPr>
          <a:xfrm>
            <a:off x="877557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158" name="Shape 158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59" name="Shape 159"/>
          <p:cNvSpPr/>
          <p:nvPr/>
        </p:nvSpPr>
        <p:spPr>
          <a:xfrm>
            <a:off x="346183" y="377825"/>
            <a:ext cx="369018" cy="4019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60" name="Shape 160"/>
          <p:cNvSpPr/>
          <p:nvPr/>
        </p:nvSpPr>
        <p:spPr>
          <a:xfrm>
            <a:off x="0" y="6629507"/>
            <a:ext cx="9144000" cy="228781"/>
          </a:xfrm>
          <a:prstGeom prst="rect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61" name="Shape 161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6721718"/>
      </p:ext>
    </p:extLst>
  </p:cSld>
  <p:clrMapOvr>
    <a:masterClrMapping/>
  </p:clrMapOvr>
  <p:transition spd="med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312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7717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034550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3156940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515853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3471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644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165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533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19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/>
          <p:nvPr/>
        </p:nvSpPr>
        <p:spPr>
          <a:xfrm>
            <a:off x="877557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169" name="Shape 169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70" name="Shape 170"/>
          <p:cNvSpPr/>
          <p:nvPr/>
        </p:nvSpPr>
        <p:spPr>
          <a:xfrm>
            <a:off x="346183" y="377825"/>
            <a:ext cx="369018" cy="4019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71" name="Shape 171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47260351"/>
      </p:ext>
    </p:extLst>
  </p:cSld>
  <p:clrMapOvr>
    <a:masterClrMapping/>
  </p:clrMapOvr>
  <p:transition spd="med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2573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6830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7078766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5754953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53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0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75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3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66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37949359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888275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52629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3667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11434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8003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Shape 178"/>
          <p:cNvSpPr/>
          <p:nvPr/>
        </p:nvSpPr>
        <p:spPr>
          <a:xfrm>
            <a:off x="877557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179" name="Shape 179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270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80" name="Shape 180"/>
          <p:cNvSpPr/>
          <p:nvPr/>
        </p:nvSpPr>
        <p:spPr>
          <a:xfrm>
            <a:off x="346183" y="377825"/>
            <a:ext cx="369018" cy="4019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270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81" name="Shape 181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4810772"/>
      </p:ext>
    </p:extLst>
  </p:cSld>
  <p:clrMapOvr>
    <a:masterClrMapping/>
  </p:clrMapOvr>
  <p:transition spd="med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6032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666983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3083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84513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358112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64146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45550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5807900"/>
      </p:ext>
    </p:extLst>
  </p:cSld>
  <p:clrMapOvr>
    <a:masterClrMapping/>
  </p:clrMapOvr>
  <p:transition spd="med"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237669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42108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Shape 188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189" name="Shape 189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lIns="45664" tIns="45664" rIns="45664" bIns="45664"/>
          <a:lstStyle>
            <a:lvl1pPr marL="342475" indent="-342475" defTabSz="913270"/>
            <a:lvl2pPr marL="782804" indent="-326171" defTabSz="913270"/>
            <a:lvl3pPr marL="1217694" indent="-304423" defTabSz="913270"/>
            <a:lvl4pPr marL="1735215" indent="-365308" defTabSz="913270"/>
            <a:lvl5pPr marL="2191849" indent="-365307" defTabSz="913270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0" name="Shape 190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4447086"/>
      </p:ext>
    </p:extLst>
  </p:cSld>
  <p:clrMapOvr>
    <a:masterClrMapping/>
  </p:clrMapOvr>
  <p:transition spd="med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04760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97011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89776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810449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625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379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6430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968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26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262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67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690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821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>
            <a:spLocks noGrp="1"/>
          </p:cNvSpPr>
          <p:nvPr>
            <p:ph type="title"/>
          </p:nvPr>
        </p:nvSpPr>
        <p:spPr>
          <a:xfrm>
            <a:off x="722335" y="4407185"/>
            <a:ext cx="7772401" cy="1362077"/>
          </a:xfrm>
          <a:prstGeom prst="rect">
            <a:avLst/>
          </a:prstGeom>
        </p:spPr>
        <p:txBody>
          <a:bodyPr lIns="45664" tIns="45664" rIns="45664" bIns="45664" anchor="t"/>
          <a:lstStyle>
            <a:lvl1pPr algn="l" defTabSz="913270">
              <a:defRPr sz="4000" b="1" cap="all"/>
            </a:lvl1pPr>
          </a:lstStyle>
          <a:p>
            <a:r>
              <a:t>Текст заголовка</a:t>
            </a:r>
          </a:p>
        </p:txBody>
      </p:sp>
      <p:sp>
        <p:nvSpPr>
          <p:cNvPr id="198" name="Shape 198"/>
          <p:cNvSpPr>
            <a:spLocks noGrp="1"/>
          </p:cNvSpPr>
          <p:nvPr>
            <p:ph type="body" sz="quarter" idx="1"/>
          </p:nvPr>
        </p:nvSpPr>
        <p:spPr>
          <a:xfrm>
            <a:off x="722335" y="2906721"/>
            <a:ext cx="7772401" cy="1500189"/>
          </a:xfrm>
          <a:prstGeom prst="rect">
            <a:avLst/>
          </a:prstGeom>
        </p:spPr>
        <p:txBody>
          <a:bodyPr lIns="45664" tIns="45664" rIns="45664" bIns="45664" anchor="b"/>
          <a:lstStyle>
            <a:lvl1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0" defTabSz="91327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9" name="Shape 199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0968723"/>
      </p:ext>
    </p:extLst>
  </p:cSld>
  <p:clrMapOvr>
    <a:masterClrMapping/>
  </p:clrMapOvr>
  <p:transition spd="med"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9452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61217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9141525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220481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199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071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1605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149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497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9633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Shape 206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07" name="Shape 207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 lIns="45664" tIns="45664" rIns="45664" bIns="45664"/>
          <a:lstStyle>
            <a:lvl1pPr marL="342475" indent="-342475" defTabSz="913270">
              <a:spcBef>
                <a:spcPts val="600"/>
              </a:spcBef>
              <a:defRPr sz="2800"/>
            </a:lvl1pPr>
            <a:lvl2pPr marL="789598" indent="-332966" defTabSz="913270">
              <a:spcBef>
                <a:spcPts val="600"/>
              </a:spcBef>
              <a:defRPr sz="2800"/>
            </a:lvl2pPr>
            <a:lvl3pPr marL="1232916" indent="-319645" defTabSz="913270">
              <a:spcBef>
                <a:spcPts val="600"/>
              </a:spcBef>
              <a:defRPr sz="2800"/>
            </a:lvl3pPr>
            <a:lvl4pPr marL="1725067" indent="-355160" defTabSz="913270">
              <a:spcBef>
                <a:spcPts val="600"/>
              </a:spcBef>
              <a:defRPr sz="2800"/>
            </a:lvl4pPr>
            <a:lvl5pPr marL="2181703" indent="-355161" defTabSz="91327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8" name="Shape 208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8396701"/>
      </p:ext>
    </p:extLst>
  </p:cSld>
  <p:clrMapOvr>
    <a:masterClrMapping/>
  </p:clrMapOvr>
  <p:transition spd="med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360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158414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3210074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53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0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75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3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66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38230418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044919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293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69964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633775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48085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2641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Shape 215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16" name="Shape 216"/>
          <p:cNvSpPr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lIns="45664" tIns="45664" rIns="45664" bIns="45664" anchor="b"/>
          <a:lstStyle>
            <a:lvl1pPr marL="0" indent="0" defTabSz="91327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0" defTabSz="913270">
              <a:spcBef>
                <a:spcPts val="500"/>
              </a:spcBef>
              <a:buSzTx/>
              <a:buFontTx/>
              <a:buNone/>
              <a:defRPr sz="2400" b="1"/>
            </a:lvl2pPr>
            <a:lvl3pPr marL="0" indent="0" defTabSz="913270">
              <a:spcBef>
                <a:spcPts val="500"/>
              </a:spcBef>
              <a:buSzTx/>
              <a:buFontTx/>
              <a:buNone/>
              <a:defRPr sz="2400" b="1"/>
            </a:lvl3pPr>
            <a:lvl4pPr marL="0" indent="0" defTabSz="913270">
              <a:spcBef>
                <a:spcPts val="500"/>
              </a:spcBef>
              <a:buSzTx/>
              <a:buFontTx/>
              <a:buNone/>
              <a:defRPr sz="2400" b="1"/>
            </a:lvl4pPr>
            <a:lvl5pPr marL="0" indent="0" defTabSz="913270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7" name="Shape 217"/>
          <p:cNvSpPr>
            <a:spLocks noGrp="1"/>
          </p:cNvSpPr>
          <p:nvPr>
            <p:ph type="body" sz="quarter" idx="13"/>
          </p:nvPr>
        </p:nvSpPr>
        <p:spPr>
          <a:xfrm>
            <a:off x="4645031" y="1535111"/>
            <a:ext cx="4041777" cy="639765"/>
          </a:xfrm>
          <a:prstGeom prst="rect">
            <a:avLst/>
          </a:prstGeom>
        </p:spPr>
        <p:txBody>
          <a:bodyPr anchor="b"/>
          <a:lstStyle/>
          <a:p>
            <a:endParaRPr/>
          </a:p>
        </p:txBody>
      </p:sp>
      <p:sp>
        <p:nvSpPr>
          <p:cNvPr id="218" name="Shape 218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2009154"/>
      </p:ext>
    </p:extLst>
  </p:cSld>
  <p:clrMapOvr>
    <a:masterClrMapping/>
  </p:clrMapOvr>
  <p:transition spd="med"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25321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25617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96250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4945868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9110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9687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0384478"/>
      </p:ext>
    </p:extLst>
  </p:cSld>
  <p:clrMapOvr>
    <a:masterClrMapping/>
  </p:clrMapOvr>
  <p:transition spd="med"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0293353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185676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06978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26" name="Shape 226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6514993"/>
      </p:ext>
    </p:extLst>
  </p:cSld>
  <p:clrMapOvr>
    <a:masterClrMapping/>
  </p:clrMapOvr>
  <p:transition spd="med"/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5568410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0372018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5098979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6160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347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9037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10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261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007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919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Shape 233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7722783"/>
      </p:ext>
    </p:extLst>
  </p:cSld>
  <p:clrMapOvr>
    <a:masterClrMapping/>
  </p:clrMapOvr>
  <p:transition spd="med"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454443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4404601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569714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3956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47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825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764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335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6069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5553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Shape 240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6" cy="1162050"/>
          </a:xfrm>
          <a:prstGeom prst="rect">
            <a:avLst/>
          </a:prstGeom>
        </p:spPr>
        <p:txBody>
          <a:bodyPr lIns="45664" tIns="45664" rIns="45664" bIns="45664" anchor="b"/>
          <a:lstStyle>
            <a:lvl1pPr algn="l" defTabSz="913270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241" name="Shape 241"/>
          <p:cNvSpPr>
            <a:spLocks noGrp="1"/>
          </p:cNvSpPr>
          <p:nvPr>
            <p:ph type="body" idx="1"/>
          </p:nvPr>
        </p:nvSpPr>
        <p:spPr>
          <a:xfrm>
            <a:off x="3575050" y="273078"/>
            <a:ext cx="5111750" cy="5853113"/>
          </a:xfrm>
          <a:prstGeom prst="rect">
            <a:avLst/>
          </a:prstGeom>
        </p:spPr>
        <p:txBody>
          <a:bodyPr lIns="45664" tIns="45664" rIns="45664" bIns="45664"/>
          <a:lstStyle>
            <a:lvl1pPr marL="342475" indent="-342475" defTabSz="913270"/>
            <a:lvl2pPr marL="782804" indent="-326171" defTabSz="913270"/>
            <a:lvl3pPr marL="1217694" indent="-304423" defTabSz="913270"/>
            <a:lvl4pPr marL="1735215" indent="-365308" defTabSz="913270"/>
            <a:lvl5pPr marL="2191849" indent="-365307" defTabSz="913270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2" name="Shape 242"/>
          <p:cNvSpPr>
            <a:spLocks noGrp="1"/>
          </p:cNvSpPr>
          <p:nvPr>
            <p:ph type="body" sz="half" idx="13"/>
          </p:nvPr>
        </p:nvSpPr>
        <p:spPr>
          <a:xfrm>
            <a:off x="457237" y="1435103"/>
            <a:ext cx="3008317" cy="4691063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43" name="Shape 243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3790874"/>
      </p:ext>
    </p:extLst>
  </p:cSld>
  <p:clrMapOvr>
    <a:masterClrMapping/>
  </p:clrMapOvr>
  <p:transition spd="med"/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752930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8063233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1981593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100171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6497193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235030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188723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1423600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5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2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8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2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44405682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20849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Shape 250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2" cy="566738"/>
          </a:xfrm>
          <a:prstGeom prst="rect">
            <a:avLst/>
          </a:prstGeom>
        </p:spPr>
        <p:txBody>
          <a:bodyPr lIns="45664" tIns="45664" rIns="45664" bIns="45664" anchor="b"/>
          <a:lstStyle>
            <a:lvl1pPr algn="l" defTabSz="913270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251" name="Shape 251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2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52" name="Shape 252"/>
          <p:cNvSpPr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2" cy="804864"/>
          </a:xfrm>
          <a:prstGeom prst="rect">
            <a:avLst/>
          </a:prstGeom>
        </p:spPr>
        <p:txBody>
          <a:bodyPr lIns="45664" tIns="45664" rIns="45664" bIns="45664"/>
          <a:lstStyle>
            <a:lvl1pPr marL="0" indent="0" defTabSz="913270">
              <a:spcBef>
                <a:spcPts val="300"/>
              </a:spcBef>
              <a:buSzTx/>
              <a:buFontTx/>
              <a:buNone/>
              <a:defRPr sz="1400"/>
            </a:lvl1pPr>
            <a:lvl2pPr marL="0" indent="0" defTabSz="913270">
              <a:spcBef>
                <a:spcPts val="300"/>
              </a:spcBef>
              <a:buSzTx/>
              <a:buFontTx/>
              <a:buNone/>
              <a:defRPr sz="1400"/>
            </a:lvl2pPr>
            <a:lvl3pPr marL="0" indent="0" defTabSz="913270">
              <a:spcBef>
                <a:spcPts val="300"/>
              </a:spcBef>
              <a:buSzTx/>
              <a:buFontTx/>
              <a:buNone/>
              <a:defRPr sz="1400"/>
            </a:lvl3pPr>
            <a:lvl4pPr marL="0" indent="0" defTabSz="913270">
              <a:spcBef>
                <a:spcPts val="300"/>
              </a:spcBef>
              <a:buSzTx/>
              <a:buFontTx/>
              <a:buNone/>
              <a:defRPr sz="1400"/>
            </a:lvl4pPr>
            <a:lvl5pPr marL="0" indent="0" defTabSz="913270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3" name="Shape 253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5158252"/>
      </p:ext>
    </p:extLst>
  </p:cSld>
  <p:clrMapOvr>
    <a:masterClrMapping/>
  </p:clrMapOvr>
  <p:transition spd="med"/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851834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4" y="6300797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135499"/>
      </p:ext>
    </p:extLst>
  </p:cSld>
  <p:clrMapOvr>
    <a:masterClrMapping/>
  </p:clrMapOvr>
  <p:transition spd="med"/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249396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359673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228951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23107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776183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890969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1679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6731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Shape 260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61" name="Shape 26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lIns="45664" tIns="45664" rIns="45664" bIns="45664"/>
          <a:lstStyle>
            <a:lvl1pPr marL="342475" indent="-342475" defTabSz="913270"/>
            <a:lvl2pPr marL="782804" indent="-326171" defTabSz="913270"/>
            <a:lvl3pPr marL="1217694" indent="-304423" defTabSz="913270"/>
            <a:lvl4pPr marL="1735215" indent="-365308" defTabSz="913270"/>
            <a:lvl5pPr marL="2191849" indent="-365307" defTabSz="913270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2" name="Shape 262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5125915"/>
      </p:ext>
    </p:extLst>
  </p:cSld>
  <p:clrMapOvr>
    <a:masterClrMapping/>
  </p:clrMapOvr>
  <p:transition spd="med"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8742933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44520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440042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0071298"/>
      </p:ext>
    </p:extLst>
  </p:cSld>
  <p:clrMapOvr>
    <a:masterClrMapping/>
  </p:clrMapOvr>
  <p:transition spd="med"/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4957720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6910396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3092408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908051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2636928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0691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Shape 269"/>
          <p:cNvSpPr>
            <a:spLocks noGrp="1"/>
          </p:cNvSpPr>
          <p:nvPr>
            <p:ph type="title"/>
          </p:nvPr>
        </p:nvSpPr>
        <p:spPr>
          <a:xfrm>
            <a:off x="6629400" y="274668"/>
            <a:ext cx="2057400" cy="5851527"/>
          </a:xfrm>
          <a:prstGeom prst="rect">
            <a:avLst/>
          </a:prstGeom>
        </p:spPr>
        <p:txBody>
          <a:bodyPr lIns="45664" tIns="45664" rIns="45664" bIns="45664"/>
          <a:lstStyle>
            <a:lvl1pPr defTabSz="913270"/>
          </a:lstStyle>
          <a:p>
            <a:r>
              <a:t>Текст заголовка</a:t>
            </a:r>
          </a:p>
        </p:txBody>
      </p:sp>
      <p:sp>
        <p:nvSpPr>
          <p:cNvPr id="270" name="Shape 270"/>
          <p:cNvSpPr>
            <a:spLocks noGrp="1"/>
          </p:cNvSpPr>
          <p:nvPr>
            <p:ph type="body" idx="1"/>
          </p:nvPr>
        </p:nvSpPr>
        <p:spPr>
          <a:xfrm>
            <a:off x="457200" y="274668"/>
            <a:ext cx="6019800" cy="5851527"/>
          </a:xfrm>
          <a:prstGeom prst="rect">
            <a:avLst/>
          </a:prstGeom>
        </p:spPr>
        <p:txBody>
          <a:bodyPr lIns="45664" tIns="45664" rIns="45664" bIns="45664"/>
          <a:lstStyle>
            <a:lvl1pPr marL="342475" indent="-342475" defTabSz="913270"/>
            <a:lvl2pPr marL="782804" indent="-326171" defTabSz="913270"/>
            <a:lvl3pPr marL="1217694" indent="-304423" defTabSz="913270"/>
            <a:lvl4pPr marL="1735215" indent="-365308" defTabSz="913270"/>
            <a:lvl5pPr marL="2191849" indent="-365307" defTabSz="913270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1" name="Shape 271"/>
          <p:cNvSpPr>
            <a:spLocks noGrp="1"/>
          </p:cNvSpPr>
          <p:nvPr>
            <p:ph type="sldNum" sz="quarter" idx="2"/>
          </p:nvPr>
        </p:nvSpPr>
        <p:spPr>
          <a:xfrm>
            <a:off x="8411841" y="6400478"/>
            <a:ext cx="274962" cy="276886"/>
          </a:xfrm>
          <a:prstGeom prst="rect">
            <a:avLst/>
          </a:prstGeom>
        </p:spPr>
        <p:txBody>
          <a:bodyPr lIns="45664" tIns="45664" rIns="45664" bIns="45664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5676037"/>
      </p:ext>
    </p:extLst>
  </p:cSld>
  <p:clrMapOvr>
    <a:masterClrMapping/>
  </p:clrMapOvr>
  <p:transition spd="med"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1419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225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174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301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76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7330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9930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469817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280123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32117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Shape 278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06854565"/>
      </p:ext>
    </p:extLst>
  </p:cSld>
  <p:clrMapOvr>
    <a:masterClrMapping/>
  </p:clrMapOvr>
  <p:transition spd="med"/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0336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41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4364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88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14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7350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5151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935004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9428916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3865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6297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Shape 285"/>
          <p:cNvSpPr/>
          <p:nvPr/>
        </p:nvSpPr>
        <p:spPr>
          <a:xfrm>
            <a:off x="877551" y="1984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286" name="Shape 286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87" name="Shape 287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88" name="Shape 288"/>
          <p:cNvSpPr/>
          <p:nvPr/>
        </p:nvSpPr>
        <p:spPr>
          <a:xfrm>
            <a:off x="0" y="6629504"/>
            <a:ext cx="9144000" cy="228781"/>
          </a:xfrm>
          <a:prstGeom prst="rect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89" name="Shape 289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3638927"/>
      </p:ext>
    </p:extLst>
  </p:cSld>
  <p:clrMapOvr>
    <a:masterClrMapping/>
  </p:clrMapOvr>
  <p:transition spd="med"/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0151045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06341558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9789258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4570980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37253134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5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2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8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2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856209347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2777324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010337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4" y="6300797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686905"/>
      </p:ext>
    </p:extLst>
  </p:cSld>
  <p:clrMapOvr>
    <a:masterClrMapping/>
  </p:clrMapOvr>
  <p:transition spd="med"/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6839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Shape 296"/>
          <p:cNvSpPr/>
          <p:nvPr/>
        </p:nvSpPr>
        <p:spPr>
          <a:xfrm>
            <a:off x="877551" y="1984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297" name="Shape 297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chemeClr val="accent3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98" name="Shape 298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99" name="Shape 299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47010224"/>
      </p:ext>
    </p:extLst>
  </p:cSld>
  <p:clrMapOvr>
    <a:masterClrMapping/>
  </p:clrMapOvr>
  <p:transition spd="med"/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37787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088848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625569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96702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75882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507896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586906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52346721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333917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9851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Shape 306"/>
          <p:cNvSpPr/>
          <p:nvPr/>
        </p:nvSpPr>
        <p:spPr>
          <a:xfrm>
            <a:off x="877551" y="1984"/>
            <a:ext cx="985193" cy="11716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/>
          <a:p>
            <a:pPr defTabSz="912652" hangingPunct="0">
              <a:defRPr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Портал </a:t>
            </a:r>
            <a:endParaRPr sz="4800" kern="0" cap="all">
              <a:solidFill>
                <a:srgbClr val="FFFFFF"/>
              </a:solidFill>
              <a:latin typeface="PT Sans Narrow"/>
              <a:ea typeface="PT Sans Narrow"/>
              <a:cs typeface="PT Sans Narrow"/>
              <a:sym typeface="PT Sans Narrow"/>
            </a:endParaRPr>
          </a:p>
          <a:p>
            <a:pPr defTabSz="912652" hangingPunct="0">
              <a:defRPr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pPr>
            <a:r>
              <a:rPr kern="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rPr>
              <a:t>фермера</a:t>
            </a:r>
          </a:p>
        </p:txBody>
      </p:sp>
      <p:sp>
        <p:nvSpPr>
          <p:cNvPr id="307" name="Shape 307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08" name="Shape 308"/>
          <p:cNvSpPr/>
          <p:nvPr/>
        </p:nvSpPr>
        <p:spPr>
          <a:xfrm>
            <a:off x="344093" y="380124"/>
            <a:ext cx="373197" cy="362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981" y="17788"/>
                </a:moveTo>
                <a:cubicBezTo>
                  <a:pt x="20981" y="18424"/>
                  <a:pt x="20787" y="19016"/>
                  <a:pt x="20361" y="19440"/>
                </a:cubicBezTo>
                <a:cubicBezTo>
                  <a:pt x="19626" y="20245"/>
                  <a:pt x="19626" y="20245"/>
                  <a:pt x="19626" y="20245"/>
                </a:cubicBezTo>
                <a:cubicBezTo>
                  <a:pt x="19239" y="20668"/>
                  <a:pt x="18697" y="20922"/>
                  <a:pt x="18155" y="20880"/>
                </a:cubicBezTo>
                <a:cubicBezTo>
                  <a:pt x="17768" y="21346"/>
                  <a:pt x="17226" y="21600"/>
                  <a:pt x="16645" y="21600"/>
                </a:cubicBezTo>
                <a:cubicBezTo>
                  <a:pt x="15639" y="21600"/>
                  <a:pt x="15639" y="21600"/>
                  <a:pt x="15639" y="21600"/>
                </a:cubicBezTo>
                <a:cubicBezTo>
                  <a:pt x="15058" y="21600"/>
                  <a:pt x="14516" y="21346"/>
                  <a:pt x="14168" y="20880"/>
                </a:cubicBezTo>
                <a:cubicBezTo>
                  <a:pt x="13587" y="20922"/>
                  <a:pt x="13045" y="20668"/>
                  <a:pt x="12658" y="20245"/>
                </a:cubicBezTo>
                <a:cubicBezTo>
                  <a:pt x="11923" y="19440"/>
                  <a:pt x="11923" y="19440"/>
                  <a:pt x="11923" y="19440"/>
                </a:cubicBezTo>
                <a:cubicBezTo>
                  <a:pt x="11535" y="19016"/>
                  <a:pt x="11342" y="18424"/>
                  <a:pt x="11342" y="17831"/>
                </a:cubicBezTo>
                <a:cubicBezTo>
                  <a:pt x="10955" y="17407"/>
                  <a:pt x="10684" y="16814"/>
                  <a:pt x="10684" y="16179"/>
                </a:cubicBezTo>
                <a:cubicBezTo>
                  <a:pt x="10684" y="15078"/>
                  <a:pt x="10684" y="15078"/>
                  <a:pt x="10684" y="15078"/>
                </a:cubicBezTo>
                <a:cubicBezTo>
                  <a:pt x="10684" y="14442"/>
                  <a:pt x="10955" y="13849"/>
                  <a:pt x="11342" y="13426"/>
                </a:cubicBezTo>
                <a:cubicBezTo>
                  <a:pt x="11342" y="12833"/>
                  <a:pt x="11535" y="12240"/>
                  <a:pt x="11923" y="11816"/>
                </a:cubicBezTo>
                <a:cubicBezTo>
                  <a:pt x="12658" y="11012"/>
                  <a:pt x="12658" y="11012"/>
                  <a:pt x="12658" y="11012"/>
                </a:cubicBezTo>
                <a:cubicBezTo>
                  <a:pt x="13045" y="10588"/>
                  <a:pt x="13587" y="10334"/>
                  <a:pt x="14168" y="10334"/>
                </a:cubicBezTo>
                <a:cubicBezTo>
                  <a:pt x="14516" y="9911"/>
                  <a:pt x="15058" y="9656"/>
                  <a:pt x="15639" y="9656"/>
                </a:cubicBezTo>
                <a:cubicBezTo>
                  <a:pt x="16645" y="9656"/>
                  <a:pt x="16645" y="9656"/>
                  <a:pt x="16645" y="9656"/>
                </a:cubicBezTo>
                <a:cubicBezTo>
                  <a:pt x="17226" y="9656"/>
                  <a:pt x="17768" y="9911"/>
                  <a:pt x="18155" y="10334"/>
                </a:cubicBezTo>
                <a:cubicBezTo>
                  <a:pt x="18697" y="10334"/>
                  <a:pt x="19239" y="10588"/>
                  <a:pt x="19626" y="11012"/>
                </a:cubicBezTo>
                <a:cubicBezTo>
                  <a:pt x="20361" y="11816"/>
                  <a:pt x="20361" y="11816"/>
                  <a:pt x="20361" y="11816"/>
                </a:cubicBezTo>
                <a:cubicBezTo>
                  <a:pt x="20787" y="12240"/>
                  <a:pt x="20981" y="12833"/>
                  <a:pt x="20981" y="13468"/>
                </a:cubicBezTo>
                <a:cubicBezTo>
                  <a:pt x="21368" y="13849"/>
                  <a:pt x="21600" y="14442"/>
                  <a:pt x="21600" y="15078"/>
                </a:cubicBezTo>
                <a:cubicBezTo>
                  <a:pt x="21600" y="16179"/>
                  <a:pt x="21600" y="16179"/>
                  <a:pt x="21600" y="16179"/>
                </a:cubicBezTo>
                <a:cubicBezTo>
                  <a:pt x="21600" y="16814"/>
                  <a:pt x="21368" y="17407"/>
                  <a:pt x="20981" y="17788"/>
                </a:cubicBezTo>
                <a:close/>
                <a:moveTo>
                  <a:pt x="16142" y="11901"/>
                </a:moveTo>
                <a:cubicBezTo>
                  <a:pt x="14284" y="11901"/>
                  <a:pt x="12735" y="13553"/>
                  <a:pt x="12735" y="15628"/>
                </a:cubicBezTo>
                <a:cubicBezTo>
                  <a:pt x="12735" y="17704"/>
                  <a:pt x="14284" y="19355"/>
                  <a:pt x="16142" y="19355"/>
                </a:cubicBezTo>
                <a:cubicBezTo>
                  <a:pt x="18039" y="19355"/>
                  <a:pt x="19548" y="17704"/>
                  <a:pt x="19548" y="15628"/>
                </a:cubicBezTo>
                <a:cubicBezTo>
                  <a:pt x="19548" y="13553"/>
                  <a:pt x="18039" y="11901"/>
                  <a:pt x="16142" y="11901"/>
                </a:cubicBezTo>
                <a:close/>
                <a:moveTo>
                  <a:pt x="16142" y="17704"/>
                </a:moveTo>
                <a:cubicBezTo>
                  <a:pt x="15097" y="17704"/>
                  <a:pt x="14284" y="16772"/>
                  <a:pt x="14284" y="15628"/>
                </a:cubicBezTo>
                <a:cubicBezTo>
                  <a:pt x="14284" y="14485"/>
                  <a:pt x="15097" y="13553"/>
                  <a:pt x="16142" y="13553"/>
                </a:cubicBezTo>
                <a:cubicBezTo>
                  <a:pt x="17187" y="13553"/>
                  <a:pt x="18039" y="14485"/>
                  <a:pt x="18039" y="15628"/>
                </a:cubicBezTo>
                <a:cubicBezTo>
                  <a:pt x="18039" y="16772"/>
                  <a:pt x="17187" y="17704"/>
                  <a:pt x="16142" y="17704"/>
                </a:cubicBezTo>
                <a:close/>
                <a:moveTo>
                  <a:pt x="18232" y="9191"/>
                </a:moveTo>
                <a:cubicBezTo>
                  <a:pt x="17845" y="8682"/>
                  <a:pt x="17226" y="8386"/>
                  <a:pt x="16568" y="8386"/>
                </a:cubicBezTo>
                <a:cubicBezTo>
                  <a:pt x="15445" y="8386"/>
                  <a:pt x="15445" y="8386"/>
                  <a:pt x="15445" y="8386"/>
                </a:cubicBezTo>
                <a:cubicBezTo>
                  <a:pt x="14787" y="8386"/>
                  <a:pt x="14168" y="8682"/>
                  <a:pt x="13781" y="9191"/>
                </a:cubicBezTo>
                <a:cubicBezTo>
                  <a:pt x="13123" y="9191"/>
                  <a:pt x="12542" y="9445"/>
                  <a:pt x="12077" y="9911"/>
                </a:cubicBezTo>
                <a:cubicBezTo>
                  <a:pt x="11265" y="10800"/>
                  <a:pt x="11265" y="10800"/>
                  <a:pt x="11265" y="10800"/>
                </a:cubicBezTo>
                <a:cubicBezTo>
                  <a:pt x="10839" y="11308"/>
                  <a:pt x="10606" y="11986"/>
                  <a:pt x="10606" y="12664"/>
                </a:cubicBezTo>
                <a:cubicBezTo>
                  <a:pt x="10142" y="13129"/>
                  <a:pt x="9871" y="13765"/>
                  <a:pt x="9871" y="14485"/>
                </a:cubicBezTo>
                <a:cubicBezTo>
                  <a:pt x="9871" y="15628"/>
                  <a:pt x="9871" y="15628"/>
                  <a:pt x="9871" y="15628"/>
                </a:cubicBezTo>
                <a:cubicBezTo>
                  <a:pt x="6929" y="15628"/>
                  <a:pt x="6929" y="15628"/>
                  <a:pt x="6929" y="15628"/>
                </a:cubicBezTo>
                <a:cubicBezTo>
                  <a:pt x="6271" y="14612"/>
                  <a:pt x="5187" y="13976"/>
                  <a:pt x="3948" y="13976"/>
                </a:cubicBezTo>
                <a:cubicBezTo>
                  <a:pt x="2787" y="13976"/>
                  <a:pt x="1742" y="14569"/>
                  <a:pt x="1045" y="15501"/>
                </a:cubicBezTo>
                <a:cubicBezTo>
                  <a:pt x="503" y="15289"/>
                  <a:pt x="0" y="14866"/>
                  <a:pt x="0" y="14358"/>
                </a:cubicBezTo>
                <a:cubicBezTo>
                  <a:pt x="0" y="10122"/>
                  <a:pt x="0" y="10122"/>
                  <a:pt x="0" y="10122"/>
                </a:cubicBezTo>
                <a:cubicBezTo>
                  <a:pt x="0" y="9445"/>
                  <a:pt x="503" y="8852"/>
                  <a:pt x="1161" y="8852"/>
                </a:cubicBezTo>
                <a:cubicBezTo>
                  <a:pt x="7819" y="8852"/>
                  <a:pt x="7819" y="8852"/>
                  <a:pt x="7819" y="8852"/>
                </a:cubicBezTo>
                <a:cubicBezTo>
                  <a:pt x="10374" y="2202"/>
                  <a:pt x="10374" y="2202"/>
                  <a:pt x="10374" y="2202"/>
                </a:cubicBezTo>
                <a:cubicBezTo>
                  <a:pt x="10877" y="932"/>
                  <a:pt x="11574" y="0"/>
                  <a:pt x="12697" y="0"/>
                </a:cubicBezTo>
                <a:cubicBezTo>
                  <a:pt x="18271" y="0"/>
                  <a:pt x="18271" y="0"/>
                  <a:pt x="18271" y="0"/>
                </a:cubicBezTo>
                <a:cubicBezTo>
                  <a:pt x="19355" y="0"/>
                  <a:pt x="20284" y="974"/>
                  <a:pt x="20284" y="2202"/>
                </a:cubicBezTo>
                <a:cubicBezTo>
                  <a:pt x="20284" y="10292"/>
                  <a:pt x="20284" y="10292"/>
                  <a:pt x="20284" y="10292"/>
                </a:cubicBezTo>
                <a:cubicBezTo>
                  <a:pt x="19935" y="9911"/>
                  <a:pt x="19935" y="9911"/>
                  <a:pt x="19935" y="9911"/>
                </a:cubicBezTo>
                <a:cubicBezTo>
                  <a:pt x="19471" y="9445"/>
                  <a:pt x="18890" y="9191"/>
                  <a:pt x="18232" y="9191"/>
                </a:cubicBezTo>
                <a:close/>
                <a:moveTo>
                  <a:pt x="18542" y="2922"/>
                </a:moveTo>
                <a:cubicBezTo>
                  <a:pt x="18542" y="2118"/>
                  <a:pt x="17923" y="1440"/>
                  <a:pt x="17187" y="1440"/>
                </a:cubicBezTo>
                <a:cubicBezTo>
                  <a:pt x="13510" y="1440"/>
                  <a:pt x="13510" y="1440"/>
                  <a:pt x="13510" y="1440"/>
                </a:cubicBezTo>
                <a:cubicBezTo>
                  <a:pt x="12774" y="1440"/>
                  <a:pt x="12310" y="2075"/>
                  <a:pt x="11961" y="2922"/>
                </a:cubicBezTo>
                <a:cubicBezTo>
                  <a:pt x="10258" y="7369"/>
                  <a:pt x="10258" y="7369"/>
                  <a:pt x="10258" y="7369"/>
                </a:cubicBezTo>
                <a:cubicBezTo>
                  <a:pt x="18542" y="7327"/>
                  <a:pt x="18542" y="7327"/>
                  <a:pt x="18542" y="7327"/>
                </a:cubicBezTo>
                <a:lnTo>
                  <a:pt x="18542" y="2922"/>
                </a:lnTo>
                <a:close/>
                <a:moveTo>
                  <a:pt x="4026" y="14612"/>
                </a:moveTo>
                <a:cubicBezTo>
                  <a:pt x="5768" y="14612"/>
                  <a:pt x="7200" y="16179"/>
                  <a:pt x="7200" y="18127"/>
                </a:cubicBezTo>
                <a:cubicBezTo>
                  <a:pt x="7200" y="20033"/>
                  <a:pt x="5768" y="21600"/>
                  <a:pt x="4026" y="21600"/>
                </a:cubicBezTo>
                <a:cubicBezTo>
                  <a:pt x="2245" y="21600"/>
                  <a:pt x="813" y="20033"/>
                  <a:pt x="813" y="18127"/>
                </a:cubicBezTo>
                <a:cubicBezTo>
                  <a:pt x="813" y="16179"/>
                  <a:pt x="2245" y="14612"/>
                  <a:pt x="4026" y="14612"/>
                </a:cubicBezTo>
                <a:close/>
                <a:moveTo>
                  <a:pt x="4026" y="19779"/>
                </a:moveTo>
                <a:cubicBezTo>
                  <a:pt x="4839" y="19779"/>
                  <a:pt x="5535" y="19016"/>
                  <a:pt x="5535" y="18127"/>
                </a:cubicBezTo>
                <a:cubicBezTo>
                  <a:pt x="5535" y="17195"/>
                  <a:pt x="4839" y="16475"/>
                  <a:pt x="4026" y="16475"/>
                </a:cubicBezTo>
                <a:cubicBezTo>
                  <a:pt x="3174" y="16475"/>
                  <a:pt x="2516" y="17195"/>
                  <a:pt x="2516" y="18127"/>
                </a:cubicBezTo>
                <a:cubicBezTo>
                  <a:pt x="2516" y="19016"/>
                  <a:pt x="3174" y="19779"/>
                  <a:pt x="4026" y="1977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3816695"/>
      </p:ext>
    </p:extLst>
  </p:cSld>
  <p:clrMapOvr>
    <a:masterClrMapping/>
  </p:clrMapOvr>
  <p:transition spd="med"/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418736"/>
      </p:ext>
    </p:extLst>
  </p:cSld>
  <p:clrMapOvr>
    <a:masterClrMapping/>
  </p:clrMapOvr>
  <p:transition spd="med"/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2100691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7172008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5186046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223040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3353074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7094458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8193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457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8885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Shape 316"/>
          <p:cNvSpPr/>
          <p:nvPr/>
        </p:nvSpPr>
        <p:spPr>
          <a:xfrm>
            <a:off x="877557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317" name="Shape 317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18" name="Shape 318"/>
          <p:cNvSpPr/>
          <p:nvPr/>
        </p:nvSpPr>
        <p:spPr>
          <a:xfrm>
            <a:off x="346183" y="377826"/>
            <a:ext cx="369018" cy="4019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319" name="Shape 319"/>
          <p:cNvSpPr/>
          <p:nvPr/>
        </p:nvSpPr>
        <p:spPr>
          <a:xfrm>
            <a:off x="0" y="6629504"/>
            <a:ext cx="9144000" cy="228781"/>
          </a:xfrm>
          <a:prstGeom prst="rect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20" name="Shape 320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4713055"/>
      </p:ext>
    </p:extLst>
  </p:cSld>
  <p:clrMapOvr>
    <a:masterClrMapping/>
  </p:clrMapOvr>
  <p:transition spd="med"/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650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310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6210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3593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6403115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24372899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5852045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2004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479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5681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Shape 327"/>
          <p:cNvSpPr/>
          <p:nvPr/>
        </p:nvSpPr>
        <p:spPr>
          <a:xfrm>
            <a:off x="877557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A6A6A6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328" name="Shape 328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rgbClr val="31859C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29" name="Shape 329"/>
          <p:cNvSpPr/>
          <p:nvPr/>
        </p:nvSpPr>
        <p:spPr>
          <a:xfrm>
            <a:off x="346183" y="377826"/>
            <a:ext cx="369018" cy="4019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330" name="Shape 330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19400433"/>
      </p:ext>
    </p:extLst>
  </p:cSld>
  <p:clrMapOvr>
    <a:masterClrMapping/>
  </p:clrMapOvr>
  <p:transition spd="med"/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48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918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0469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9574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650801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9908834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2070083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3730865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29387093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11307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Shape 337"/>
          <p:cNvSpPr/>
          <p:nvPr/>
        </p:nvSpPr>
        <p:spPr>
          <a:xfrm>
            <a:off x="877557" y="125061"/>
            <a:ext cx="3263453" cy="925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1519" tIns="31519" rIns="31519" bIns="31519" anchor="ctr">
            <a:spAutoFit/>
          </a:bodyPr>
          <a:lstStyle>
            <a:lvl1pPr defTabSz="912652">
              <a:defRPr sz="1400" cap="all">
                <a:solidFill>
                  <a:srgbClr val="F2F2F2"/>
                </a:solidFill>
                <a:latin typeface="PT Sans Narrow"/>
                <a:ea typeface="PT Sans Narrow"/>
                <a:cs typeface="PT Sans Narrow"/>
                <a:sym typeface="PT Sans Narrow"/>
              </a:defRPr>
            </a:lvl1pPr>
          </a:lstStyle>
          <a:p>
            <a:pPr hangingPunct="0"/>
            <a:r>
              <a:rPr kern="0"/>
              <a:t>Магазин социального питания и адресной продовольственной поддержки</a:t>
            </a:r>
          </a:p>
        </p:txBody>
      </p:sp>
      <p:sp>
        <p:nvSpPr>
          <p:cNvPr id="338" name="Shape 338"/>
          <p:cNvSpPr/>
          <p:nvPr/>
        </p:nvSpPr>
        <p:spPr>
          <a:xfrm>
            <a:off x="200725" y="228808"/>
            <a:ext cx="659934" cy="699975"/>
          </a:xfrm>
          <a:prstGeom prst="ellipse">
            <a:avLst/>
          </a:prstGeom>
          <a:solidFill>
            <a:srgbClr val="F2F2F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3754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39" name="Shape 339"/>
          <p:cNvSpPr/>
          <p:nvPr/>
        </p:nvSpPr>
        <p:spPr>
          <a:xfrm>
            <a:off x="346183" y="377826"/>
            <a:ext cx="369018" cy="4019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018"/>
                </a:moveTo>
                <a:cubicBezTo>
                  <a:pt x="7387" y="21600"/>
                  <a:pt x="7387" y="21600"/>
                  <a:pt x="7387" y="21600"/>
                </a:cubicBezTo>
                <a:cubicBezTo>
                  <a:pt x="7387" y="5164"/>
                  <a:pt x="7387" y="5164"/>
                  <a:pt x="7387" y="5164"/>
                </a:cubicBezTo>
                <a:cubicBezTo>
                  <a:pt x="0" y="5164"/>
                  <a:pt x="0" y="5164"/>
                  <a:pt x="0" y="5164"/>
                </a:cubicBezTo>
                <a:lnTo>
                  <a:pt x="0" y="21018"/>
                </a:lnTo>
                <a:close/>
                <a:moveTo>
                  <a:pt x="7536" y="21600"/>
                </a:moveTo>
                <a:cubicBezTo>
                  <a:pt x="10856" y="20327"/>
                  <a:pt x="10856" y="20327"/>
                  <a:pt x="10856" y="20327"/>
                </a:cubicBezTo>
                <a:cubicBezTo>
                  <a:pt x="10856" y="5164"/>
                  <a:pt x="10856" y="5164"/>
                  <a:pt x="10856" y="5164"/>
                </a:cubicBezTo>
                <a:cubicBezTo>
                  <a:pt x="7536" y="5164"/>
                  <a:pt x="7536" y="5164"/>
                  <a:pt x="7536" y="5164"/>
                </a:cubicBezTo>
                <a:lnTo>
                  <a:pt x="7536" y="21600"/>
                </a:lnTo>
                <a:close/>
                <a:moveTo>
                  <a:pt x="1753" y="1745"/>
                </a:moveTo>
                <a:cubicBezTo>
                  <a:pt x="0" y="4982"/>
                  <a:pt x="0" y="4982"/>
                  <a:pt x="0" y="4982"/>
                </a:cubicBezTo>
                <a:cubicBezTo>
                  <a:pt x="7387" y="4982"/>
                  <a:pt x="7387" y="4982"/>
                  <a:pt x="7387" y="4982"/>
                </a:cubicBezTo>
                <a:cubicBezTo>
                  <a:pt x="8991" y="1745"/>
                  <a:pt x="8991" y="1745"/>
                  <a:pt x="8991" y="1745"/>
                </a:cubicBezTo>
                <a:lnTo>
                  <a:pt x="1753" y="1745"/>
                </a:lnTo>
                <a:close/>
                <a:moveTo>
                  <a:pt x="8991" y="764"/>
                </a:moveTo>
                <a:cubicBezTo>
                  <a:pt x="8991" y="364"/>
                  <a:pt x="8730" y="0"/>
                  <a:pt x="8431" y="0"/>
                </a:cubicBezTo>
                <a:cubicBezTo>
                  <a:pt x="2313" y="0"/>
                  <a:pt x="2313" y="0"/>
                  <a:pt x="2313" y="0"/>
                </a:cubicBezTo>
                <a:cubicBezTo>
                  <a:pt x="2015" y="0"/>
                  <a:pt x="1753" y="364"/>
                  <a:pt x="1753" y="764"/>
                </a:cubicBezTo>
                <a:cubicBezTo>
                  <a:pt x="1753" y="1564"/>
                  <a:pt x="1753" y="1564"/>
                  <a:pt x="1753" y="1564"/>
                </a:cubicBezTo>
                <a:cubicBezTo>
                  <a:pt x="8991" y="1564"/>
                  <a:pt x="8991" y="1564"/>
                  <a:pt x="8991" y="1564"/>
                </a:cubicBezTo>
                <a:lnTo>
                  <a:pt x="8991" y="764"/>
                </a:lnTo>
                <a:close/>
                <a:moveTo>
                  <a:pt x="7498" y="4982"/>
                </a:moveTo>
                <a:cubicBezTo>
                  <a:pt x="10856" y="4982"/>
                  <a:pt x="10856" y="4982"/>
                  <a:pt x="10856" y="4982"/>
                </a:cubicBezTo>
                <a:cubicBezTo>
                  <a:pt x="9065" y="1745"/>
                  <a:pt x="9065" y="1745"/>
                  <a:pt x="9065" y="1745"/>
                </a:cubicBezTo>
                <a:lnTo>
                  <a:pt x="7498" y="4982"/>
                </a:lnTo>
                <a:close/>
                <a:moveTo>
                  <a:pt x="21040" y="14873"/>
                </a:moveTo>
                <a:cubicBezTo>
                  <a:pt x="21600" y="14618"/>
                  <a:pt x="21600" y="14618"/>
                  <a:pt x="21600" y="14618"/>
                </a:cubicBezTo>
                <a:cubicBezTo>
                  <a:pt x="21600" y="14436"/>
                  <a:pt x="21600" y="14218"/>
                  <a:pt x="21563" y="14036"/>
                </a:cubicBezTo>
                <a:cubicBezTo>
                  <a:pt x="21525" y="13855"/>
                  <a:pt x="21488" y="13673"/>
                  <a:pt x="21413" y="13491"/>
                </a:cubicBezTo>
                <a:cubicBezTo>
                  <a:pt x="21339" y="13273"/>
                  <a:pt x="21339" y="13273"/>
                  <a:pt x="21339" y="13273"/>
                </a:cubicBezTo>
                <a:cubicBezTo>
                  <a:pt x="20593" y="13455"/>
                  <a:pt x="19847" y="13455"/>
                  <a:pt x="19138" y="13309"/>
                </a:cubicBezTo>
                <a:cubicBezTo>
                  <a:pt x="18392" y="13127"/>
                  <a:pt x="17832" y="12909"/>
                  <a:pt x="17459" y="12582"/>
                </a:cubicBezTo>
                <a:cubicBezTo>
                  <a:pt x="18093" y="12545"/>
                  <a:pt x="18653" y="12473"/>
                  <a:pt x="19138" y="12364"/>
                </a:cubicBezTo>
                <a:cubicBezTo>
                  <a:pt x="19585" y="12291"/>
                  <a:pt x="19996" y="12145"/>
                  <a:pt x="20257" y="12036"/>
                </a:cubicBezTo>
                <a:cubicBezTo>
                  <a:pt x="20667" y="11855"/>
                  <a:pt x="20667" y="11855"/>
                  <a:pt x="20667" y="11855"/>
                </a:cubicBezTo>
                <a:cubicBezTo>
                  <a:pt x="20705" y="11600"/>
                  <a:pt x="20705" y="11309"/>
                  <a:pt x="20630" y="10982"/>
                </a:cubicBezTo>
                <a:cubicBezTo>
                  <a:pt x="20593" y="10655"/>
                  <a:pt x="20555" y="10364"/>
                  <a:pt x="20481" y="10145"/>
                </a:cubicBezTo>
                <a:cubicBezTo>
                  <a:pt x="20406" y="9818"/>
                  <a:pt x="20406" y="9818"/>
                  <a:pt x="20406" y="9818"/>
                </a:cubicBezTo>
                <a:cubicBezTo>
                  <a:pt x="19809" y="10000"/>
                  <a:pt x="19250" y="10073"/>
                  <a:pt x="18653" y="10036"/>
                </a:cubicBezTo>
                <a:cubicBezTo>
                  <a:pt x="18056" y="10000"/>
                  <a:pt x="17608" y="9927"/>
                  <a:pt x="17310" y="9782"/>
                </a:cubicBezTo>
                <a:cubicBezTo>
                  <a:pt x="16825" y="9600"/>
                  <a:pt x="16825" y="9600"/>
                  <a:pt x="16825" y="9600"/>
                </a:cubicBezTo>
                <a:cubicBezTo>
                  <a:pt x="17235" y="9600"/>
                  <a:pt x="17720" y="9527"/>
                  <a:pt x="18242" y="9345"/>
                </a:cubicBezTo>
                <a:cubicBezTo>
                  <a:pt x="18727" y="9164"/>
                  <a:pt x="19138" y="8982"/>
                  <a:pt x="19436" y="8836"/>
                </a:cubicBezTo>
                <a:cubicBezTo>
                  <a:pt x="19884" y="8582"/>
                  <a:pt x="19884" y="8582"/>
                  <a:pt x="19884" y="8582"/>
                </a:cubicBezTo>
                <a:cubicBezTo>
                  <a:pt x="19847" y="8364"/>
                  <a:pt x="19809" y="8145"/>
                  <a:pt x="19735" y="7891"/>
                </a:cubicBezTo>
                <a:cubicBezTo>
                  <a:pt x="19660" y="7636"/>
                  <a:pt x="19585" y="7455"/>
                  <a:pt x="19511" y="7273"/>
                </a:cubicBezTo>
                <a:cubicBezTo>
                  <a:pt x="19436" y="7018"/>
                  <a:pt x="19436" y="7018"/>
                  <a:pt x="19436" y="7018"/>
                </a:cubicBezTo>
                <a:cubicBezTo>
                  <a:pt x="19212" y="7236"/>
                  <a:pt x="18802" y="7382"/>
                  <a:pt x="18317" y="7491"/>
                </a:cubicBezTo>
                <a:cubicBezTo>
                  <a:pt x="17832" y="7600"/>
                  <a:pt x="17384" y="7636"/>
                  <a:pt x="17011" y="7636"/>
                </a:cubicBezTo>
                <a:cubicBezTo>
                  <a:pt x="16452" y="7636"/>
                  <a:pt x="16452" y="7636"/>
                  <a:pt x="16452" y="7636"/>
                </a:cubicBezTo>
                <a:cubicBezTo>
                  <a:pt x="16937" y="7455"/>
                  <a:pt x="17384" y="7236"/>
                  <a:pt x="17795" y="6982"/>
                </a:cubicBezTo>
                <a:cubicBezTo>
                  <a:pt x="18205" y="6691"/>
                  <a:pt x="18504" y="6473"/>
                  <a:pt x="18653" y="6255"/>
                </a:cubicBezTo>
                <a:cubicBezTo>
                  <a:pt x="18914" y="6000"/>
                  <a:pt x="18914" y="6000"/>
                  <a:pt x="18914" y="6000"/>
                </a:cubicBezTo>
                <a:cubicBezTo>
                  <a:pt x="18131" y="4836"/>
                  <a:pt x="17347" y="4000"/>
                  <a:pt x="16526" y="3491"/>
                </a:cubicBezTo>
                <a:cubicBezTo>
                  <a:pt x="15743" y="3018"/>
                  <a:pt x="15034" y="2836"/>
                  <a:pt x="14437" y="2982"/>
                </a:cubicBezTo>
                <a:cubicBezTo>
                  <a:pt x="13878" y="3127"/>
                  <a:pt x="13355" y="3455"/>
                  <a:pt x="12945" y="3964"/>
                </a:cubicBezTo>
                <a:cubicBezTo>
                  <a:pt x="12535" y="4436"/>
                  <a:pt x="12274" y="5055"/>
                  <a:pt x="12124" y="5782"/>
                </a:cubicBezTo>
                <a:cubicBezTo>
                  <a:pt x="11863" y="7236"/>
                  <a:pt x="11975" y="9455"/>
                  <a:pt x="12497" y="12436"/>
                </a:cubicBezTo>
                <a:cubicBezTo>
                  <a:pt x="12982" y="15418"/>
                  <a:pt x="13766" y="17818"/>
                  <a:pt x="14848" y="19636"/>
                </a:cubicBezTo>
                <a:cubicBezTo>
                  <a:pt x="15295" y="20255"/>
                  <a:pt x="15780" y="20655"/>
                  <a:pt x="16377" y="20873"/>
                </a:cubicBezTo>
                <a:cubicBezTo>
                  <a:pt x="16937" y="21055"/>
                  <a:pt x="17496" y="21018"/>
                  <a:pt x="18056" y="20800"/>
                </a:cubicBezTo>
                <a:cubicBezTo>
                  <a:pt x="18616" y="20582"/>
                  <a:pt x="19138" y="20218"/>
                  <a:pt x="19660" y="19782"/>
                </a:cubicBezTo>
                <a:cubicBezTo>
                  <a:pt x="20145" y="19345"/>
                  <a:pt x="20593" y="18764"/>
                  <a:pt x="20928" y="18073"/>
                </a:cubicBezTo>
                <a:cubicBezTo>
                  <a:pt x="21264" y="17418"/>
                  <a:pt x="21488" y="16691"/>
                  <a:pt x="21563" y="15964"/>
                </a:cubicBezTo>
                <a:cubicBezTo>
                  <a:pt x="21003" y="16109"/>
                  <a:pt x="20406" y="16145"/>
                  <a:pt x="19809" y="16109"/>
                </a:cubicBezTo>
                <a:cubicBezTo>
                  <a:pt x="19175" y="16073"/>
                  <a:pt x="18727" y="16000"/>
                  <a:pt x="18429" y="15891"/>
                </a:cubicBezTo>
                <a:cubicBezTo>
                  <a:pt x="18019" y="15709"/>
                  <a:pt x="18019" y="15709"/>
                  <a:pt x="18019" y="15709"/>
                </a:cubicBezTo>
                <a:cubicBezTo>
                  <a:pt x="18466" y="15673"/>
                  <a:pt x="18989" y="15564"/>
                  <a:pt x="19585" y="15382"/>
                </a:cubicBezTo>
                <a:cubicBezTo>
                  <a:pt x="20220" y="15200"/>
                  <a:pt x="20705" y="15018"/>
                  <a:pt x="21040" y="14873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defTabSz="913754" hangingPunct="0">
              <a:defRPr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340" name="Shape 340"/>
          <p:cNvSpPr>
            <a:spLocks noGrp="1"/>
          </p:cNvSpPr>
          <p:nvPr>
            <p:ph type="sldNum" sz="quarter" idx="2"/>
          </p:nvPr>
        </p:nvSpPr>
        <p:spPr>
          <a:xfrm>
            <a:off x="6278137" y="6218133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54664950"/>
      </p:ext>
    </p:extLst>
  </p:cSld>
  <p:clrMapOvr>
    <a:masterClrMapping/>
  </p:clrMapOvr>
  <p:transition spd="med"/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634189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5426695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5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2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8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2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12853686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029410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7059258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4" y="6300797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450290"/>
      </p:ext>
    </p:extLst>
  </p:cSld>
  <p:clrMapOvr>
    <a:masterClrMapping/>
  </p:clrMapOvr>
  <p:transition spd="med"/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>
                <a:solidFill>
                  <a:srgbClr val="29479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A87D0-25C5-4526-9442-D26397EAE496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427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F85DC-030D-4B6A-BA37-8AD76B1C11FB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691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7362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35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Shape 347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348" name="Shape 34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/>
            <a:lvl2pPr marL="783217" indent="-326341" defTabSz="913754"/>
            <a:lvl3pPr marL="1218339" indent="-304584" defTabSz="913754"/>
            <a:lvl4pPr marL="1736133" indent="-365502" defTabSz="913754"/>
            <a:lvl5pPr marL="2193010" indent="-365501" defTabSz="913754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9" name="Shape 349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8279225"/>
      </p:ext>
    </p:extLst>
  </p:cSld>
  <p:clrMapOvr>
    <a:masterClrMapping/>
  </p:clrMapOvr>
  <p:transition spd="med"/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8919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33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177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8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707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96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5301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856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90490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C7250-3472-4C9C-8D3C-AEE0400414C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729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D78F-D49A-4B1B-9B69-653DAD2F668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185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906162"/>
            <a:ext cx="7886700" cy="1150594"/>
          </a:xfrm>
        </p:spPr>
        <p:txBody>
          <a:bodyPr/>
          <a:lstStyle>
            <a:lvl1pPr>
              <a:defRPr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2076579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907957"/>
            <a:ext cx="3868340" cy="3281706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7961" y="204440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2907957"/>
            <a:ext cx="3887391" cy="3281706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1346B-3AAF-49CD-8F62-C31FB3675A8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207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50ECB-9A63-4498-987B-04837B0F277B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598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E8E67-C2D7-4490-817E-CCCC644C92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911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" name="Shape 356"/>
          <p:cNvSpPr>
            <a:spLocks noGrp="1"/>
          </p:cNvSpPr>
          <p:nvPr>
            <p:ph type="title"/>
          </p:nvPr>
        </p:nvSpPr>
        <p:spPr>
          <a:xfrm>
            <a:off x="722335" y="4407183"/>
            <a:ext cx="7772401" cy="1362077"/>
          </a:xfrm>
          <a:prstGeom prst="rect">
            <a:avLst/>
          </a:prstGeom>
        </p:spPr>
        <p:txBody>
          <a:bodyPr lIns="45687" tIns="45687" rIns="45687" bIns="45687" anchor="t"/>
          <a:lstStyle>
            <a:lvl1pPr algn="l" defTabSz="913754">
              <a:defRPr sz="4000" b="1" cap="all"/>
            </a:lvl1pPr>
          </a:lstStyle>
          <a:p>
            <a:r>
              <a:t>Текст заголовка</a:t>
            </a:r>
          </a:p>
        </p:txBody>
      </p:sp>
      <p:sp>
        <p:nvSpPr>
          <p:cNvPr id="357" name="Shape 357"/>
          <p:cNvSpPr>
            <a:spLocks noGrp="1"/>
          </p:cNvSpPr>
          <p:nvPr>
            <p:ph type="body" sz="quarter" idx="1"/>
          </p:nvPr>
        </p:nvSpPr>
        <p:spPr>
          <a:xfrm>
            <a:off x="722335" y="2906721"/>
            <a:ext cx="7772401" cy="1500189"/>
          </a:xfrm>
          <a:prstGeom prst="rect">
            <a:avLst/>
          </a:prstGeom>
        </p:spPr>
        <p:txBody>
          <a:bodyPr lIns="45687" tIns="45687" rIns="45687" bIns="45687" anchor="b"/>
          <a:lstStyle>
            <a:lvl1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0" defTabSz="913754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8" name="Shape 358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2228651"/>
      </p:ext>
    </p:extLst>
  </p:cSld>
  <p:clrMapOvr>
    <a:masterClrMapping/>
  </p:clrMapOvr>
  <p:transition spd="med"/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037969"/>
            <a:ext cx="2949178" cy="1373659"/>
          </a:xfrm>
        </p:spPr>
        <p:txBody>
          <a:bodyPr anchor="b"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6200" y="1341657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8650" y="2411627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CB2BE-5F25-4698-9C5F-31F1B09C29B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683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987428"/>
            <a:ext cx="2949178" cy="1514817"/>
          </a:xfrm>
        </p:spPr>
        <p:txBody>
          <a:bodyPr anchor="b"/>
          <a:lstStyle>
            <a:lvl1pPr>
              <a:defRPr sz="1800">
                <a:solidFill>
                  <a:srgbClr val="345DAE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544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487832"/>
            <a:ext cx="2949178" cy="338116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A77E44-D803-436D-92D5-2AC3448946E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89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E2CDF-5FA4-488F-AB40-B0C6EAAB7122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76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114AAA-10FC-4EC9-B78B-15A94FA2FEF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226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807395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370990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879775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30624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443364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769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Shape 365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366" name="Shape 366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>
              <a:spcBef>
                <a:spcPts val="600"/>
              </a:spcBef>
              <a:defRPr sz="2800"/>
            </a:lvl1pPr>
            <a:lvl2pPr marL="790016" indent="-333141" defTabSz="913754">
              <a:spcBef>
                <a:spcPts val="600"/>
              </a:spcBef>
              <a:defRPr sz="2800"/>
            </a:lvl2pPr>
            <a:lvl3pPr marL="1233568" indent="-319814" defTabSz="913754">
              <a:spcBef>
                <a:spcPts val="600"/>
              </a:spcBef>
              <a:defRPr sz="2800"/>
            </a:lvl3pPr>
            <a:lvl4pPr marL="1725981" indent="-355349" defTabSz="913754">
              <a:spcBef>
                <a:spcPts val="600"/>
              </a:spcBef>
              <a:defRPr sz="2800"/>
            </a:lvl4pPr>
            <a:lvl5pPr marL="2182858" indent="-355349" defTabSz="913754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67" name="Shape 367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8995082"/>
      </p:ext>
    </p:extLst>
  </p:cSld>
  <p:clrMapOvr>
    <a:masterClrMapping/>
  </p:clrMapOvr>
  <p:transition spd="med"/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953066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983274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03030344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842811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251583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1860541"/>
      </p:ext>
    </p:extLst>
  </p:cSld>
  <p:clrMapOvr>
    <a:masterClrMapping/>
  </p:clrMapOvr>
  <p:transition spd="med"/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0725581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76051866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1861446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47520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Shape 374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375" name="Shape 375"/>
          <p:cNvSpPr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lIns="45687" tIns="45687" rIns="45687" bIns="45687" anchor="b"/>
          <a:lstStyle>
            <a:lvl1pPr marL="0" indent="0" defTabSz="913754">
              <a:spcBef>
                <a:spcPts val="500"/>
              </a:spcBef>
              <a:buSzTx/>
              <a:buFontTx/>
              <a:buNone/>
              <a:defRPr sz="2400" b="1"/>
            </a:lvl1pPr>
            <a:lvl2pPr marL="0" indent="0" defTabSz="913754">
              <a:spcBef>
                <a:spcPts val="500"/>
              </a:spcBef>
              <a:buSzTx/>
              <a:buFontTx/>
              <a:buNone/>
              <a:defRPr sz="2400" b="1"/>
            </a:lvl2pPr>
            <a:lvl3pPr marL="0" indent="0" defTabSz="913754">
              <a:spcBef>
                <a:spcPts val="500"/>
              </a:spcBef>
              <a:buSzTx/>
              <a:buFontTx/>
              <a:buNone/>
              <a:defRPr sz="2400" b="1"/>
            </a:lvl3pPr>
            <a:lvl4pPr marL="0" indent="0" defTabSz="913754">
              <a:spcBef>
                <a:spcPts val="500"/>
              </a:spcBef>
              <a:buSzTx/>
              <a:buFontTx/>
              <a:buNone/>
              <a:defRPr sz="2400" b="1"/>
            </a:lvl4pPr>
            <a:lvl5pPr marL="0" indent="0" defTabSz="913754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76" name="Shape 376"/>
          <p:cNvSpPr>
            <a:spLocks noGrp="1"/>
          </p:cNvSpPr>
          <p:nvPr>
            <p:ph type="body" sz="quarter" idx="13"/>
          </p:nvPr>
        </p:nvSpPr>
        <p:spPr>
          <a:xfrm>
            <a:off x="4645028" y="1535111"/>
            <a:ext cx="4041777" cy="639765"/>
          </a:xfrm>
          <a:prstGeom prst="rect">
            <a:avLst/>
          </a:prstGeom>
        </p:spPr>
        <p:txBody>
          <a:bodyPr anchor="b"/>
          <a:lstStyle/>
          <a:p>
            <a:endParaRPr/>
          </a:p>
        </p:txBody>
      </p:sp>
      <p:sp>
        <p:nvSpPr>
          <p:cNvPr id="377" name="Shape 377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7318399"/>
      </p:ext>
    </p:extLst>
  </p:cSld>
  <p:clrMapOvr>
    <a:masterClrMapping/>
  </p:clrMapOvr>
  <p:transition spd="med"/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759619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078852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1703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67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1389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451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107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4380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0098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6760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1227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Shape 384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385" name="Shape 385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8782454"/>
      </p:ext>
    </p:extLst>
  </p:cSld>
  <p:clrMapOvr>
    <a:masterClrMapping/>
  </p:clrMapOvr>
  <p:transition spd="med"/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58786913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6414471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5181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164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9280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536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280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3075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9390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9218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Shape 392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4882625"/>
      </p:ext>
    </p:extLst>
  </p:cSld>
  <p:clrMapOvr>
    <a:masterClrMapping/>
  </p:clrMapOvr>
  <p:transition spd="med"/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62969824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397612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2251983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40399514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1081086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6856033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79550837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5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2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8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2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829627819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2592641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40118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" name="Shape 399"/>
          <p:cNvSpPr>
            <a:spLocks noGrp="1"/>
          </p:cNvSpPr>
          <p:nvPr>
            <p:ph type="title"/>
          </p:nvPr>
        </p:nvSpPr>
        <p:spPr>
          <a:xfrm>
            <a:off x="457238" y="273050"/>
            <a:ext cx="3008315" cy="1162050"/>
          </a:xfrm>
          <a:prstGeom prst="rect">
            <a:avLst/>
          </a:prstGeom>
        </p:spPr>
        <p:txBody>
          <a:bodyPr lIns="45687" tIns="45687" rIns="45687" bIns="45687" anchor="b"/>
          <a:lstStyle>
            <a:lvl1pPr algn="l" defTabSz="913754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400" name="Shape 400"/>
          <p:cNvSpPr>
            <a:spLocks noGrp="1"/>
          </p:cNvSpPr>
          <p:nvPr>
            <p:ph type="body" idx="1"/>
          </p:nvPr>
        </p:nvSpPr>
        <p:spPr>
          <a:xfrm>
            <a:off x="3575050" y="273078"/>
            <a:ext cx="5111750" cy="5853113"/>
          </a:xfrm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/>
            <a:lvl2pPr marL="783217" indent="-326341" defTabSz="913754"/>
            <a:lvl3pPr marL="1218339" indent="-304584" defTabSz="913754"/>
            <a:lvl4pPr marL="1736133" indent="-365502" defTabSz="913754"/>
            <a:lvl5pPr marL="2193010" indent="-365501" defTabSz="913754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01" name="Shape 401"/>
          <p:cNvSpPr>
            <a:spLocks noGrp="1"/>
          </p:cNvSpPr>
          <p:nvPr>
            <p:ph type="body" sz="half" idx="13"/>
          </p:nvPr>
        </p:nvSpPr>
        <p:spPr>
          <a:xfrm>
            <a:off x="457237" y="1435103"/>
            <a:ext cx="3008317" cy="4691063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02" name="Shape 402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6309337"/>
      </p:ext>
    </p:extLst>
  </p:cSld>
  <p:clrMapOvr>
    <a:masterClrMapping/>
  </p:clrMapOvr>
  <p:transition spd="med"/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4" y="6300797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747564"/>
      </p:ext>
    </p:extLst>
  </p:cSld>
  <p:clrMapOvr>
    <a:masterClrMapping/>
  </p:clrMapOvr>
  <p:transition spd="med"/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872332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007263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365235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841897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044361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868005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765452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702847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583181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Shape 409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2" cy="566738"/>
          </a:xfrm>
          <a:prstGeom prst="rect">
            <a:avLst/>
          </a:prstGeom>
        </p:spPr>
        <p:txBody>
          <a:bodyPr lIns="45687" tIns="45687" rIns="45687" bIns="45687" anchor="b"/>
          <a:lstStyle>
            <a:lvl1pPr algn="l" defTabSz="913754">
              <a:defRPr sz="2000" b="1"/>
            </a:lvl1pPr>
          </a:lstStyle>
          <a:p>
            <a:r>
              <a:t>Текст заголовка</a:t>
            </a:r>
          </a:p>
        </p:txBody>
      </p:sp>
      <p:sp>
        <p:nvSpPr>
          <p:cNvPr id="410" name="Shape 410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2" cy="4114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11" name="Shape 411"/>
          <p:cNvSpPr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2" cy="804864"/>
          </a:xfrm>
          <a:prstGeom prst="rect">
            <a:avLst/>
          </a:prstGeom>
        </p:spPr>
        <p:txBody>
          <a:bodyPr lIns="45687" tIns="45687" rIns="45687" bIns="45687"/>
          <a:lstStyle>
            <a:lvl1pPr marL="0" indent="0" defTabSz="913754">
              <a:spcBef>
                <a:spcPts val="300"/>
              </a:spcBef>
              <a:buSzTx/>
              <a:buFontTx/>
              <a:buNone/>
              <a:defRPr sz="1400"/>
            </a:lvl1pPr>
            <a:lvl2pPr marL="0" indent="0" defTabSz="913754">
              <a:spcBef>
                <a:spcPts val="300"/>
              </a:spcBef>
              <a:buSzTx/>
              <a:buFontTx/>
              <a:buNone/>
              <a:defRPr sz="1400"/>
            </a:lvl2pPr>
            <a:lvl3pPr marL="0" indent="0" defTabSz="913754">
              <a:spcBef>
                <a:spcPts val="300"/>
              </a:spcBef>
              <a:buSzTx/>
              <a:buFontTx/>
              <a:buNone/>
              <a:defRPr sz="1400"/>
            </a:lvl3pPr>
            <a:lvl4pPr marL="0" indent="0" defTabSz="913754">
              <a:spcBef>
                <a:spcPts val="300"/>
              </a:spcBef>
              <a:buSzTx/>
              <a:buFontTx/>
              <a:buNone/>
              <a:defRPr sz="1400"/>
            </a:lvl4pPr>
            <a:lvl5pPr marL="0" indent="0" defTabSz="913754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2" name="Shape 412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2748846"/>
      </p:ext>
    </p:extLst>
  </p:cSld>
  <p:clrMapOvr>
    <a:masterClrMapping/>
  </p:clrMapOvr>
  <p:transition spd="med"/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527881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029384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7850824"/>
      </p:ext>
    </p:extLst>
  </p:cSld>
  <p:clrMapOvr>
    <a:masterClrMapping/>
  </p:clrMapOvr>
  <p:transition spd="med"/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739416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82891164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0938366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8753036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9416850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193482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1705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Shape 419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420" name="Shape 42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/>
            <a:lvl2pPr marL="783217" indent="-326341" defTabSz="913754"/>
            <a:lvl3pPr marL="1218339" indent="-304584" defTabSz="913754"/>
            <a:lvl4pPr marL="1736133" indent="-365502" defTabSz="913754"/>
            <a:lvl5pPr marL="2193010" indent="-365501" defTabSz="913754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1" name="Shape 421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874378"/>
      </p:ext>
    </p:extLst>
  </p:cSld>
  <p:clrMapOvr>
    <a:masterClrMapping/>
  </p:clrMapOvr>
  <p:transition spd="med"/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925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5054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352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40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93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6301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7140380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53389767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8867113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0917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Shape 428"/>
          <p:cNvSpPr>
            <a:spLocks noGrp="1"/>
          </p:cNvSpPr>
          <p:nvPr>
            <p:ph type="title"/>
          </p:nvPr>
        </p:nvSpPr>
        <p:spPr>
          <a:xfrm>
            <a:off x="6629400" y="274668"/>
            <a:ext cx="2057400" cy="5851527"/>
          </a:xfrm>
          <a:prstGeom prst="rect">
            <a:avLst/>
          </a:prstGeom>
        </p:spPr>
        <p:txBody>
          <a:bodyPr lIns="45687" tIns="45687" rIns="45687" bIns="45687"/>
          <a:lstStyle>
            <a:lvl1pPr defTabSz="913754"/>
          </a:lstStyle>
          <a:p>
            <a:r>
              <a:t>Текст заголовка</a:t>
            </a:r>
          </a:p>
        </p:txBody>
      </p:sp>
      <p:sp>
        <p:nvSpPr>
          <p:cNvPr id="429" name="Shape 429"/>
          <p:cNvSpPr>
            <a:spLocks noGrp="1"/>
          </p:cNvSpPr>
          <p:nvPr>
            <p:ph type="body" idx="1"/>
          </p:nvPr>
        </p:nvSpPr>
        <p:spPr>
          <a:xfrm>
            <a:off x="457200" y="274668"/>
            <a:ext cx="6019800" cy="5851527"/>
          </a:xfrm>
          <a:prstGeom prst="rect">
            <a:avLst/>
          </a:prstGeom>
        </p:spPr>
        <p:txBody>
          <a:bodyPr lIns="45687" tIns="45687" rIns="45687" bIns="45687"/>
          <a:lstStyle>
            <a:lvl1pPr marL="342655" indent="-342655" defTabSz="913754"/>
            <a:lvl2pPr marL="783217" indent="-326341" defTabSz="913754"/>
            <a:lvl3pPr marL="1218339" indent="-304584" defTabSz="913754"/>
            <a:lvl4pPr marL="1736133" indent="-365502" defTabSz="913754"/>
            <a:lvl5pPr marL="2193010" indent="-365501" defTabSz="913754"/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30" name="Shape 430"/>
          <p:cNvSpPr>
            <a:spLocks noGrp="1"/>
          </p:cNvSpPr>
          <p:nvPr>
            <p:ph type="sldNum" sz="quarter" idx="2"/>
          </p:nvPr>
        </p:nvSpPr>
        <p:spPr>
          <a:xfrm>
            <a:off x="8412002" y="6400452"/>
            <a:ext cx="275009" cy="276932"/>
          </a:xfrm>
          <a:prstGeom prst="rect">
            <a:avLst/>
          </a:prstGeom>
        </p:spPr>
        <p:txBody>
          <a:bodyPr lIns="45687" tIns="45687" rIns="45687" bIns="45687"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0426025"/>
      </p:ext>
    </p:extLst>
  </p:cSld>
  <p:clrMapOvr>
    <a:masterClrMapping/>
  </p:clrMapOvr>
  <p:transition spd="med"/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288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6260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003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04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1448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991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34833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86186972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9462818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93704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" name="Shape 43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38" name="Shape 43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39" name="Shape 439"/>
          <p:cNvSpPr>
            <a:spLocks noGrp="1"/>
          </p:cNvSpPr>
          <p:nvPr>
            <p:ph type="sldNum" sz="quarter" idx="2"/>
          </p:nvPr>
        </p:nvSpPr>
        <p:spPr>
          <a:xfrm>
            <a:off x="8411869" y="6400695"/>
            <a:ext cx="275071" cy="27699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7410514"/>
      </p:ext>
    </p:extLst>
  </p:cSld>
  <p:clrMapOvr>
    <a:masterClrMapping/>
  </p:clrMapOvr>
  <p:transition spd="med"/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29581586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543593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207784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37037085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5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2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8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2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63750159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6896797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727077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4" y="6300797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753894"/>
      </p:ext>
    </p:extLst>
  </p:cSld>
  <p:clrMapOvr>
    <a:masterClrMapping/>
  </p:clrMapOvr>
  <p:transition spd="med"/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761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78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6436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761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45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893528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761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01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01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076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268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761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78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1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917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873" y="1919577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83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119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1459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37" y="1842507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1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167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3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6047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49921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627563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304008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310850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1359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927359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181784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7472326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784107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52468231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527795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404527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4513808"/>
      </p:ext>
    </p:extLst>
  </p:cSld>
  <p:clrMapOvr>
    <a:masterClrMapping/>
  </p:clrMapOvr>
  <p:transition spd="med"/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8734566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4484608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2968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163061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9544243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3567072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6171434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8727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875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6873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935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715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42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1340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2375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835315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6419160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83006880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3981333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33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429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6556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51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53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4873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5038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65361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551216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44482876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53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0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75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3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66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744292143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8840559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264686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983188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523661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425055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473415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8422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861642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85010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007697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34903183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992985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947509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6705683"/>
      </p:ext>
    </p:extLst>
  </p:cSld>
  <p:clrMapOvr>
    <a:masterClrMapping/>
  </p:clrMapOvr>
  <p:transition spd="med"/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5817088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61455429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60960655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77746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260797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7275571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7825849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4546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248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2485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86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04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8500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4815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60051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582654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69199235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4632420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5868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433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9557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146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108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5038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359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99693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2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95131357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64209415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8401179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7806223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31345526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4580161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3441215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26028134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5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42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8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2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291925160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0861998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44259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298277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4" y="6300797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850880"/>
      </p:ext>
    </p:extLst>
  </p:cSld>
  <p:clrMapOvr>
    <a:masterClrMapping/>
  </p:clrMapOvr>
  <p:transition spd="med"/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99144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432502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682062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775450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049713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070481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395696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656374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770724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3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3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986273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741643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327381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2711396"/>
      </p:ext>
    </p:extLst>
  </p:cSld>
  <p:clrMapOvr>
    <a:masterClrMapping/>
  </p:clrMapOvr>
  <p:transition spd="med"/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1716329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70681998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2644150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5253857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3264464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7297888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718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9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29669262"/>
      </p:ext>
    </p:extLst>
  </p:cSld>
  <p:clrMapOvr>
    <a:masterClrMapping/>
  </p:clrMapOvr>
  <p:transition spd="med"/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517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026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959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50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1625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9362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3782084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72557140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7184724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7426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2403183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386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8320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315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618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5025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9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7026507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6304144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0940540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96704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8181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57025852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76464094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4195584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7152839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87580248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038353874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749274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7959234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052955"/>
      </p:ext>
    </p:extLst>
  </p:cSld>
  <p:clrMapOvr>
    <a:masterClrMapping/>
  </p:clrMapOvr>
  <p:transition spd="med"/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269573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5664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6707846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947841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038613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269665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233261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174521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696131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67716527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655647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707880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8276610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1140199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4411615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90480017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9003055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8765281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45892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9408606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6621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275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3372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615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058978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04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8007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0977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8751764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56150099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6242068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431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49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014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727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340313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702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064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0859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1569400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4664796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4861183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2692420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71210932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5716658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99256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227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09433474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037878938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548002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0067608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607861"/>
      </p:ext>
    </p:extLst>
  </p:cSld>
  <p:clrMapOvr>
    <a:masterClrMapping/>
  </p:clrMapOvr>
  <p:transition spd="med"/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538303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873894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57977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308466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0659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19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940295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366586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57769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38388080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6186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347222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8384546"/>
      </p:ext>
    </p:extLst>
  </p:cSld>
  <p:clrMapOvr>
    <a:masterClrMapping/>
  </p:clrMapOvr>
  <p:transition spd="med"/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2364387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57247338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80709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925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0662437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5804116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299471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857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256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3113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98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749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8353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6937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475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059415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5050664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209362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9488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034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8818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772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893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3120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232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734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4076941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28592327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4563102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2401001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87100427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2609848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6498885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79832601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574754937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04149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5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5852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5489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7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9324544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28562"/>
      </p:ext>
    </p:extLst>
  </p:cSld>
  <p:clrMapOvr>
    <a:masterClrMapping/>
  </p:clrMapOvr>
  <p:transition spd="med"/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392783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887717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88550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621649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854506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497805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285872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78940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1405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71548823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548697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662500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8613417"/>
      </p:ext>
    </p:extLst>
  </p:cSld>
  <p:clrMapOvr>
    <a:masterClrMapping/>
  </p:clrMapOvr>
  <p:transition spd="med"/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2230166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49280108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8985276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77908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2197790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889877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5816466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8827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138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0517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154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69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4506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8531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5272836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00338450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34576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75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81979048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8004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527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5408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043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709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8838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4310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0401101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20089481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623285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87839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8885353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4276524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737240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8911264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05498296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764287103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9047785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5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8975543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82620"/>
      </p:ext>
    </p:extLst>
  </p:cSld>
  <p:clrMapOvr>
    <a:masterClrMapping/>
  </p:clrMapOvr>
  <p:transition spd="med"/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85416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540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152834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859268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01799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954828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123660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780016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388301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14957904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060778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7553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308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8511429"/>
      </p:ext>
    </p:extLst>
  </p:cSld>
  <p:clrMapOvr>
    <a:masterClrMapping/>
  </p:clrMapOvr>
  <p:transition spd="med"/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6800594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9808798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6475923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3382844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9107063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4837033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30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848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7666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54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687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72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795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905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8369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4335595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64773829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3630692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7274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235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659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54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7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9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441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897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020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969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3606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5960829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25713538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6687952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2189060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39699556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99161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8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6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750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7812668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790548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732242561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3044367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3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286945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890405"/>
      </p:ext>
    </p:extLst>
  </p:cSld>
  <p:clrMapOvr>
    <a:masterClrMapping/>
  </p:clrMapOvr>
  <p:transition spd="med"/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983537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031506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284848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8661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5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6819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3745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915691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400421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594101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438953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1260766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068976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769493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2977311"/>
      </p:ext>
    </p:extLst>
  </p:cSld>
  <p:clrMapOvr>
    <a:masterClrMapping/>
  </p:clrMapOvr>
  <p:transition spd="med"/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6714811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895509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94" y="1842601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8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8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3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6947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5929705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4618686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2702825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7813634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6875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440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025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447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856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3847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2093080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8663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4324555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72120860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5343412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344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971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7698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7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235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7042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67051196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0346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0594189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44221853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1478697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6320623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8388894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8902800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0103613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28140392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207761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4181230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5220682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528371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836901"/>
      </p:ext>
    </p:extLst>
  </p:cSld>
  <p:clrMapOvr>
    <a:masterClrMapping/>
  </p:clrMapOvr>
  <p:transition spd="med"/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795191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105038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178874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63457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197753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370557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4892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2172516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374254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65563446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195167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752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752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258728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Shape 309"/>
          <p:cNvSpPr>
            <a:spLocks noGrp="1"/>
          </p:cNvSpPr>
          <p:nvPr>
            <p:ph type="sldNum" sz="quarter" idx="2"/>
          </p:nvPr>
        </p:nvSpPr>
        <p:spPr>
          <a:xfrm>
            <a:off x="6289221" y="6221885"/>
            <a:ext cx="263980" cy="26923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9149958"/>
      </p:ext>
    </p:extLst>
  </p:cSld>
  <p:clrMapOvr>
    <a:masterClrMapping/>
  </p:clrMapOvr>
  <p:transition spd="med"/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6992724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41333448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298044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6184733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21509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26582888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6641290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0253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757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3898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461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375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82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467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033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5236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1116084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9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2992154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2544170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63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598985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7B898-2F4A-4F69-B6A0-F2E3244930A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64296" y="151971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956401" y="149704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1557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28581C-C9BD-431B-A8B4-8EDE8AAAACCD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600702" y="156314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62474" y="153816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3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0"/>
            <a:ext cx="3626386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861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A5DC8-9638-44B8-A32D-79E7923B7878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926991" y="1913849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4914902" y="1596043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628651" y="1539318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454" y="1919553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3433244" y="202315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6991" y="2507790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454" y="4099374"/>
            <a:ext cx="2912657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3433244" y="4132593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926991" y="4135165"/>
            <a:ext cx="3910726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3926991" y="4729097"/>
            <a:ext cx="3910726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300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C6989-55BC-4FAB-8AB8-A135FB1432B1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633785" y="1913849"/>
            <a:ext cx="4213450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5709359" y="1541042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021042" y="1522714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666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140038" y="2023157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4633785" y="2507789"/>
            <a:ext cx="4213450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382" y="309693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140038" y="3130148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3382" y="4275325"/>
            <a:ext cx="3626386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4140038" y="4307525"/>
            <a:ext cx="363474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494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A3B28-146A-4A56-A4DB-E747474E13E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83382" y="3645930"/>
            <a:ext cx="3057976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42637" y="3301524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88575" y="145596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383382" y="1919552"/>
            <a:ext cx="3057976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922863" y="3623803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682100" y="3279397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728035" y="1433839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922920" y="1919670"/>
            <a:ext cx="5085233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  <a:lvl4pPr>
              <a:defRPr/>
            </a:lvl4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6505914" y="3605052"/>
            <a:ext cx="2502671" cy="2076450"/>
          </a:xfrm>
          <a:solidFill>
            <a:srgbClr val="D2DA7A"/>
          </a:solidFill>
        </p:spPr>
        <p:txBody>
          <a:bodyPr/>
          <a:lstStyle>
            <a:lvl4pPr>
              <a:defRPr/>
            </a:lvl4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ё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15967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282798" y="2666349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7426071" y="2663497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410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22" y="1842479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E8CE0-BFDB-40B8-98E1-5787262B260C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455793" y="2873525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7577" y="1418411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830317" y="2772550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00022" y="3359316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00022" y="3953366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4885340" y="1816734"/>
            <a:ext cx="3145222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6215634" y="2746805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885340" y="3333567"/>
            <a:ext cx="3145222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885340" y="3927621"/>
            <a:ext cx="3145222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836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0088" y="1842596"/>
            <a:ext cx="7667795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7350" y="132418"/>
            <a:ext cx="78867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B91D-75D1-413A-9975-F5D514A53330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2511398" y="3104600"/>
            <a:ext cx="3434643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7D8525"/>
                </a:solidFill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2511397" y="1485176"/>
            <a:ext cx="34593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>
                <a:solidFill>
                  <a:srgbClr val="955E4B"/>
                </a:solidFill>
              </a:rPr>
              <a:t>Учебники, не включённые в ФПУ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082676" y="3393628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3804666" y="269178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665226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1518351" y="2669043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6674165" y="2694298"/>
            <a:ext cx="484632" cy="363474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4472C4">
                  <a:lumMod val="75000"/>
                </a:srgb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06091" y="3389851"/>
            <a:ext cx="2502671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3686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24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8597778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63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39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9284372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8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8502379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57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9914044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1711609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4" y="9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2578" tIns="32578" rIns="32578" bIns="32578" anchor="ctr"/>
          <a:lstStyle/>
          <a:p>
            <a:pPr defTabSz="648553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12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6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5158" tIns="32580" rIns="65158" bIns="3258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7120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796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54353340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1586549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15" y="0"/>
            <a:ext cx="9158933" cy="6858000"/>
            <a:chOff x="1" y="0"/>
            <a:chExt cx="10710863" cy="7561263"/>
          </a:xfrm>
        </p:grpSpPr>
        <p:pic>
          <p:nvPicPr>
            <p:cNvPr id="3" name="Рисунок 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0"/>
              <a:ext cx="10710863" cy="756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 userDrawn="1"/>
          </p:nvSpPr>
          <p:spPr>
            <a:xfrm>
              <a:off x="772567" y="6732959"/>
              <a:ext cx="1189757" cy="369332"/>
            </a:xfrm>
            <a:prstGeom prst="rect">
              <a:avLst/>
            </a:prstGeom>
            <a:solidFill>
              <a:srgbClr val="A4DAF2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0792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158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2376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317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3960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4755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4554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66337" algn="l" defTabSz="1041585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b="1" dirty="0" smtClean="0">
                  <a:solidFill>
                    <a:srgbClr val="4F81BD">
                      <a:lumMod val="75000"/>
                    </a:srgbClr>
                  </a:solidFill>
                  <a:sym typeface="Helvetica"/>
                </a:rPr>
                <a:t>2017</a:t>
              </a:r>
              <a:endParaRPr lang="ru-RU" b="1" dirty="0">
                <a:solidFill>
                  <a:srgbClr val="4F81BD">
                    <a:lumMod val="75000"/>
                  </a:srgbClr>
                </a:solidFill>
                <a:latin typeface="Textbook New Bold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4484485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1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1995804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6775" y="606328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45" y="54737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93" y="751604"/>
            <a:ext cx="1725359" cy="260613"/>
          </a:xfrm>
          <a:prstGeom prst="rect">
            <a:avLst/>
          </a:prstGeom>
        </p:spPr>
        <p:txBody>
          <a:bodyPr lIns="80007" tIns="40004" rIns="80007" bIns="4000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rgbClr val="FFFFFF">
                    <a:lumMod val="50000"/>
                  </a:srgbClr>
                </a:solidFill>
                <a:latin typeface="Trebuchet MS" pitchFamily="34" charset="0"/>
                <a:sym typeface="Helvetica"/>
              </a:rPr>
              <a:t>Начальное образование</a:t>
            </a:r>
            <a:endParaRPr lang="ru-RU" sz="1000" dirty="0">
              <a:solidFill>
                <a:srgbClr val="FFFFFF">
                  <a:lumMod val="50000"/>
                </a:srgbClr>
              </a:solidFill>
              <a:latin typeface="Trebuchet MS" pitchFamily="34" charset="0"/>
              <a:sym typeface="Helvetica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2316" y="228978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/>
          <p:cNvGrpSpPr/>
          <p:nvPr userDrawn="1"/>
        </p:nvGrpSpPr>
        <p:grpSpPr>
          <a:xfrm>
            <a:off x="8197880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411015946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15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445" tIns="43445" rIns="43445" bIns="43445" anchor="ctr"/>
          <a:lstStyle/>
          <a:p>
            <a:pPr defTabSz="86488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39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893" tIns="43447" rIns="86893" bIns="4344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61734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94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02219"/>
            <a:ext cx="9144000" cy="45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4896380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62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9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62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200" b="1" kern="0" baseline="0" noProof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="" xmlns:a16="http://schemas.microsoft.com/office/drawing/2014/main" id="{502DCD3E-688B-4163-B796-566F5536398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2926" y="843419"/>
            <a:ext cx="8115300" cy="246221"/>
          </a:xfrm>
        </p:spPr>
        <p:txBody>
          <a:bodyPr lIns="9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2507574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1" name="Shape 41"/>
          <p:cNvSpPr>
            <a:spLocks noGrp="1"/>
          </p:cNvSpPr>
          <p:nvPr>
            <p:ph type="body"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8" indent="-320038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" name="Shape 42"/>
          <p:cNvSpPr>
            <a:spLocks noGrp="1"/>
          </p:cNvSpPr>
          <p:nvPr>
            <p:ph type="sldNum" sz="quarter" idx="2"/>
          </p:nvPr>
        </p:nvSpPr>
        <p:spPr>
          <a:xfrm>
            <a:off x="8330542" y="6300793"/>
            <a:ext cx="303925" cy="30777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‹#›</a:t>
            </a:fld>
            <a:endParaRPr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78968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18" y="3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33405" tIns="33405" rIns="33405" bIns="33405" anchor="ctr"/>
          <a:lstStyle/>
          <a:p>
            <a:pPr defTabSz="665018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154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30" y="33120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66812" tIns="33407" rIns="66812" bIns="33407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58570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60" kern="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21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46523367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005743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332563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692886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177713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183870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285481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99444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825972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</a:pPr>
            <a:endParaRPr lang="en-US" sz="3200">
              <a:solidFill>
                <a:prstClr val="black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118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10790039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193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4.xml"/><Relationship Id="rId18" Type="http://schemas.openxmlformats.org/officeDocument/2006/relationships/slideLayout" Target="../slideLayouts/slideLayout379.xml"/><Relationship Id="rId26" Type="http://schemas.openxmlformats.org/officeDocument/2006/relationships/slideLayout" Target="../slideLayouts/slideLayout387.xml"/><Relationship Id="rId39" Type="http://schemas.openxmlformats.org/officeDocument/2006/relationships/slideLayout" Target="../slideLayouts/slideLayout400.xml"/><Relationship Id="rId3" Type="http://schemas.openxmlformats.org/officeDocument/2006/relationships/slideLayout" Target="../slideLayouts/slideLayout364.xml"/><Relationship Id="rId21" Type="http://schemas.openxmlformats.org/officeDocument/2006/relationships/slideLayout" Target="../slideLayouts/slideLayout382.xml"/><Relationship Id="rId34" Type="http://schemas.openxmlformats.org/officeDocument/2006/relationships/slideLayout" Target="../slideLayouts/slideLayout395.xml"/><Relationship Id="rId42" Type="http://schemas.openxmlformats.org/officeDocument/2006/relationships/slideLayout" Target="../slideLayouts/slideLayout403.xml"/><Relationship Id="rId47" Type="http://schemas.openxmlformats.org/officeDocument/2006/relationships/slideLayout" Target="../slideLayouts/slideLayout408.xml"/><Relationship Id="rId50" Type="http://schemas.openxmlformats.org/officeDocument/2006/relationships/tags" Target="../tags/tag21.xml"/><Relationship Id="rId7" Type="http://schemas.openxmlformats.org/officeDocument/2006/relationships/slideLayout" Target="../slideLayouts/slideLayout368.xml"/><Relationship Id="rId12" Type="http://schemas.openxmlformats.org/officeDocument/2006/relationships/slideLayout" Target="../slideLayouts/slideLayout373.xml"/><Relationship Id="rId17" Type="http://schemas.openxmlformats.org/officeDocument/2006/relationships/slideLayout" Target="../slideLayouts/slideLayout378.xml"/><Relationship Id="rId25" Type="http://schemas.openxmlformats.org/officeDocument/2006/relationships/slideLayout" Target="../slideLayouts/slideLayout386.xml"/><Relationship Id="rId33" Type="http://schemas.openxmlformats.org/officeDocument/2006/relationships/slideLayout" Target="../slideLayouts/slideLayout394.xml"/><Relationship Id="rId38" Type="http://schemas.openxmlformats.org/officeDocument/2006/relationships/slideLayout" Target="../slideLayouts/slideLayout399.xml"/><Relationship Id="rId46" Type="http://schemas.openxmlformats.org/officeDocument/2006/relationships/slideLayout" Target="../slideLayouts/slideLayout407.xml"/><Relationship Id="rId2" Type="http://schemas.openxmlformats.org/officeDocument/2006/relationships/slideLayout" Target="../slideLayouts/slideLayout363.xml"/><Relationship Id="rId16" Type="http://schemas.openxmlformats.org/officeDocument/2006/relationships/slideLayout" Target="../slideLayouts/slideLayout377.xml"/><Relationship Id="rId20" Type="http://schemas.openxmlformats.org/officeDocument/2006/relationships/slideLayout" Target="../slideLayouts/slideLayout381.xml"/><Relationship Id="rId29" Type="http://schemas.openxmlformats.org/officeDocument/2006/relationships/slideLayout" Target="../slideLayouts/slideLayout390.xml"/><Relationship Id="rId41" Type="http://schemas.openxmlformats.org/officeDocument/2006/relationships/slideLayout" Target="../slideLayouts/slideLayout402.xml"/><Relationship Id="rId1" Type="http://schemas.openxmlformats.org/officeDocument/2006/relationships/slideLayout" Target="../slideLayouts/slideLayout362.xml"/><Relationship Id="rId6" Type="http://schemas.openxmlformats.org/officeDocument/2006/relationships/slideLayout" Target="../slideLayouts/slideLayout367.xml"/><Relationship Id="rId11" Type="http://schemas.openxmlformats.org/officeDocument/2006/relationships/slideLayout" Target="../slideLayouts/slideLayout372.xml"/><Relationship Id="rId24" Type="http://schemas.openxmlformats.org/officeDocument/2006/relationships/slideLayout" Target="../slideLayouts/slideLayout385.xml"/><Relationship Id="rId32" Type="http://schemas.openxmlformats.org/officeDocument/2006/relationships/slideLayout" Target="../slideLayouts/slideLayout393.xml"/><Relationship Id="rId37" Type="http://schemas.openxmlformats.org/officeDocument/2006/relationships/slideLayout" Target="../slideLayouts/slideLayout398.xml"/><Relationship Id="rId40" Type="http://schemas.openxmlformats.org/officeDocument/2006/relationships/slideLayout" Target="../slideLayouts/slideLayout401.xml"/><Relationship Id="rId45" Type="http://schemas.openxmlformats.org/officeDocument/2006/relationships/slideLayout" Target="../slideLayouts/slideLayout406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366.xml"/><Relationship Id="rId15" Type="http://schemas.openxmlformats.org/officeDocument/2006/relationships/slideLayout" Target="../slideLayouts/slideLayout376.xml"/><Relationship Id="rId23" Type="http://schemas.openxmlformats.org/officeDocument/2006/relationships/slideLayout" Target="../slideLayouts/slideLayout384.xml"/><Relationship Id="rId28" Type="http://schemas.openxmlformats.org/officeDocument/2006/relationships/slideLayout" Target="../slideLayouts/slideLayout389.xml"/><Relationship Id="rId36" Type="http://schemas.openxmlformats.org/officeDocument/2006/relationships/slideLayout" Target="../slideLayouts/slideLayout397.xml"/><Relationship Id="rId49" Type="http://schemas.openxmlformats.org/officeDocument/2006/relationships/vmlDrawing" Target="../drawings/vmlDrawing13.vml"/><Relationship Id="rId10" Type="http://schemas.openxmlformats.org/officeDocument/2006/relationships/slideLayout" Target="../slideLayouts/slideLayout371.xml"/><Relationship Id="rId19" Type="http://schemas.openxmlformats.org/officeDocument/2006/relationships/slideLayout" Target="../slideLayouts/slideLayout380.xml"/><Relationship Id="rId31" Type="http://schemas.openxmlformats.org/officeDocument/2006/relationships/slideLayout" Target="../slideLayouts/slideLayout392.xml"/><Relationship Id="rId44" Type="http://schemas.openxmlformats.org/officeDocument/2006/relationships/slideLayout" Target="../slideLayouts/slideLayout405.xml"/><Relationship Id="rId52" Type="http://schemas.openxmlformats.org/officeDocument/2006/relationships/oleObject" Target="../embeddings/oleObject13.bin"/><Relationship Id="rId4" Type="http://schemas.openxmlformats.org/officeDocument/2006/relationships/slideLayout" Target="../slideLayouts/slideLayout365.xml"/><Relationship Id="rId9" Type="http://schemas.openxmlformats.org/officeDocument/2006/relationships/slideLayout" Target="../slideLayouts/slideLayout370.xml"/><Relationship Id="rId14" Type="http://schemas.openxmlformats.org/officeDocument/2006/relationships/slideLayout" Target="../slideLayouts/slideLayout375.xml"/><Relationship Id="rId22" Type="http://schemas.openxmlformats.org/officeDocument/2006/relationships/slideLayout" Target="../slideLayouts/slideLayout383.xml"/><Relationship Id="rId27" Type="http://schemas.openxmlformats.org/officeDocument/2006/relationships/slideLayout" Target="../slideLayouts/slideLayout388.xml"/><Relationship Id="rId30" Type="http://schemas.openxmlformats.org/officeDocument/2006/relationships/slideLayout" Target="../slideLayouts/slideLayout391.xml"/><Relationship Id="rId35" Type="http://schemas.openxmlformats.org/officeDocument/2006/relationships/slideLayout" Target="../slideLayouts/slideLayout396.xml"/><Relationship Id="rId43" Type="http://schemas.openxmlformats.org/officeDocument/2006/relationships/slideLayout" Target="../slideLayouts/slideLayout404.xml"/><Relationship Id="rId48" Type="http://schemas.openxmlformats.org/officeDocument/2006/relationships/theme" Target="../theme/theme10.xml"/><Relationship Id="rId8" Type="http://schemas.openxmlformats.org/officeDocument/2006/relationships/slideLayout" Target="../slideLayouts/slideLayout369.xml"/><Relationship Id="rId51" Type="http://schemas.openxmlformats.org/officeDocument/2006/relationships/tags" Target="../tags/tag22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1.xml"/><Relationship Id="rId18" Type="http://schemas.openxmlformats.org/officeDocument/2006/relationships/slideLayout" Target="../slideLayouts/slideLayout426.xml"/><Relationship Id="rId26" Type="http://schemas.openxmlformats.org/officeDocument/2006/relationships/slideLayout" Target="../slideLayouts/slideLayout434.xml"/><Relationship Id="rId39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411.xml"/><Relationship Id="rId21" Type="http://schemas.openxmlformats.org/officeDocument/2006/relationships/slideLayout" Target="../slideLayouts/slideLayout429.xml"/><Relationship Id="rId34" Type="http://schemas.openxmlformats.org/officeDocument/2006/relationships/slideLayout" Target="../slideLayouts/slideLayout442.xml"/><Relationship Id="rId42" Type="http://schemas.openxmlformats.org/officeDocument/2006/relationships/slideLayout" Target="../slideLayouts/slideLayout450.xml"/><Relationship Id="rId47" Type="http://schemas.openxmlformats.org/officeDocument/2006/relationships/slideLayout" Target="../slideLayouts/slideLayout455.xml"/><Relationship Id="rId50" Type="http://schemas.openxmlformats.org/officeDocument/2006/relationships/tags" Target="../tags/tag24.xml"/><Relationship Id="rId7" Type="http://schemas.openxmlformats.org/officeDocument/2006/relationships/slideLayout" Target="../slideLayouts/slideLayout415.xml"/><Relationship Id="rId12" Type="http://schemas.openxmlformats.org/officeDocument/2006/relationships/slideLayout" Target="../slideLayouts/slideLayout420.xml"/><Relationship Id="rId17" Type="http://schemas.openxmlformats.org/officeDocument/2006/relationships/slideLayout" Target="../slideLayouts/slideLayout425.xml"/><Relationship Id="rId25" Type="http://schemas.openxmlformats.org/officeDocument/2006/relationships/slideLayout" Target="../slideLayouts/slideLayout433.xml"/><Relationship Id="rId33" Type="http://schemas.openxmlformats.org/officeDocument/2006/relationships/slideLayout" Target="../slideLayouts/slideLayout441.xml"/><Relationship Id="rId38" Type="http://schemas.openxmlformats.org/officeDocument/2006/relationships/slideLayout" Target="../slideLayouts/slideLayout446.xml"/><Relationship Id="rId46" Type="http://schemas.openxmlformats.org/officeDocument/2006/relationships/slideLayout" Target="../slideLayouts/slideLayout454.xml"/><Relationship Id="rId2" Type="http://schemas.openxmlformats.org/officeDocument/2006/relationships/slideLayout" Target="../slideLayouts/slideLayout410.xml"/><Relationship Id="rId16" Type="http://schemas.openxmlformats.org/officeDocument/2006/relationships/slideLayout" Target="../slideLayouts/slideLayout424.xml"/><Relationship Id="rId20" Type="http://schemas.openxmlformats.org/officeDocument/2006/relationships/slideLayout" Target="../slideLayouts/slideLayout428.xml"/><Relationship Id="rId29" Type="http://schemas.openxmlformats.org/officeDocument/2006/relationships/slideLayout" Target="../slideLayouts/slideLayout437.xml"/><Relationship Id="rId41" Type="http://schemas.openxmlformats.org/officeDocument/2006/relationships/slideLayout" Target="../slideLayouts/slideLayout449.xml"/><Relationship Id="rId1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419.xml"/><Relationship Id="rId24" Type="http://schemas.openxmlformats.org/officeDocument/2006/relationships/slideLayout" Target="../slideLayouts/slideLayout432.xml"/><Relationship Id="rId32" Type="http://schemas.openxmlformats.org/officeDocument/2006/relationships/slideLayout" Target="../slideLayouts/slideLayout440.xml"/><Relationship Id="rId37" Type="http://schemas.openxmlformats.org/officeDocument/2006/relationships/slideLayout" Target="../slideLayouts/slideLayout445.xml"/><Relationship Id="rId40" Type="http://schemas.openxmlformats.org/officeDocument/2006/relationships/slideLayout" Target="../slideLayouts/slideLayout448.xml"/><Relationship Id="rId45" Type="http://schemas.openxmlformats.org/officeDocument/2006/relationships/slideLayout" Target="../slideLayouts/slideLayout453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413.xml"/><Relationship Id="rId15" Type="http://schemas.openxmlformats.org/officeDocument/2006/relationships/slideLayout" Target="../slideLayouts/slideLayout423.xml"/><Relationship Id="rId23" Type="http://schemas.openxmlformats.org/officeDocument/2006/relationships/slideLayout" Target="../slideLayouts/slideLayout431.xml"/><Relationship Id="rId28" Type="http://schemas.openxmlformats.org/officeDocument/2006/relationships/slideLayout" Target="../slideLayouts/slideLayout436.xml"/><Relationship Id="rId36" Type="http://schemas.openxmlformats.org/officeDocument/2006/relationships/slideLayout" Target="../slideLayouts/slideLayout444.xml"/><Relationship Id="rId49" Type="http://schemas.openxmlformats.org/officeDocument/2006/relationships/vmlDrawing" Target="../drawings/vmlDrawing15.vml"/><Relationship Id="rId10" Type="http://schemas.openxmlformats.org/officeDocument/2006/relationships/slideLayout" Target="../slideLayouts/slideLayout418.xml"/><Relationship Id="rId19" Type="http://schemas.openxmlformats.org/officeDocument/2006/relationships/slideLayout" Target="../slideLayouts/slideLayout427.xml"/><Relationship Id="rId31" Type="http://schemas.openxmlformats.org/officeDocument/2006/relationships/slideLayout" Target="../slideLayouts/slideLayout439.xml"/><Relationship Id="rId44" Type="http://schemas.openxmlformats.org/officeDocument/2006/relationships/slideLayout" Target="../slideLayouts/slideLayout452.xml"/><Relationship Id="rId52" Type="http://schemas.openxmlformats.org/officeDocument/2006/relationships/oleObject" Target="../embeddings/oleObject15.bin"/><Relationship Id="rId4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417.xml"/><Relationship Id="rId14" Type="http://schemas.openxmlformats.org/officeDocument/2006/relationships/slideLayout" Target="../slideLayouts/slideLayout422.xml"/><Relationship Id="rId22" Type="http://schemas.openxmlformats.org/officeDocument/2006/relationships/slideLayout" Target="../slideLayouts/slideLayout430.xml"/><Relationship Id="rId27" Type="http://schemas.openxmlformats.org/officeDocument/2006/relationships/slideLayout" Target="../slideLayouts/slideLayout435.xml"/><Relationship Id="rId30" Type="http://schemas.openxmlformats.org/officeDocument/2006/relationships/slideLayout" Target="../slideLayouts/slideLayout438.xml"/><Relationship Id="rId35" Type="http://schemas.openxmlformats.org/officeDocument/2006/relationships/slideLayout" Target="../slideLayouts/slideLayout443.xml"/><Relationship Id="rId43" Type="http://schemas.openxmlformats.org/officeDocument/2006/relationships/slideLayout" Target="../slideLayouts/slideLayout451.xml"/><Relationship Id="rId48" Type="http://schemas.openxmlformats.org/officeDocument/2006/relationships/theme" Target="../theme/theme11.xml"/><Relationship Id="rId8" Type="http://schemas.openxmlformats.org/officeDocument/2006/relationships/slideLayout" Target="../slideLayouts/slideLayout416.xml"/><Relationship Id="rId51" Type="http://schemas.openxmlformats.org/officeDocument/2006/relationships/tags" Target="../tags/tag2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3.xml"/><Relationship Id="rId13" Type="http://schemas.openxmlformats.org/officeDocument/2006/relationships/slideLayout" Target="../slideLayouts/slideLayout468.xml"/><Relationship Id="rId18" Type="http://schemas.openxmlformats.org/officeDocument/2006/relationships/slideLayout" Target="../slideLayouts/slideLayout473.xml"/><Relationship Id="rId3" Type="http://schemas.openxmlformats.org/officeDocument/2006/relationships/slideLayout" Target="../slideLayouts/slideLayout458.xml"/><Relationship Id="rId7" Type="http://schemas.openxmlformats.org/officeDocument/2006/relationships/slideLayout" Target="../slideLayouts/slideLayout462.xml"/><Relationship Id="rId12" Type="http://schemas.openxmlformats.org/officeDocument/2006/relationships/slideLayout" Target="../slideLayouts/slideLayout467.xml"/><Relationship Id="rId17" Type="http://schemas.openxmlformats.org/officeDocument/2006/relationships/slideLayout" Target="../slideLayouts/slideLayout472.xml"/><Relationship Id="rId2" Type="http://schemas.openxmlformats.org/officeDocument/2006/relationships/slideLayout" Target="../slideLayouts/slideLayout457.xml"/><Relationship Id="rId16" Type="http://schemas.openxmlformats.org/officeDocument/2006/relationships/slideLayout" Target="../slideLayouts/slideLayout471.xml"/><Relationship Id="rId20" Type="http://schemas.openxmlformats.org/officeDocument/2006/relationships/image" Target="../media/image12.png"/><Relationship Id="rId1" Type="http://schemas.openxmlformats.org/officeDocument/2006/relationships/slideLayout" Target="../slideLayouts/slideLayout456.xml"/><Relationship Id="rId6" Type="http://schemas.openxmlformats.org/officeDocument/2006/relationships/slideLayout" Target="../slideLayouts/slideLayout461.xml"/><Relationship Id="rId11" Type="http://schemas.openxmlformats.org/officeDocument/2006/relationships/slideLayout" Target="../slideLayouts/slideLayout466.xml"/><Relationship Id="rId5" Type="http://schemas.openxmlformats.org/officeDocument/2006/relationships/slideLayout" Target="../slideLayouts/slideLayout460.xml"/><Relationship Id="rId15" Type="http://schemas.openxmlformats.org/officeDocument/2006/relationships/slideLayout" Target="../slideLayouts/slideLayout470.xml"/><Relationship Id="rId10" Type="http://schemas.openxmlformats.org/officeDocument/2006/relationships/slideLayout" Target="../slideLayouts/slideLayout465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459.xml"/><Relationship Id="rId9" Type="http://schemas.openxmlformats.org/officeDocument/2006/relationships/slideLayout" Target="../slideLayouts/slideLayout464.xml"/><Relationship Id="rId14" Type="http://schemas.openxmlformats.org/officeDocument/2006/relationships/slideLayout" Target="../slideLayouts/slideLayout469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6.xml"/><Relationship Id="rId18" Type="http://schemas.openxmlformats.org/officeDocument/2006/relationships/slideLayout" Target="../slideLayouts/slideLayout491.xml"/><Relationship Id="rId26" Type="http://schemas.openxmlformats.org/officeDocument/2006/relationships/slideLayout" Target="../slideLayouts/slideLayout499.xml"/><Relationship Id="rId39" Type="http://schemas.openxmlformats.org/officeDocument/2006/relationships/slideLayout" Target="../slideLayouts/slideLayout512.xml"/><Relationship Id="rId3" Type="http://schemas.openxmlformats.org/officeDocument/2006/relationships/slideLayout" Target="../slideLayouts/slideLayout476.xml"/><Relationship Id="rId21" Type="http://schemas.openxmlformats.org/officeDocument/2006/relationships/slideLayout" Target="../slideLayouts/slideLayout494.xml"/><Relationship Id="rId34" Type="http://schemas.openxmlformats.org/officeDocument/2006/relationships/slideLayout" Target="../slideLayouts/slideLayout507.xml"/><Relationship Id="rId42" Type="http://schemas.openxmlformats.org/officeDocument/2006/relationships/slideLayout" Target="../slideLayouts/slideLayout515.xml"/><Relationship Id="rId47" Type="http://schemas.openxmlformats.org/officeDocument/2006/relationships/slideLayout" Target="../slideLayouts/slideLayout520.xml"/><Relationship Id="rId50" Type="http://schemas.openxmlformats.org/officeDocument/2006/relationships/tags" Target="../tags/tag27.xml"/><Relationship Id="rId7" Type="http://schemas.openxmlformats.org/officeDocument/2006/relationships/slideLayout" Target="../slideLayouts/slideLayout480.xml"/><Relationship Id="rId12" Type="http://schemas.openxmlformats.org/officeDocument/2006/relationships/slideLayout" Target="../slideLayouts/slideLayout485.xml"/><Relationship Id="rId17" Type="http://schemas.openxmlformats.org/officeDocument/2006/relationships/slideLayout" Target="../slideLayouts/slideLayout490.xml"/><Relationship Id="rId25" Type="http://schemas.openxmlformats.org/officeDocument/2006/relationships/slideLayout" Target="../slideLayouts/slideLayout498.xml"/><Relationship Id="rId33" Type="http://schemas.openxmlformats.org/officeDocument/2006/relationships/slideLayout" Target="../slideLayouts/slideLayout506.xml"/><Relationship Id="rId38" Type="http://schemas.openxmlformats.org/officeDocument/2006/relationships/slideLayout" Target="../slideLayouts/slideLayout511.xml"/><Relationship Id="rId46" Type="http://schemas.openxmlformats.org/officeDocument/2006/relationships/slideLayout" Target="../slideLayouts/slideLayout519.xml"/><Relationship Id="rId2" Type="http://schemas.openxmlformats.org/officeDocument/2006/relationships/slideLayout" Target="../slideLayouts/slideLayout475.xml"/><Relationship Id="rId16" Type="http://schemas.openxmlformats.org/officeDocument/2006/relationships/slideLayout" Target="../slideLayouts/slideLayout489.xml"/><Relationship Id="rId20" Type="http://schemas.openxmlformats.org/officeDocument/2006/relationships/slideLayout" Target="../slideLayouts/slideLayout493.xml"/><Relationship Id="rId29" Type="http://schemas.openxmlformats.org/officeDocument/2006/relationships/slideLayout" Target="../slideLayouts/slideLayout502.xml"/><Relationship Id="rId41" Type="http://schemas.openxmlformats.org/officeDocument/2006/relationships/slideLayout" Target="../slideLayouts/slideLayout514.xml"/><Relationship Id="rId1" Type="http://schemas.openxmlformats.org/officeDocument/2006/relationships/slideLayout" Target="../slideLayouts/slideLayout474.xml"/><Relationship Id="rId6" Type="http://schemas.openxmlformats.org/officeDocument/2006/relationships/slideLayout" Target="../slideLayouts/slideLayout479.xml"/><Relationship Id="rId11" Type="http://schemas.openxmlformats.org/officeDocument/2006/relationships/slideLayout" Target="../slideLayouts/slideLayout484.xml"/><Relationship Id="rId24" Type="http://schemas.openxmlformats.org/officeDocument/2006/relationships/slideLayout" Target="../slideLayouts/slideLayout497.xml"/><Relationship Id="rId32" Type="http://schemas.openxmlformats.org/officeDocument/2006/relationships/slideLayout" Target="../slideLayouts/slideLayout505.xml"/><Relationship Id="rId37" Type="http://schemas.openxmlformats.org/officeDocument/2006/relationships/slideLayout" Target="../slideLayouts/slideLayout510.xml"/><Relationship Id="rId40" Type="http://schemas.openxmlformats.org/officeDocument/2006/relationships/slideLayout" Target="../slideLayouts/slideLayout513.xml"/><Relationship Id="rId45" Type="http://schemas.openxmlformats.org/officeDocument/2006/relationships/slideLayout" Target="../slideLayouts/slideLayout518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478.xml"/><Relationship Id="rId15" Type="http://schemas.openxmlformats.org/officeDocument/2006/relationships/slideLayout" Target="../slideLayouts/slideLayout488.xml"/><Relationship Id="rId23" Type="http://schemas.openxmlformats.org/officeDocument/2006/relationships/slideLayout" Target="../slideLayouts/slideLayout496.xml"/><Relationship Id="rId28" Type="http://schemas.openxmlformats.org/officeDocument/2006/relationships/slideLayout" Target="../slideLayouts/slideLayout501.xml"/><Relationship Id="rId36" Type="http://schemas.openxmlformats.org/officeDocument/2006/relationships/slideLayout" Target="../slideLayouts/slideLayout509.xml"/><Relationship Id="rId49" Type="http://schemas.openxmlformats.org/officeDocument/2006/relationships/vmlDrawing" Target="../drawings/vmlDrawing17.vml"/><Relationship Id="rId10" Type="http://schemas.openxmlformats.org/officeDocument/2006/relationships/slideLayout" Target="../slideLayouts/slideLayout483.xml"/><Relationship Id="rId19" Type="http://schemas.openxmlformats.org/officeDocument/2006/relationships/slideLayout" Target="../slideLayouts/slideLayout492.xml"/><Relationship Id="rId31" Type="http://schemas.openxmlformats.org/officeDocument/2006/relationships/slideLayout" Target="../slideLayouts/slideLayout504.xml"/><Relationship Id="rId44" Type="http://schemas.openxmlformats.org/officeDocument/2006/relationships/slideLayout" Target="../slideLayouts/slideLayout517.xml"/><Relationship Id="rId52" Type="http://schemas.openxmlformats.org/officeDocument/2006/relationships/oleObject" Target="../embeddings/oleObject17.bin"/><Relationship Id="rId4" Type="http://schemas.openxmlformats.org/officeDocument/2006/relationships/slideLayout" Target="../slideLayouts/slideLayout477.xml"/><Relationship Id="rId9" Type="http://schemas.openxmlformats.org/officeDocument/2006/relationships/slideLayout" Target="../slideLayouts/slideLayout482.xml"/><Relationship Id="rId14" Type="http://schemas.openxmlformats.org/officeDocument/2006/relationships/slideLayout" Target="../slideLayouts/slideLayout487.xml"/><Relationship Id="rId22" Type="http://schemas.openxmlformats.org/officeDocument/2006/relationships/slideLayout" Target="../slideLayouts/slideLayout495.xml"/><Relationship Id="rId27" Type="http://schemas.openxmlformats.org/officeDocument/2006/relationships/slideLayout" Target="../slideLayouts/slideLayout500.xml"/><Relationship Id="rId30" Type="http://schemas.openxmlformats.org/officeDocument/2006/relationships/slideLayout" Target="../slideLayouts/slideLayout503.xml"/><Relationship Id="rId35" Type="http://schemas.openxmlformats.org/officeDocument/2006/relationships/slideLayout" Target="../slideLayouts/slideLayout508.xml"/><Relationship Id="rId43" Type="http://schemas.openxmlformats.org/officeDocument/2006/relationships/slideLayout" Target="../slideLayouts/slideLayout516.xml"/><Relationship Id="rId48" Type="http://schemas.openxmlformats.org/officeDocument/2006/relationships/theme" Target="../theme/theme13.xml"/><Relationship Id="rId8" Type="http://schemas.openxmlformats.org/officeDocument/2006/relationships/slideLayout" Target="../slideLayouts/slideLayout481.xml"/><Relationship Id="rId51" Type="http://schemas.openxmlformats.org/officeDocument/2006/relationships/tags" Target="../tags/tag28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3.xml"/><Relationship Id="rId18" Type="http://schemas.openxmlformats.org/officeDocument/2006/relationships/slideLayout" Target="../slideLayouts/slideLayout538.xml"/><Relationship Id="rId26" Type="http://schemas.openxmlformats.org/officeDocument/2006/relationships/slideLayout" Target="../slideLayouts/slideLayout546.xml"/><Relationship Id="rId39" Type="http://schemas.openxmlformats.org/officeDocument/2006/relationships/slideLayout" Target="../slideLayouts/slideLayout559.xml"/><Relationship Id="rId21" Type="http://schemas.openxmlformats.org/officeDocument/2006/relationships/slideLayout" Target="../slideLayouts/slideLayout541.xml"/><Relationship Id="rId34" Type="http://schemas.openxmlformats.org/officeDocument/2006/relationships/slideLayout" Target="../slideLayouts/slideLayout554.xml"/><Relationship Id="rId42" Type="http://schemas.openxmlformats.org/officeDocument/2006/relationships/slideLayout" Target="../slideLayouts/slideLayout562.xml"/><Relationship Id="rId47" Type="http://schemas.openxmlformats.org/officeDocument/2006/relationships/slideLayout" Target="../slideLayouts/slideLayout567.xml"/><Relationship Id="rId50" Type="http://schemas.openxmlformats.org/officeDocument/2006/relationships/slideLayout" Target="../slideLayouts/slideLayout570.xml"/><Relationship Id="rId55" Type="http://schemas.openxmlformats.org/officeDocument/2006/relationships/theme" Target="../theme/theme14.xml"/><Relationship Id="rId7" Type="http://schemas.openxmlformats.org/officeDocument/2006/relationships/slideLayout" Target="../slideLayouts/slideLayout527.xml"/><Relationship Id="rId12" Type="http://schemas.openxmlformats.org/officeDocument/2006/relationships/slideLayout" Target="../slideLayouts/slideLayout532.xml"/><Relationship Id="rId17" Type="http://schemas.openxmlformats.org/officeDocument/2006/relationships/slideLayout" Target="../slideLayouts/slideLayout537.xml"/><Relationship Id="rId25" Type="http://schemas.openxmlformats.org/officeDocument/2006/relationships/slideLayout" Target="../slideLayouts/slideLayout545.xml"/><Relationship Id="rId33" Type="http://schemas.openxmlformats.org/officeDocument/2006/relationships/slideLayout" Target="../slideLayouts/slideLayout553.xml"/><Relationship Id="rId38" Type="http://schemas.openxmlformats.org/officeDocument/2006/relationships/slideLayout" Target="../slideLayouts/slideLayout558.xml"/><Relationship Id="rId46" Type="http://schemas.openxmlformats.org/officeDocument/2006/relationships/slideLayout" Target="../slideLayouts/slideLayout566.xml"/><Relationship Id="rId59" Type="http://schemas.openxmlformats.org/officeDocument/2006/relationships/oleObject" Target="../embeddings/oleObject19.bin"/><Relationship Id="rId2" Type="http://schemas.openxmlformats.org/officeDocument/2006/relationships/slideLayout" Target="../slideLayouts/slideLayout522.xml"/><Relationship Id="rId16" Type="http://schemas.openxmlformats.org/officeDocument/2006/relationships/slideLayout" Target="../slideLayouts/slideLayout536.xml"/><Relationship Id="rId20" Type="http://schemas.openxmlformats.org/officeDocument/2006/relationships/slideLayout" Target="../slideLayouts/slideLayout540.xml"/><Relationship Id="rId29" Type="http://schemas.openxmlformats.org/officeDocument/2006/relationships/slideLayout" Target="../slideLayouts/slideLayout549.xml"/><Relationship Id="rId41" Type="http://schemas.openxmlformats.org/officeDocument/2006/relationships/slideLayout" Target="../slideLayouts/slideLayout561.xml"/><Relationship Id="rId54" Type="http://schemas.openxmlformats.org/officeDocument/2006/relationships/slideLayout" Target="../slideLayouts/slideLayout574.xml"/><Relationship Id="rId1" Type="http://schemas.openxmlformats.org/officeDocument/2006/relationships/slideLayout" Target="../slideLayouts/slideLayout521.xml"/><Relationship Id="rId6" Type="http://schemas.openxmlformats.org/officeDocument/2006/relationships/slideLayout" Target="../slideLayouts/slideLayout526.xml"/><Relationship Id="rId11" Type="http://schemas.openxmlformats.org/officeDocument/2006/relationships/slideLayout" Target="../slideLayouts/slideLayout531.xml"/><Relationship Id="rId24" Type="http://schemas.openxmlformats.org/officeDocument/2006/relationships/slideLayout" Target="../slideLayouts/slideLayout544.xml"/><Relationship Id="rId32" Type="http://schemas.openxmlformats.org/officeDocument/2006/relationships/slideLayout" Target="../slideLayouts/slideLayout552.xml"/><Relationship Id="rId37" Type="http://schemas.openxmlformats.org/officeDocument/2006/relationships/slideLayout" Target="../slideLayouts/slideLayout557.xml"/><Relationship Id="rId40" Type="http://schemas.openxmlformats.org/officeDocument/2006/relationships/slideLayout" Target="../slideLayouts/slideLayout560.xml"/><Relationship Id="rId45" Type="http://schemas.openxmlformats.org/officeDocument/2006/relationships/slideLayout" Target="../slideLayouts/slideLayout565.xml"/><Relationship Id="rId53" Type="http://schemas.openxmlformats.org/officeDocument/2006/relationships/slideLayout" Target="../slideLayouts/slideLayout573.xml"/><Relationship Id="rId58" Type="http://schemas.openxmlformats.org/officeDocument/2006/relationships/tags" Target="../tags/tag31.xml"/><Relationship Id="rId5" Type="http://schemas.openxmlformats.org/officeDocument/2006/relationships/slideLayout" Target="../slideLayouts/slideLayout525.xml"/><Relationship Id="rId15" Type="http://schemas.openxmlformats.org/officeDocument/2006/relationships/slideLayout" Target="../slideLayouts/slideLayout535.xml"/><Relationship Id="rId23" Type="http://schemas.openxmlformats.org/officeDocument/2006/relationships/slideLayout" Target="../slideLayouts/slideLayout543.xml"/><Relationship Id="rId28" Type="http://schemas.openxmlformats.org/officeDocument/2006/relationships/slideLayout" Target="../slideLayouts/slideLayout548.xml"/><Relationship Id="rId36" Type="http://schemas.openxmlformats.org/officeDocument/2006/relationships/slideLayout" Target="../slideLayouts/slideLayout556.xml"/><Relationship Id="rId49" Type="http://schemas.openxmlformats.org/officeDocument/2006/relationships/slideLayout" Target="../slideLayouts/slideLayout569.xml"/><Relationship Id="rId57" Type="http://schemas.openxmlformats.org/officeDocument/2006/relationships/tags" Target="../tags/tag30.xml"/><Relationship Id="rId10" Type="http://schemas.openxmlformats.org/officeDocument/2006/relationships/slideLayout" Target="../slideLayouts/slideLayout530.xml"/><Relationship Id="rId19" Type="http://schemas.openxmlformats.org/officeDocument/2006/relationships/slideLayout" Target="../slideLayouts/slideLayout539.xml"/><Relationship Id="rId31" Type="http://schemas.openxmlformats.org/officeDocument/2006/relationships/slideLayout" Target="../slideLayouts/slideLayout551.xml"/><Relationship Id="rId44" Type="http://schemas.openxmlformats.org/officeDocument/2006/relationships/slideLayout" Target="../slideLayouts/slideLayout564.xml"/><Relationship Id="rId52" Type="http://schemas.openxmlformats.org/officeDocument/2006/relationships/slideLayout" Target="../slideLayouts/slideLayout572.xml"/><Relationship Id="rId60" Type="http://schemas.openxmlformats.org/officeDocument/2006/relationships/image" Target="../media/image1.emf"/><Relationship Id="rId4" Type="http://schemas.openxmlformats.org/officeDocument/2006/relationships/slideLayout" Target="../slideLayouts/slideLayout524.xml"/><Relationship Id="rId9" Type="http://schemas.openxmlformats.org/officeDocument/2006/relationships/slideLayout" Target="../slideLayouts/slideLayout529.xml"/><Relationship Id="rId14" Type="http://schemas.openxmlformats.org/officeDocument/2006/relationships/slideLayout" Target="../slideLayouts/slideLayout534.xml"/><Relationship Id="rId22" Type="http://schemas.openxmlformats.org/officeDocument/2006/relationships/slideLayout" Target="../slideLayouts/slideLayout542.xml"/><Relationship Id="rId27" Type="http://schemas.openxmlformats.org/officeDocument/2006/relationships/slideLayout" Target="../slideLayouts/slideLayout547.xml"/><Relationship Id="rId30" Type="http://schemas.openxmlformats.org/officeDocument/2006/relationships/slideLayout" Target="../slideLayouts/slideLayout550.xml"/><Relationship Id="rId35" Type="http://schemas.openxmlformats.org/officeDocument/2006/relationships/slideLayout" Target="../slideLayouts/slideLayout555.xml"/><Relationship Id="rId43" Type="http://schemas.openxmlformats.org/officeDocument/2006/relationships/slideLayout" Target="../slideLayouts/slideLayout563.xml"/><Relationship Id="rId48" Type="http://schemas.openxmlformats.org/officeDocument/2006/relationships/slideLayout" Target="../slideLayouts/slideLayout568.xml"/><Relationship Id="rId56" Type="http://schemas.openxmlformats.org/officeDocument/2006/relationships/vmlDrawing" Target="../drawings/vmlDrawing19.vml"/><Relationship Id="rId8" Type="http://schemas.openxmlformats.org/officeDocument/2006/relationships/slideLayout" Target="../slideLayouts/slideLayout528.xml"/><Relationship Id="rId51" Type="http://schemas.openxmlformats.org/officeDocument/2006/relationships/slideLayout" Target="../slideLayouts/slideLayout571.xml"/><Relationship Id="rId3" Type="http://schemas.openxmlformats.org/officeDocument/2006/relationships/slideLayout" Target="../slideLayouts/slideLayout52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2.xml"/><Relationship Id="rId13" Type="http://schemas.openxmlformats.org/officeDocument/2006/relationships/slideLayout" Target="../slideLayouts/slideLayout587.xml"/><Relationship Id="rId18" Type="http://schemas.openxmlformats.org/officeDocument/2006/relationships/slideLayout" Target="../slideLayouts/slideLayout592.xml"/><Relationship Id="rId26" Type="http://schemas.openxmlformats.org/officeDocument/2006/relationships/slideLayout" Target="../slideLayouts/slideLayout600.xml"/><Relationship Id="rId39" Type="http://schemas.openxmlformats.org/officeDocument/2006/relationships/slideLayout" Target="../slideLayouts/slideLayout613.xml"/><Relationship Id="rId3" Type="http://schemas.openxmlformats.org/officeDocument/2006/relationships/slideLayout" Target="../slideLayouts/slideLayout577.xml"/><Relationship Id="rId21" Type="http://schemas.openxmlformats.org/officeDocument/2006/relationships/slideLayout" Target="../slideLayouts/slideLayout595.xml"/><Relationship Id="rId34" Type="http://schemas.openxmlformats.org/officeDocument/2006/relationships/slideLayout" Target="../slideLayouts/slideLayout608.xml"/><Relationship Id="rId42" Type="http://schemas.openxmlformats.org/officeDocument/2006/relationships/tags" Target="../tags/tag33.xml"/><Relationship Id="rId7" Type="http://schemas.openxmlformats.org/officeDocument/2006/relationships/slideLayout" Target="../slideLayouts/slideLayout581.xml"/><Relationship Id="rId12" Type="http://schemas.openxmlformats.org/officeDocument/2006/relationships/slideLayout" Target="../slideLayouts/slideLayout586.xml"/><Relationship Id="rId17" Type="http://schemas.openxmlformats.org/officeDocument/2006/relationships/slideLayout" Target="../slideLayouts/slideLayout591.xml"/><Relationship Id="rId25" Type="http://schemas.openxmlformats.org/officeDocument/2006/relationships/slideLayout" Target="../slideLayouts/slideLayout599.xml"/><Relationship Id="rId33" Type="http://schemas.openxmlformats.org/officeDocument/2006/relationships/slideLayout" Target="../slideLayouts/slideLayout607.xml"/><Relationship Id="rId38" Type="http://schemas.openxmlformats.org/officeDocument/2006/relationships/slideLayout" Target="../slideLayouts/slideLayout612.xml"/><Relationship Id="rId2" Type="http://schemas.openxmlformats.org/officeDocument/2006/relationships/slideLayout" Target="../slideLayouts/slideLayout576.xml"/><Relationship Id="rId16" Type="http://schemas.openxmlformats.org/officeDocument/2006/relationships/slideLayout" Target="../slideLayouts/slideLayout590.xml"/><Relationship Id="rId20" Type="http://schemas.openxmlformats.org/officeDocument/2006/relationships/slideLayout" Target="../slideLayouts/slideLayout594.xml"/><Relationship Id="rId29" Type="http://schemas.openxmlformats.org/officeDocument/2006/relationships/slideLayout" Target="../slideLayouts/slideLayout603.xml"/><Relationship Id="rId41" Type="http://schemas.openxmlformats.org/officeDocument/2006/relationships/vmlDrawing" Target="../drawings/vmlDrawing21.vml"/><Relationship Id="rId1" Type="http://schemas.openxmlformats.org/officeDocument/2006/relationships/slideLayout" Target="../slideLayouts/slideLayout575.xml"/><Relationship Id="rId6" Type="http://schemas.openxmlformats.org/officeDocument/2006/relationships/slideLayout" Target="../slideLayouts/slideLayout580.xml"/><Relationship Id="rId11" Type="http://schemas.openxmlformats.org/officeDocument/2006/relationships/slideLayout" Target="../slideLayouts/slideLayout585.xml"/><Relationship Id="rId24" Type="http://schemas.openxmlformats.org/officeDocument/2006/relationships/slideLayout" Target="../slideLayouts/slideLayout598.xml"/><Relationship Id="rId32" Type="http://schemas.openxmlformats.org/officeDocument/2006/relationships/slideLayout" Target="../slideLayouts/slideLayout606.xml"/><Relationship Id="rId37" Type="http://schemas.openxmlformats.org/officeDocument/2006/relationships/slideLayout" Target="../slideLayouts/slideLayout611.xml"/><Relationship Id="rId40" Type="http://schemas.openxmlformats.org/officeDocument/2006/relationships/theme" Target="../theme/theme15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79.xml"/><Relationship Id="rId15" Type="http://schemas.openxmlformats.org/officeDocument/2006/relationships/slideLayout" Target="../slideLayouts/slideLayout589.xml"/><Relationship Id="rId23" Type="http://schemas.openxmlformats.org/officeDocument/2006/relationships/slideLayout" Target="../slideLayouts/slideLayout597.xml"/><Relationship Id="rId28" Type="http://schemas.openxmlformats.org/officeDocument/2006/relationships/slideLayout" Target="../slideLayouts/slideLayout602.xml"/><Relationship Id="rId36" Type="http://schemas.openxmlformats.org/officeDocument/2006/relationships/slideLayout" Target="../slideLayouts/slideLayout610.xml"/><Relationship Id="rId10" Type="http://schemas.openxmlformats.org/officeDocument/2006/relationships/slideLayout" Target="../slideLayouts/slideLayout584.xml"/><Relationship Id="rId19" Type="http://schemas.openxmlformats.org/officeDocument/2006/relationships/slideLayout" Target="../slideLayouts/slideLayout593.xml"/><Relationship Id="rId31" Type="http://schemas.openxmlformats.org/officeDocument/2006/relationships/slideLayout" Target="../slideLayouts/slideLayout605.xml"/><Relationship Id="rId44" Type="http://schemas.openxmlformats.org/officeDocument/2006/relationships/oleObject" Target="../embeddings/oleObject21.bin"/><Relationship Id="rId4" Type="http://schemas.openxmlformats.org/officeDocument/2006/relationships/slideLayout" Target="../slideLayouts/slideLayout578.xml"/><Relationship Id="rId9" Type="http://schemas.openxmlformats.org/officeDocument/2006/relationships/slideLayout" Target="../slideLayouts/slideLayout583.xml"/><Relationship Id="rId14" Type="http://schemas.openxmlformats.org/officeDocument/2006/relationships/slideLayout" Target="../slideLayouts/slideLayout588.xml"/><Relationship Id="rId22" Type="http://schemas.openxmlformats.org/officeDocument/2006/relationships/slideLayout" Target="../slideLayouts/slideLayout596.xml"/><Relationship Id="rId27" Type="http://schemas.openxmlformats.org/officeDocument/2006/relationships/slideLayout" Target="../slideLayouts/slideLayout601.xml"/><Relationship Id="rId30" Type="http://schemas.openxmlformats.org/officeDocument/2006/relationships/slideLayout" Target="../slideLayouts/slideLayout604.xml"/><Relationship Id="rId35" Type="http://schemas.openxmlformats.org/officeDocument/2006/relationships/slideLayout" Target="../slideLayouts/slideLayout609.xml"/><Relationship Id="rId43" Type="http://schemas.openxmlformats.org/officeDocument/2006/relationships/tags" Target="../tags/tag34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6.xml"/><Relationship Id="rId18" Type="http://schemas.openxmlformats.org/officeDocument/2006/relationships/slideLayout" Target="../slideLayouts/slideLayout631.xml"/><Relationship Id="rId26" Type="http://schemas.openxmlformats.org/officeDocument/2006/relationships/slideLayout" Target="../slideLayouts/slideLayout639.xml"/><Relationship Id="rId39" Type="http://schemas.openxmlformats.org/officeDocument/2006/relationships/slideLayout" Target="../slideLayouts/slideLayout652.xml"/><Relationship Id="rId3" Type="http://schemas.openxmlformats.org/officeDocument/2006/relationships/slideLayout" Target="../slideLayouts/slideLayout616.xml"/><Relationship Id="rId21" Type="http://schemas.openxmlformats.org/officeDocument/2006/relationships/slideLayout" Target="../slideLayouts/slideLayout634.xml"/><Relationship Id="rId34" Type="http://schemas.openxmlformats.org/officeDocument/2006/relationships/slideLayout" Target="../slideLayouts/slideLayout647.xml"/><Relationship Id="rId42" Type="http://schemas.openxmlformats.org/officeDocument/2006/relationships/slideLayout" Target="../slideLayouts/slideLayout655.xml"/><Relationship Id="rId47" Type="http://schemas.openxmlformats.org/officeDocument/2006/relationships/slideLayout" Target="../slideLayouts/slideLayout660.xml"/><Relationship Id="rId50" Type="http://schemas.openxmlformats.org/officeDocument/2006/relationships/tags" Target="../tags/tag35.xml"/><Relationship Id="rId7" Type="http://schemas.openxmlformats.org/officeDocument/2006/relationships/slideLayout" Target="../slideLayouts/slideLayout620.xml"/><Relationship Id="rId12" Type="http://schemas.openxmlformats.org/officeDocument/2006/relationships/slideLayout" Target="../slideLayouts/slideLayout625.xml"/><Relationship Id="rId17" Type="http://schemas.openxmlformats.org/officeDocument/2006/relationships/slideLayout" Target="../slideLayouts/slideLayout630.xml"/><Relationship Id="rId25" Type="http://schemas.openxmlformats.org/officeDocument/2006/relationships/slideLayout" Target="../slideLayouts/slideLayout638.xml"/><Relationship Id="rId33" Type="http://schemas.openxmlformats.org/officeDocument/2006/relationships/slideLayout" Target="../slideLayouts/slideLayout646.xml"/><Relationship Id="rId38" Type="http://schemas.openxmlformats.org/officeDocument/2006/relationships/slideLayout" Target="../slideLayouts/slideLayout651.xml"/><Relationship Id="rId46" Type="http://schemas.openxmlformats.org/officeDocument/2006/relationships/slideLayout" Target="../slideLayouts/slideLayout659.xml"/><Relationship Id="rId2" Type="http://schemas.openxmlformats.org/officeDocument/2006/relationships/slideLayout" Target="../slideLayouts/slideLayout615.xml"/><Relationship Id="rId16" Type="http://schemas.openxmlformats.org/officeDocument/2006/relationships/slideLayout" Target="../slideLayouts/slideLayout629.xml"/><Relationship Id="rId20" Type="http://schemas.openxmlformats.org/officeDocument/2006/relationships/slideLayout" Target="../slideLayouts/slideLayout633.xml"/><Relationship Id="rId29" Type="http://schemas.openxmlformats.org/officeDocument/2006/relationships/slideLayout" Target="../slideLayouts/slideLayout642.xml"/><Relationship Id="rId41" Type="http://schemas.openxmlformats.org/officeDocument/2006/relationships/slideLayout" Target="../slideLayouts/slideLayout654.xml"/><Relationship Id="rId1" Type="http://schemas.openxmlformats.org/officeDocument/2006/relationships/slideLayout" Target="../slideLayouts/slideLayout614.xml"/><Relationship Id="rId6" Type="http://schemas.openxmlformats.org/officeDocument/2006/relationships/slideLayout" Target="../slideLayouts/slideLayout619.xml"/><Relationship Id="rId11" Type="http://schemas.openxmlformats.org/officeDocument/2006/relationships/slideLayout" Target="../slideLayouts/slideLayout624.xml"/><Relationship Id="rId24" Type="http://schemas.openxmlformats.org/officeDocument/2006/relationships/slideLayout" Target="../slideLayouts/slideLayout637.xml"/><Relationship Id="rId32" Type="http://schemas.openxmlformats.org/officeDocument/2006/relationships/slideLayout" Target="../slideLayouts/slideLayout645.xml"/><Relationship Id="rId37" Type="http://schemas.openxmlformats.org/officeDocument/2006/relationships/slideLayout" Target="../slideLayouts/slideLayout650.xml"/><Relationship Id="rId40" Type="http://schemas.openxmlformats.org/officeDocument/2006/relationships/slideLayout" Target="../slideLayouts/slideLayout653.xml"/><Relationship Id="rId45" Type="http://schemas.openxmlformats.org/officeDocument/2006/relationships/slideLayout" Target="../slideLayouts/slideLayout658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618.xml"/><Relationship Id="rId15" Type="http://schemas.openxmlformats.org/officeDocument/2006/relationships/slideLayout" Target="../slideLayouts/slideLayout628.xml"/><Relationship Id="rId23" Type="http://schemas.openxmlformats.org/officeDocument/2006/relationships/slideLayout" Target="../slideLayouts/slideLayout636.xml"/><Relationship Id="rId28" Type="http://schemas.openxmlformats.org/officeDocument/2006/relationships/slideLayout" Target="../slideLayouts/slideLayout641.xml"/><Relationship Id="rId36" Type="http://schemas.openxmlformats.org/officeDocument/2006/relationships/slideLayout" Target="../slideLayouts/slideLayout649.xml"/><Relationship Id="rId49" Type="http://schemas.openxmlformats.org/officeDocument/2006/relationships/vmlDrawing" Target="../drawings/vmlDrawing22.vml"/><Relationship Id="rId10" Type="http://schemas.openxmlformats.org/officeDocument/2006/relationships/slideLayout" Target="../slideLayouts/slideLayout623.xml"/><Relationship Id="rId19" Type="http://schemas.openxmlformats.org/officeDocument/2006/relationships/slideLayout" Target="../slideLayouts/slideLayout632.xml"/><Relationship Id="rId31" Type="http://schemas.openxmlformats.org/officeDocument/2006/relationships/slideLayout" Target="../slideLayouts/slideLayout644.xml"/><Relationship Id="rId44" Type="http://schemas.openxmlformats.org/officeDocument/2006/relationships/slideLayout" Target="../slideLayouts/slideLayout657.xml"/><Relationship Id="rId52" Type="http://schemas.openxmlformats.org/officeDocument/2006/relationships/oleObject" Target="../embeddings/oleObject22.bin"/><Relationship Id="rId4" Type="http://schemas.openxmlformats.org/officeDocument/2006/relationships/slideLayout" Target="../slideLayouts/slideLayout617.xml"/><Relationship Id="rId9" Type="http://schemas.openxmlformats.org/officeDocument/2006/relationships/slideLayout" Target="../slideLayouts/slideLayout622.xml"/><Relationship Id="rId14" Type="http://schemas.openxmlformats.org/officeDocument/2006/relationships/slideLayout" Target="../slideLayouts/slideLayout627.xml"/><Relationship Id="rId22" Type="http://schemas.openxmlformats.org/officeDocument/2006/relationships/slideLayout" Target="../slideLayouts/slideLayout635.xml"/><Relationship Id="rId27" Type="http://schemas.openxmlformats.org/officeDocument/2006/relationships/slideLayout" Target="../slideLayouts/slideLayout640.xml"/><Relationship Id="rId30" Type="http://schemas.openxmlformats.org/officeDocument/2006/relationships/slideLayout" Target="../slideLayouts/slideLayout643.xml"/><Relationship Id="rId35" Type="http://schemas.openxmlformats.org/officeDocument/2006/relationships/slideLayout" Target="../slideLayouts/slideLayout648.xml"/><Relationship Id="rId43" Type="http://schemas.openxmlformats.org/officeDocument/2006/relationships/slideLayout" Target="../slideLayouts/slideLayout656.xml"/><Relationship Id="rId48" Type="http://schemas.openxmlformats.org/officeDocument/2006/relationships/theme" Target="../theme/theme16.xml"/><Relationship Id="rId8" Type="http://schemas.openxmlformats.org/officeDocument/2006/relationships/slideLayout" Target="../slideLayouts/slideLayout621.xml"/><Relationship Id="rId51" Type="http://schemas.openxmlformats.org/officeDocument/2006/relationships/tags" Target="../tags/tag36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3.xml"/><Relationship Id="rId18" Type="http://schemas.openxmlformats.org/officeDocument/2006/relationships/slideLayout" Target="../slideLayouts/slideLayout678.xml"/><Relationship Id="rId26" Type="http://schemas.openxmlformats.org/officeDocument/2006/relationships/slideLayout" Target="../slideLayouts/slideLayout686.xml"/><Relationship Id="rId39" Type="http://schemas.openxmlformats.org/officeDocument/2006/relationships/slideLayout" Target="../slideLayouts/slideLayout699.xml"/><Relationship Id="rId3" Type="http://schemas.openxmlformats.org/officeDocument/2006/relationships/slideLayout" Target="../slideLayouts/slideLayout663.xml"/><Relationship Id="rId21" Type="http://schemas.openxmlformats.org/officeDocument/2006/relationships/slideLayout" Target="../slideLayouts/slideLayout681.xml"/><Relationship Id="rId34" Type="http://schemas.openxmlformats.org/officeDocument/2006/relationships/slideLayout" Target="../slideLayouts/slideLayout694.xml"/><Relationship Id="rId42" Type="http://schemas.openxmlformats.org/officeDocument/2006/relationships/slideLayout" Target="../slideLayouts/slideLayout702.xml"/><Relationship Id="rId47" Type="http://schemas.openxmlformats.org/officeDocument/2006/relationships/slideLayout" Target="../slideLayouts/slideLayout707.xml"/><Relationship Id="rId50" Type="http://schemas.openxmlformats.org/officeDocument/2006/relationships/tags" Target="../tags/tag38.xml"/><Relationship Id="rId7" Type="http://schemas.openxmlformats.org/officeDocument/2006/relationships/slideLayout" Target="../slideLayouts/slideLayout667.xml"/><Relationship Id="rId12" Type="http://schemas.openxmlformats.org/officeDocument/2006/relationships/slideLayout" Target="../slideLayouts/slideLayout672.xml"/><Relationship Id="rId17" Type="http://schemas.openxmlformats.org/officeDocument/2006/relationships/slideLayout" Target="../slideLayouts/slideLayout677.xml"/><Relationship Id="rId25" Type="http://schemas.openxmlformats.org/officeDocument/2006/relationships/slideLayout" Target="../slideLayouts/slideLayout685.xml"/><Relationship Id="rId33" Type="http://schemas.openxmlformats.org/officeDocument/2006/relationships/slideLayout" Target="../slideLayouts/slideLayout693.xml"/><Relationship Id="rId38" Type="http://schemas.openxmlformats.org/officeDocument/2006/relationships/slideLayout" Target="../slideLayouts/slideLayout698.xml"/><Relationship Id="rId46" Type="http://schemas.openxmlformats.org/officeDocument/2006/relationships/slideLayout" Target="../slideLayouts/slideLayout706.xml"/><Relationship Id="rId2" Type="http://schemas.openxmlformats.org/officeDocument/2006/relationships/slideLayout" Target="../slideLayouts/slideLayout662.xml"/><Relationship Id="rId16" Type="http://schemas.openxmlformats.org/officeDocument/2006/relationships/slideLayout" Target="../slideLayouts/slideLayout676.xml"/><Relationship Id="rId20" Type="http://schemas.openxmlformats.org/officeDocument/2006/relationships/slideLayout" Target="../slideLayouts/slideLayout680.xml"/><Relationship Id="rId29" Type="http://schemas.openxmlformats.org/officeDocument/2006/relationships/slideLayout" Target="../slideLayouts/slideLayout689.xml"/><Relationship Id="rId41" Type="http://schemas.openxmlformats.org/officeDocument/2006/relationships/slideLayout" Target="../slideLayouts/slideLayout701.xml"/><Relationship Id="rId1" Type="http://schemas.openxmlformats.org/officeDocument/2006/relationships/slideLayout" Target="../slideLayouts/slideLayout661.xml"/><Relationship Id="rId6" Type="http://schemas.openxmlformats.org/officeDocument/2006/relationships/slideLayout" Target="../slideLayouts/slideLayout666.xml"/><Relationship Id="rId11" Type="http://schemas.openxmlformats.org/officeDocument/2006/relationships/slideLayout" Target="../slideLayouts/slideLayout671.xml"/><Relationship Id="rId24" Type="http://schemas.openxmlformats.org/officeDocument/2006/relationships/slideLayout" Target="../slideLayouts/slideLayout684.xml"/><Relationship Id="rId32" Type="http://schemas.openxmlformats.org/officeDocument/2006/relationships/slideLayout" Target="../slideLayouts/slideLayout692.xml"/><Relationship Id="rId37" Type="http://schemas.openxmlformats.org/officeDocument/2006/relationships/slideLayout" Target="../slideLayouts/slideLayout697.xml"/><Relationship Id="rId40" Type="http://schemas.openxmlformats.org/officeDocument/2006/relationships/slideLayout" Target="../slideLayouts/slideLayout700.xml"/><Relationship Id="rId45" Type="http://schemas.openxmlformats.org/officeDocument/2006/relationships/slideLayout" Target="../slideLayouts/slideLayout70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665.xml"/><Relationship Id="rId15" Type="http://schemas.openxmlformats.org/officeDocument/2006/relationships/slideLayout" Target="../slideLayouts/slideLayout675.xml"/><Relationship Id="rId23" Type="http://schemas.openxmlformats.org/officeDocument/2006/relationships/slideLayout" Target="../slideLayouts/slideLayout683.xml"/><Relationship Id="rId28" Type="http://schemas.openxmlformats.org/officeDocument/2006/relationships/slideLayout" Target="../slideLayouts/slideLayout688.xml"/><Relationship Id="rId36" Type="http://schemas.openxmlformats.org/officeDocument/2006/relationships/slideLayout" Target="../slideLayouts/slideLayout696.xml"/><Relationship Id="rId49" Type="http://schemas.openxmlformats.org/officeDocument/2006/relationships/vmlDrawing" Target="../drawings/vmlDrawing24.vml"/><Relationship Id="rId10" Type="http://schemas.openxmlformats.org/officeDocument/2006/relationships/slideLayout" Target="../slideLayouts/slideLayout670.xml"/><Relationship Id="rId19" Type="http://schemas.openxmlformats.org/officeDocument/2006/relationships/slideLayout" Target="../slideLayouts/slideLayout679.xml"/><Relationship Id="rId31" Type="http://schemas.openxmlformats.org/officeDocument/2006/relationships/slideLayout" Target="../slideLayouts/slideLayout691.xml"/><Relationship Id="rId44" Type="http://schemas.openxmlformats.org/officeDocument/2006/relationships/slideLayout" Target="../slideLayouts/slideLayout704.xml"/><Relationship Id="rId52" Type="http://schemas.openxmlformats.org/officeDocument/2006/relationships/oleObject" Target="../embeddings/oleObject24.bin"/><Relationship Id="rId4" Type="http://schemas.openxmlformats.org/officeDocument/2006/relationships/slideLayout" Target="../slideLayouts/slideLayout664.xml"/><Relationship Id="rId9" Type="http://schemas.openxmlformats.org/officeDocument/2006/relationships/slideLayout" Target="../slideLayouts/slideLayout669.xml"/><Relationship Id="rId14" Type="http://schemas.openxmlformats.org/officeDocument/2006/relationships/slideLayout" Target="../slideLayouts/slideLayout674.xml"/><Relationship Id="rId22" Type="http://schemas.openxmlformats.org/officeDocument/2006/relationships/slideLayout" Target="../slideLayouts/slideLayout682.xml"/><Relationship Id="rId27" Type="http://schemas.openxmlformats.org/officeDocument/2006/relationships/slideLayout" Target="../slideLayouts/slideLayout687.xml"/><Relationship Id="rId30" Type="http://schemas.openxmlformats.org/officeDocument/2006/relationships/slideLayout" Target="../slideLayouts/slideLayout690.xml"/><Relationship Id="rId35" Type="http://schemas.openxmlformats.org/officeDocument/2006/relationships/slideLayout" Target="../slideLayouts/slideLayout695.xml"/><Relationship Id="rId43" Type="http://schemas.openxmlformats.org/officeDocument/2006/relationships/slideLayout" Target="../slideLayouts/slideLayout703.xml"/><Relationship Id="rId48" Type="http://schemas.openxmlformats.org/officeDocument/2006/relationships/theme" Target="../theme/theme17.xml"/><Relationship Id="rId8" Type="http://schemas.openxmlformats.org/officeDocument/2006/relationships/slideLayout" Target="../slideLayouts/slideLayout668.xml"/><Relationship Id="rId51" Type="http://schemas.openxmlformats.org/officeDocument/2006/relationships/tags" Target="../tags/tag39.xml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0.xml"/><Relationship Id="rId18" Type="http://schemas.openxmlformats.org/officeDocument/2006/relationships/slideLayout" Target="../slideLayouts/slideLayout725.xml"/><Relationship Id="rId26" Type="http://schemas.openxmlformats.org/officeDocument/2006/relationships/slideLayout" Target="../slideLayouts/slideLayout733.xml"/><Relationship Id="rId39" Type="http://schemas.openxmlformats.org/officeDocument/2006/relationships/slideLayout" Target="../slideLayouts/slideLayout746.xml"/><Relationship Id="rId3" Type="http://schemas.openxmlformats.org/officeDocument/2006/relationships/slideLayout" Target="../slideLayouts/slideLayout710.xml"/><Relationship Id="rId21" Type="http://schemas.openxmlformats.org/officeDocument/2006/relationships/slideLayout" Target="../slideLayouts/slideLayout728.xml"/><Relationship Id="rId34" Type="http://schemas.openxmlformats.org/officeDocument/2006/relationships/slideLayout" Target="../slideLayouts/slideLayout741.xml"/><Relationship Id="rId42" Type="http://schemas.openxmlformats.org/officeDocument/2006/relationships/slideLayout" Target="../slideLayouts/slideLayout749.xml"/><Relationship Id="rId47" Type="http://schemas.openxmlformats.org/officeDocument/2006/relationships/slideLayout" Target="../slideLayouts/slideLayout754.xml"/><Relationship Id="rId50" Type="http://schemas.openxmlformats.org/officeDocument/2006/relationships/tags" Target="../tags/tag41.xml"/><Relationship Id="rId7" Type="http://schemas.openxmlformats.org/officeDocument/2006/relationships/slideLayout" Target="../slideLayouts/slideLayout714.xml"/><Relationship Id="rId12" Type="http://schemas.openxmlformats.org/officeDocument/2006/relationships/slideLayout" Target="../slideLayouts/slideLayout719.xml"/><Relationship Id="rId17" Type="http://schemas.openxmlformats.org/officeDocument/2006/relationships/slideLayout" Target="../slideLayouts/slideLayout724.xml"/><Relationship Id="rId25" Type="http://schemas.openxmlformats.org/officeDocument/2006/relationships/slideLayout" Target="../slideLayouts/slideLayout732.xml"/><Relationship Id="rId33" Type="http://schemas.openxmlformats.org/officeDocument/2006/relationships/slideLayout" Target="../slideLayouts/slideLayout740.xml"/><Relationship Id="rId38" Type="http://schemas.openxmlformats.org/officeDocument/2006/relationships/slideLayout" Target="../slideLayouts/slideLayout745.xml"/><Relationship Id="rId46" Type="http://schemas.openxmlformats.org/officeDocument/2006/relationships/slideLayout" Target="../slideLayouts/slideLayout753.xml"/><Relationship Id="rId2" Type="http://schemas.openxmlformats.org/officeDocument/2006/relationships/slideLayout" Target="../slideLayouts/slideLayout709.xml"/><Relationship Id="rId16" Type="http://schemas.openxmlformats.org/officeDocument/2006/relationships/slideLayout" Target="../slideLayouts/slideLayout723.xml"/><Relationship Id="rId20" Type="http://schemas.openxmlformats.org/officeDocument/2006/relationships/slideLayout" Target="../slideLayouts/slideLayout727.xml"/><Relationship Id="rId29" Type="http://schemas.openxmlformats.org/officeDocument/2006/relationships/slideLayout" Target="../slideLayouts/slideLayout736.xml"/><Relationship Id="rId41" Type="http://schemas.openxmlformats.org/officeDocument/2006/relationships/slideLayout" Target="../slideLayouts/slideLayout748.xml"/><Relationship Id="rId1" Type="http://schemas.openxmlformats.org/officeDocument/2006/relationships/slideLayout" Target="../slideLayouts/slideLayout708.xml"/><Relationship Id="rId6" Type="http://schemas.openxmlformats.org/officeDocument/2006/relationships/slideLayout" Target="../slideLayouts/slideLayout713.xml"/><Relationship Id="rId11" Type="http://schemas.openxmlformats.org/officeDocument/2006/relationships/slideLayout" Target="../slideLayouts/slideLayout718.xml"/><Relationship Id="rId24" Type="http://schemas.openxmlformats.org/officeDocument/2006/relationships/slideLayout" Target="../slideLayouts/slideLayout731.xml"/><Relationship Id="rId32" Type="http://schemas.openxmlformats.org/officeDocument/2006/relationships/slideLayout" Target="../slideLayouts/slideLayout739.xml"/><Relationship Id="rId37" Type="http://schemas.openxmlformats.org/officeDocument/2006/relationships/slideLayout" Target="../slideLayouts/slideLayout744.xml"/><Relationship Id="rId40" Type="http://schemas.openxmlformats.org/officeDocument/2006/relationships/slideLayout" Target="../slideLayouts/slideLayout747.xml"/><Relationship Id="rId45" Type="http://schemas.openxmlformats.org/officeDocument/2006/relationships/slideLayout" Target="../slideLayouts/slideLayout752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712.xml"/><Relationship Id="rId15" Type="http://schemas.openxmlformats.org/officeDocument/2006/relationships/slideLayout" Target="../slideLayouts/slideLayout722.xml"/><Relationship Id="rId23" Type="http://schemas.openxmlformats.org/officeDocument/2006/relationships/slideLayout" Target="../slideLayouts/slideLayout730.xml"/><Relationship Id="rId28" Type="http://schemas.openxmlformats.org/officeDocument/2006/relationships/slideLayout" Target="../slideLayouts/slideLayout735.xml"/><Relationship Id="rId36" Type="http://schemas.openxmlformats.org/officeDocument/2006/relationships/slideLayout" Target="../slideLayouts/slideLayout743.xml"/><Relationship Id="rId49" Type="http://schemas.openxmlformats.org/officeDocument/2006/relationships/vmlDrawing" Target="../drawings/vmlDrawing26.vml"/><Relationship Id="rId10" Type="http://schemas.openxmlformats.org/officeDocument/2006/relationships/slideLayout" Target="../slideLayouts/slideLayout717.xml"/><Relationship Id="rId19" Type="http://schemas.openxmlformats.org/officeDocument/2006/relationships/slideLayout" Target="../slideLayouts/slideLayout726.xml"/><Relationship Id="rId31" Type="http://schemas.openxmlformats.org/officeDocument/2006/relationships/slideLayout" Target="../slideLayouts/slideLayout738.xml"/><Relationship Id="rId44" Type="http://schemas.openxmlformats.org/officeDocument/2006/relationships/slideLayout" Target="../slideLayouts/slideLayout751.xml"/><Relationship Id="rId52" Type="http://schemas.openxmlformats.org/officeDocument/2006/relationships/oleObject" Target="../embeddings/oleObject26.bin"/><Relationship Id="rId4" Type="http://schemas.openxmlformats.org/officeDocument/2006/relationships/slideLayout" Target="../slideLayouts/slideLayout711.xml"/><Relationship Id="rId9" Type="http://schemas.openxmlformats.org/officeDocument/2006/relationships/slideLayout" Target="../slideLayouts/slideLayout716.xml"/><Relationship Id="rId14" Type="http://schemas.openxmlformats.org/officeDocument/2006/relationships/slideLayout" Target="../slideLayouts/slideLayout721.xml"/><Relationship Id="rId22" Type="http://schemas.openxmlformats.org/officeDocument/2006/relationships/slideLayout" Target="../slideLayouts/slideLayout729.xml"/><Relationship Id="rId27" Type="http://schemas.openxmlformats.org/officeDocument/2006/relationships/slideLayout" Target="../slideLayouts/slideLayout734.xml"/><Relationship Id="rId30" Type="http://schemas.openxmlformats.org/officeDocument/2006/relationships/slideLayout" Target="../slideLayouts/slideLayout737.xml"/><Relationship Id="rId35" Type="http://schemas.openxmlformats.org/officeDocument/2006/relationships/slideLayout" Target="../slideLayouts/slideLayout742.xml"/><Relationship Id="rId43" Type="http://schemas.openxmlformats.org/officeDocument/2006/relationships/slideLayout" Target="../slideLayouts/slideLayout750.xml"/><Relationship Id="rId48" Type="http://schemas.openxmlformats.org/officeDocument/2006/relationships/theme" Target="../theme/theme18.xml"/><Relationship Id="rId8" Type="http://schemas.openxmlformats.org/officeDocument/2006/relationships/slideLayout" Target="../slideLayouts/slideLayout715.xml"/><Relationship Id="rId51" Type="http://schemas.openxmlformats.org/officeDocument/2006/relationships/tags" Target="../tags/tag42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7.xml"/><Relationship Id="rId18" Type="http://schemas.openxmlformats.org/officeDocument/2006/relationships/slideLayout" Target="../slideLayouts/slideLayout772.xml"/><Relationship Id="rId26" Type="http://schemas.openxmlformats.org/officeDocument/2006/relationships/slideLayout" Target="../slideLayouts/slideLayout780.xml"/><Relationship Id="rId39" Type="http://schemas.openxmlformats.org/officeDocument/2006/relationships/slideLayout" Target="../slideLayouts/slideLayout793.xml"/><Relationship Id="rId3" Type="http://schemas.openxmlformats.org/officeDocument/2006/relationships/slideLayout" Target="../slideLayouts/slideLayout757.xml"/><Relationship Id="rId21" Type="http://schemas.openxmlformats.org/officeDocument/2006/relationships/slideLayout" Target="../slideLayouts/slideLayout775.xml"/><Relationship Id="rId34" Type="http://schemas.openxmlformats.org/officeDocument/2006/relationships/slideLayout" Target="../slideLayouts/slideLayout788.xml"/><Relationship Id="rId42" Type="http://schemas.openxmlformats.org/officeDocument/2006/relationships/slideLayout" Target="../slideLayouts/slideLayout796.xml"/><Relationship Id="rId47" Type="http://schemas.openxmlformats.org/officeDocument/2006/relationships/slideLayout" Target="../slideLayouts/slideLayout801.xml"/><Relationship Id="rId50" Type="http://schemas.openxmlformats.org/officeDocument/2006/relationships/tags" Target="../tags/tag44.xml"/><Relationship Id="rId7" Type="http://schemas.openxmlformats.org/officeDocument/2006/relationships/slideLayout" Target="../slideLayouts/slideLayout761.xml"/><Relationship Id="rId12" Type="http://schemas.openxmlformats.org/officeDocument/2006/relationships/slideLayout" Target="../slideLayouts/slideLayout766.xml"/><Relationship Id="rId17" Type="http://schemas.openxmlformats.org/officeDocument/2006/relationships/slideLayout" Target="../slideLayouts/slideLayout771.xml"/><Relationship Id="rId25" Type="http://schemas.openxmlformats.org/officeDocument/2006/relationships/slideLayout" Target="../slideLayouts/slideLayout779.xml"/><Relationship Id="rId33" Type="http://schemas.openxmlformats.org/officeDocument/2006/relationships/slideLayout" Target="../slideLayouts/slideLayout787.xml"/><Relationship Id="rId38" Type="http://schemas.openxmlformats.org/officeDocument/2006/relationships/slideLayout" Target="../slideLayouts/slideLayout792.xml"/><Relationship Id="rId46" Type="http://schemas.openxmlformats.org/officeDocument/2006/relationships/slideLayout" Target="../slideLayouts/slideLayout800.xml"/><Relationship Id="rId2" Type="http://schemas.openxmlformats.org/officeDocument/2006/relationships/slideLayout" Target="../slideLayouts/slideLayout756.xml"/><Relationship Id="rId16" Type="http://schemas.openxmlformats.org/officeDocument/2006/relationships/slideLayout" Target="../slideLayouts/slideLayout770.xml"/><Relationship Id="rId20" Type="http://schemas.openxmlformats.org/officeDocument/2006/relationships/slideLayout" Target="../slideLayouts/slideLayout774.xml"/><Relationship Id="rId29" Type="http://schemas.openxmlformats.org/officeDocument/2006/relationships/slideLayout" Target="../slideLayouts/slideLayout783.xml"/><Relationship Id="rId41" Type="http://schemas.openxmlformats.org/officeDocument/2006/relationships/slideLayout" Target="../slideLayouts/slideLayout795.xml"/><Relationship Id="rId1" Type="http://schemas.openxmlformats.org/officeDocument/2006/relationships/slideLayout" Target="../slideLayouts/slideLayout755.xml"/><Relationship Id="rId6" Type="http://schemas.openxmlformats.org/officeDocument/2006/relationships/slideLayout" Target="../slideLayouts/slideLayout760.xml"/><Relationship Id="rId11" Type="http://schemas.openxmlformats.org/officeDocument/2006/relationships/slideLayout" Target="../slideLayouts/slideLayout765.xml"/><Relationship Id="rId24" Type="http://schemas.openxmlformats.org/officeDocument/2006/relationships/slideLayout" Target="../slideLayouts/slideLayout778.xml"/><Relationship Id="rId32" Type="http://schemas.openxmlformats.org/officeDocument/2006/relationships/slideLayout" Target="../slideLayouts/slideLayout786.xml"/><Relationship Id="rId37" Type="http://schemas.openxmlformats.org/officeDocument/2006/relationships/slideLayout" Target="../slideLayouts/slideLayout791.xml"/><Relationship Id="rId40" Type="http://schemas.openxmlformats.org/officeDocument/2006/relationships/slideLayout" Target="../slideLayouts/slideLayout794.xml"/><Relationship Id="rId45" Type="http://schemas.openxmlformats.org/officeDocument/2006/relationships/slideLayout" Target="../slideLayouts/slideLayout799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759.xml"/><Relationship Id="rId15" Type="http://schemas.openxmlformats.org/officeDocument/2006/relationships/slideLayout" Target="../slideLayouts/slideLayout769.xml"/><Relationship Id="rId23" Type="http://schemas.openxmlformats.org/officeDocument/2006/relationships/slideLayout" Target="../slideLayouts/slideLayout777.xml"/><Relationship Id="rId28" Type="http://schemas.openxmlformats.org/officeDocument/2006/relationships/slideLayout" Target="../slideLayouts/slideLayout782.xml"/><Relationship Id="rId36" Type="http://schemas.openxmlformats.org/officeDocument/2006/relationships/slideLayout" Target="../slideLayouts/slideLayout790.xml"/><Relationship Id="rId49" Type="http://schemas.openxmlformats.org/officeDocument/2006/relationships/vmlDrawing" Target="../drawings/vmlDrawing28.vml"/><Relationship Id="rId10" Type="http://schemas.openxmlformats.org/officeDocument/2006/relationships/slideLayout" Target="../slideLayouts/slideLayout764.xml"/><Relationship Id="rId19" Type="http://schemas.openxmlformats.org/officeDocument/2006/relationships/slideLayout" Target="../slideLayouts/slideLayout773.xml"/><Relationship Id="rId31" Type="http://schemas.openxmlformats.org/officeDocument/2006/relationships/slideLayout" Target="../slideLayouts/slideLayout785.xml"/><Relationship Id="rId44" Type="http://schemas.openxmlformats.org/officeDocument/2006/relationships/slideLayout" Target="../slideLayouts/slideLayout798.xml"/><Relationship Id="rId52" Type="http://schemas.openxmlformats.org/officeDocument/2006/relationships/oleObject" Target="../embeddings/oleObject28.bin"/><Relationship Id="rId4" Type="http://schemas.openxmlformats.org/officeDocument/2006/relationships/slideLayout" Target="../slideLayouts/slideLayout758.xml"/><Relationship Id="rId9" Type="http://schemas.openxmlformats.org/officeDocument/2006/relationships/slideLayout" Target="../slideLayouts/slideLayout763.xml"/><Relationship Id="rId14" Type="http://schemas.openxmlformats.org/officeDocument/2006/relationships/slideLayout" Target="../slideLayouts/slideLayout768.xml"/><Relationship Id="rId22" Type="http://schemas.openxmlformats.org/officeDocument/2006/relationships/slideLayout" Target="../slideLayouts/slideLayout776.xml"/><Relationship Id="rId27" Type="http://schemas.openxmlformats.org/officeDocument/2006/relationships/slideLayout" Target="../slideLayouts/slideLayout781.xml"/><Relationship Id="rId30" Type="http://schemas.openxmlformats.org/officeDocument/2006/relationships/slideLayout" Target="../slideLayouts/slideLayout784.xml"/><Relationship Id="rId35" Type="http://schemas.openxmlformats.org/officeDocument/2006/relationships/slideLayout" Target="../slideLayouts/slideLayout789.xml"/><Relationship Id="rId43" Type="http://schemas.openxmlformats.org/officeDocument/2006/relationships/slideLayout" Target="../slideLayouts/slideLayout797.xml"/><Relationship Id="rId48" Type="http://schemas.openxmlformats.org/officeDocument/2006/relationships/theme" Target="../theme/theme19.xml"/><Relationship Id="rId8" Type="http://schemas.openxmlformats.org/officeDocument/2006/relationships/slideLayout" Target="../slideLayouts/slideLayout762.xml"/><Relationship Id="rId51" Type="http://schemas.openxmlformats.org/officeDocument/2006/relationships/tags" Target="../tags/tag4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image" Target="../media/image3.pn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14.xml"/><Relationship Id="rId18" Type="http://schemas.openxmlformats.org/officeDocument/2006/relationships/slideLayout" Target="../slideLayouts/slideLayout819.xml"/><Relationship Id="rId26" Type="http://schemas.openxmlformats.org/officeDocument/2006/relationships/slideLayout" Target="../slideLayouts/slideLayout827.xml"/><Relationship Id="rId39" Type="http://schemas.openxmlformats.org/officeDocument/2006/relationships/slideLayout" Target="../slideLayouts/slideLayout840.xml"/><Relationship Id="rId3" Type="http://schemas.openxmlformats.org/officeDocument/2006/relationships/slideLayout" Target="../slideLayouts/slideLayout804.xml"/><Relationship Id="rId21" Type="http://schemas.openxmlformats.org/officeDocument/2006/relationships/slideLayout" Target="../slideLayouts/slideLayout822.xml"/><Relationship Id="rId34" Type="http://schemas.openxmlformats.org/officeDocument/2006/relationships/slideLayout" Target="../slideLayouts/slideLayout835.xml"/><Relationship Id="rId42" Type="http://schemas.openxmlformats.org/officeDocument/2006/relationships/slideLayout" Target="../slideLayouts/slideLayout843.xml"/><Relationship Id="rId47" Type="http://schemas.openxmlformats.org/officeDocument/2006/relationships/slideLayout" Target="../slideLayouts/slideLayout848.xml"/><Relationship Id="rId50" Type="http://schemas.openxmlformats.org/officeDocument/2006/relationships/tags" Target="../tags/tag47.xml"/><Relationship Id="rId7" Type="http://schemas.openxmlformats.org/officeDocument/2006/relationships/slideLayout" Target="../slideLayouts/slideLayout808.xml"/><Relationship Id="rId12" Type="http://schemas.openxmlformats.org/officeDocument/2006/relationships/slideLayout" Target="../slideLayouts/slideLayout813.xml"/><Relationship Id="rId17" Type="http://schemas.openxmlformats.org/officeDocument/2006/relationships/slideLayout" Target="../slideLayouts/slideLayout818.xml"/><Relationship Id="rId25" Type="http://schemas.openxmlformats.org/officeDocument/2006/relationships/slideLayout" Target="../slideLayouts/slideLayout826.xml"/><Relationship Id="rId33" Type="http://schemas.openxmlformats.org/officeDocument/2006/relationships/slideLayout" Target="../slideLayouts/slideLayout834.xml"/><Relationship Id="rId38" Type="http://schemas.openxmlformats.org/officeDocument/2006/relationships/slideLayout" Target="../slideLayouts/slideLayout839.xml"/><Relationship Id="rId46" Type="http://schemas.openxmlformats.org/officeDocument/2006/relationships/slideLayout" Target="../slideLayouts/slideLayout847.xml"/><Relationship Id="rId2" Type="http://schemas.openxmlformats.org/officeDocument/2006/relationships/slideLayout" Target="../slideLayouts/slideLayout803.xml"/><Relationship Id="rId16" Type="http://schemas.openxmlformats.org/officeDocument/2006/relationships/slideLayout" Target="../slideLayouts/slideLayout817.xml"/><Relationship Id="rId20" Type="http://schemas.openxmlformats.org/officeDocument/2006/relationships/slideLayout" Target="../slideLayouts/slideLayout821.xml"/><Relationship Id="rId29" Type="http://schemas.openxmlformats.org/officeDocument/2006/relationships/slideLayout" Target="../slideLayouts/slideLayout830.xml"/><Relationship Id="rId41" Type="http://schemas.openxmlformats.org/officeDocument/2006/relationships/slideLayout" Target="../slideLayouts/slideLayout842.xml"/><Relationship Id="rId1" Type="http://schemas.openxmlformats.org/officeDocument/2006/relationships/slideLayout" Target="../slideLayouts/slideLayout802.xml"/><Relationship Id="rId6" Type="http://schemas.openxmlformats.org/officeDocument/2006/relationships/slideLayout" Target="../slideLayouts/slideLayout807.xml"/><Relationship Id="rId11" Type="http://schemas.openxmlformats.org/officeDocument/2006/relationships/slideLayout" Target="../slideLayouts/slideLayout812.xml"/><Relationship Id="rId24" Type="http://schemas.openxmlformats.org/officeDocument/2006/relationships/slideLayout" Target="../slideLayouts/slideLayout825.xml"/><Relationship Id="rId32" Type="http://schemas.openxmlformats.org/officeDocument/2006/relationships/slideLayout" Target="../slideLayouts/slideLayout833.xml"/><Relationship Id="rId37" Type="http://schemas.openxmlformats.org/officeDocument/2006/relationships/slideLayout" Target="../slideLayouts/slideLayout838.xml"/><Relationship Id="rId40" Type="http://schemas.openxmlformats.org/officeDocument/2006/relationships/slideLayout" Target="../slideLayouts/slideLayout841.xml"/><Relationship Id="rId45" Type="http://schemas.openxmlformats.org/officeDocument/2006/relationships/slideLayout" Target="../slideLayouts/slideLayout846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806.xml"/><Relationship Id="rId15" Type="http://schemas.openxmlformats.org/officeDocument/2006/relationships/slideLayout" Target="../slideLayouts/slideLayout816.xml"/><Relationship Id="rId23" Type="http://schemas.openxmlformats.org/officeDocument/2006/relationships/slideLayout" Target="../slideLayouts/slideLayout824.xml"/><Relationship Id="rId28" Type="http://schemas.openxmlformats.org/officeDocument/2006/relationships/slideLayout" Target="../slideLayouts/slideLayout829.xml"/><Relationship Id="rId36" Type="http://schemas.openxmlformats.org/officeDocument/2006/relationships/slideLayout" Target="../slideLayouts/slideLayout837.xml"/><Relationship Id="rId49" Type="http://schemas.openxmlformats.org/officeDocument/2006/relationships/vmlDrawing" Target="../drawings/vmlDrawing30.vml"/><Relationship Id="rId10" Type="http://schemas.openxmlformats.org/officeDocument/2006/relationships/slideLayout" Target="../slideLayouts/slideLayout811.xml"/><Relationship Id="rId19" Type="http://schemas.openxmlformats.org/officeDocument/2006/relationships/slideLayout" Target="../slideLayouts/slideLayout820.xml"/><Relationship Id="rId31" Type="http://schemas.openxmlformats.org/officeDocument/2006/relationships/slideLayout" Target="../slideLayouts/slideLayout832.xml"/><Relationship Id="rId44" Type="http://schemas.openxmlformats.org/officeDocument/2006/relationships/slideLayout" Target="../slideLayouts/slideLayout845.xml"/><Relationship Id="rId52" Type="http://schemas.openxmlformats.org/officeDocument/2006/relationships/oleObject" Target="../embeddings/oleObject30.bin"/><Relationship Id="rId4" Type="http://schemas.openxmlformats.org/officeDocument/2006/relationships/slideLayout" Target="../slideLayouts/slideLayout805.xml"/><Relationship Id="rId9" Type="http://schemas.openxmlformats.org/officeDocument/2006/relationships/slideLayout" Target="../slideLayouts/slideLayout810.xml"/><Relationship Id="rId14" Type="http://schemas.openxmlformats.org/officeDocument/2006/relationships/slideLayout" Target="../slideLayouts/slideLayout815.xml"/><Relationship Id="rId22" Type="http://schemas.openxmlformats.org/officeDocument/2006/relationships/slideLayout" Target="../slideLayouts/slideLayout823.xml"/><Relationship Id="rId27" Type="http://schemas.openxmlformats.org/officeDocument/2006/relationships/slideLayout" Target="../slideLayouts/slideLayout828.xml"/><Relationship Id="rId30" Type="http://schemas.openxmlformats.org/officeDocument/2006/relationships/slideLayout" Target="../slideLayouts/slideLayout831.xml"/><Relationship Id="rId35" Type="http://schemas.openxmlformats.org/officeDocument/2006/relationships/slideLayout" Target="../slideLayouts/slideLayout836.xml"/><Relationship Id="rId43" Type="http://schemas.openxmlformats.org/officeDocument/2006/relationships/slideLayout" Target="../slideLayouts/slideLayout844.xml"/><Relationship Id="rId48" Type="http://schemas.openxmlformats.org/officeDocument/2006/relationships/theme" Target="../theme/theme20.xml"/><Relationship Id="rId8" Type="http://schemas.openxmlformats.org/officeDocument/2006/relationships/slideLayout" Target="../slideLayouts/slideLayout809.xml"/><Relationship Id="rId51" Type="http://schemas.openxmlformats.org/officeDocument/2006/relationships/tags" Target="../tags/tag48.xml"/></Relationships>
</file>

<file path=ppt/slideMasters/_rels/slideMaster2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1.xml"/><Relationship Id="rId18" Type="http://schemas.openxmlformats.org/officeDocument/2006/relationships/slideLayout" Target="../slideLayouts/slideLayout866.xml"/><Relationship Id="rId26" Type="http://schemas.openxmlformats.org/officeDocument/2006/relationships/slideLayout" Target="../slideLayouts/slideLayout874.xml"/><Relationship Id="rId39" Type="http://schemas.openxmlformats.org/officeDocument/2006/relationships/slideLayout" Target="../slideLayouts/slideLayout887.xml"/><Relationship Id="rId3" Type="http://schemas.openxmlformats.org/officeDocument/2006/relationships/slideLayout" Target="../slideLayouts/slideLayout851.xml"/><Relationship Id="rId21" Type="http://schemas.openxmlformats.org/officeDocument/2006/relationships/slideLayout" Target="../slideLayouts/slideLayout869.xml"/><Relationship Id="rId34" Type="http://schemas.openxmlformats.org/officeDocument/2006/relationships/slideLayout" Target="../slideLayouts/slideLayout882.xml"/><Relationship Id="rId42" Type="http://schemas.openxmlformats.org/officeDocument/2006/relationships/slideLayout" Target="../slideLayouts/slideLayout890.xml"/><Relationship Id="rId47" Type="http://schemas.openxmlformats.org/officeDocument/2006/relationships/slideLayout" Target="../slideLayouts/slideLayout895.xml"/><Relationship Id="rId50" Type="http://schemas.openxmlformats.org/officeDocument/2006/relationships/tags" Target="../tags/tag50.xml"/><Relationship Id="rId7" Type="http://schemas.openxmlformats.org/officeDocument/2006/relationships/slideLayout" Target="../slideLayouts/slideLayout855.xml"/><Relationship Id="rId12" Type="http://schemas.openxmlformats.org/officeDocument/2006/relationships/slideLayout" Target="../slideLayouts/slideLayout860.xml"/><Relationship Id="rId17" Type="http://schemas.openxmlformats.org/officeDocument/2006/relationships/slideLayout" Target="../slideLayouts/slideLayout865.xml"/><Relationship Id="rId25" Type="http://schemas.openxmlformats.org/officeDocument/2006/relationships/slideLayout" Target="../slideLayouts/slideLayout873.xml"/><Relationship Id="rId33" Type="http://schemas.openxmlformats.org/officeDocument/2006/relationships/slideLayout" Target="../slideLayouts/slideLayout881.xml"/><Relationship Id="rId38" Type="http://schemas.openxmlformats.org/officeDocument/2006/relationships/slideLayout" Target="../slideLayouts/slideLayout886.xml"/><Relationship Id="rId46" Type="http://schemas.openxmlformats.org/officeDocument/2006/relationships/slideLayout" Target="../slideLayouts/slideLayout894.xml"/><Relationship Id="rId2" Type="http://schemas.openxmlformats.org/officeDocument/2006/relationships/slideLayout" Target="../slideLayouts/slideLayout850.xml"/><Relationship Id="rId16" Type="http://schemas.openxmlformats.org/officeDocument/2006/relationships/slideLayout" Target="../slideLayouts/slideLayout864.xml"/><Relationship Id="rId20" Type="http://schemas.openxmlformats.org/officeDocument/2006/relationships/slideLayout" Target="../slideLayouts/slideLayout868.xml"/><Relationship Id="rId29" Type="http://schemas.openxmlformats.org/officeDocument/2006/relationships/slideLayout" Target="../slideLayouts/slideLayout877.xml"/><Relationship Id="rId41" Type="http://schemas.openxmlformats.org/officeDocument/2006/relationships/slideLayout" Target="../slideLayouts/slideLayout889.xml"/><Relationship Id="rId1" Type="http://schemas.openxmlformats.org/officeDocument/2006/relationships/slideLayout" Target="../slideLayouts/slideLayout849.xml"/><Relationship Id="rId6" Type="http://schemas.openxmlformats.org/officeDocument/2006/relationships/slideLayout" Target="../slideLayouts/slideLayout854.xml"/><Relationship Id="rId11" Type="http://schemas.openxmlformats.org/officeDocument/2006/relationships/slideLayout" Target="../slideLayouts/slideLayout859.xml"/><Relationship Id="rId24" Type="http://schemas.openxmlformats.org/officeDocument/2006/relationships/slideLayout" Target="../slideLayouts/slideLayout872.xml"/><Relationship Id="rId32" Type="http://schemas.openxmlformats.org/officeDocument/2006/relationships/slideLayout" Target="../slideLayouts/slideLayout880.xml"/><Relationship Id="rId37" Type="http://schemas.openxmlformats.org/officeDocument/2006/relationships/slideLayout" Target="../slideLayouts/slideLayout885.xml"/><Relationship Id="rId40" Type="http://schemas.openxmlformats.org/officeDocument/2006/relationships/slideLayout" Target="../slideLayouts/slideLayout888.xml"/><Relationship Id="rId45" Type="http://schemas.openxmlformats.org/officeDocument/2006/relationships/slideLayout" Target="../slideLayouts/slideLayout893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853.xml"/><Relationship Id="rId15" Type="http://schemas.openxmlformats.org/officeDocument/2006/relationships/slideLayout" Target="../slideLayouts/slideLayout863.xml"/><Relationship Id="rId23" Type="http://schemas.openxmlformats.org/officeDocument/2006/relationships/slideLayout" Target="../slideLayouts/slideLayout871.xml"/><Relationship Id="rId28" Type="http://schemas.openxmlformats.org/officeDocument/2006/relationships/slideLayout" Target="../slideLayouts/slideLayout876.xml"/><Relationship Id="rId36" Type="http://schemas.openxmlformats.org/officeDocument/2006/relationships/slideLayout" Target="../slideLayouts/slideLayout884.xml"/><Relationship Id="rId49" Type="http://schemas.openxmlformats.org/officeDocument/2006/relationships/vmlDrawing" Target="../drawings/vmlDrawing32.vml"/><Relationship Id="rId10" Type="http://schemas.openxmlformats.org/officeDocument/2006/relationships/slideLayout" Target="../slideLayouts/slideLayout858.xml"/><Relationship Id="rId19" Type="http://schemas.openxmlformats.org/officeDocument/2006/relationships/slideLayout" Target="../slideLayouts/slideLayout867.xml"/><Relationship Id="rId31" Type="http://schemas.openxmlformats.org/officeDocument/2006/relationships/slideLayout" Target="../slideLayouts/slideLayout879.xml"/><Relationship Id="rId44" Type="http://schemas.openxmlformats.org/officeDocument/2006/relationships/slideLayout" Target="../slideLayouts/slideLayout892.xml"/><Relationship Id="rId52" Type="http://schemas.openxmlformats.org/officeDocument/2006/relationships/oleObject" Target="../embeddings/oleObject32.bin"/><Relationship Id="rId4" Type="http://schemas.openxmlformats.org/officeDocument/2006/relationships/slideLayout" Target="../slideLayouts/slideLayout852.xml"/><Relationship Id="rId9" Type="http://schemas.openxmlformats.org/officeDocument/2006/relationships/slideLayout" Target="../slideLayouts/slideLayout857.xml"/><Relationship Id="rId14" Type="http://schemas.openxmlformats.org/officeDocument/2006/relationships/slideLayout" Target="../slideLayouts/slideLayout862.xml"/><Relationship Id="rId22" Type="http://schemas.openxmlformats.org/officeDocument/2006/relationships/slideLayout" Target="../slideLayouts/slideLayout870.xml"/><Relationship Id="rId27" Type="http://schemas.openxmlformats.org/officeDocument/2006/relationships/slideLayout" Target="../slideLayouts/slideLayout875.xml"/><Relationship Id="rId30" Type="http://schemas.openxmlformats.org/officeDocument/2006/relationships/slideLayout" Target="../slideLayouts/slideLayout878.xml"/><Relationship Id="rId35" Type="http://schemas.openxmlformats.org/officeDocument/2006/relationships/slideLayout" Target="../slideLayouts/slideLayout883.xml"/><Relationship Id="rId43" Type="http://schemas.openxmlformats.org/officeDocument/2006/relationships/slideLayout" Target="../slideLayouts/slideLayout891.xml"/><Relationship Id="rId48" Type="http://schemas.openxmlformats.org/officeDocument/2006/relationships/theme" Target="../theme/theme21.xml"/><Relationship Id="rId8" Type="http://schemas.openxmlformats.org/officeDocument/2006/relationships/slideLayout" Target="../slideLayouts/slideLayout856.xml"/><Relationship Id="rId51" Type="http://schemas.openxmlformats.org/officeDocument/2006/relationships/tags" Target="../tags/tag51.xml"/></Relationships>
</file>

<file path=ppt/slideMasters/_rels/slideMaster2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8.xml"/><Relationship Id="rId18" Type="http://schemas.openxmlformats.org/officeDocument/2006/relationships/slideLayout" Target="../slideLayouts/slideLayout913.xml"/><Relationship Id="rId26" Type="http://schemas.openxmlformats.org/officeDocument/2006/relationships/slideLayout" Target="../slideLayouts/slideLayout921.xml"/><Relationship Id="rId39" Type="http://schemas.openxmlformats.org/officeDocument/2006/relationships/slideLayout" Target="../slideLayouts/slideLayout934.xml"/><Relationship Id="rId3" Type="http://schemas.openxmlformats.org/officeDocument/2006/relationships/slideLayout" Target="../slideLayouts/slideLayout898.xml"/><Relationship Id="rId21" Type="http://schemas.openxmlformats.org/officeDocument/2006/relationships/slideLayout" Target="../slideLayouts/slideLayout916.xml"/><Relationship Id="rId34" Type="http://schemas.openxmlformats.org/officeDocument/2006/relationships/slideLayout" Target="../slideLayouts/slideLayout929.xml"/><Relationship Id="rId42" Type="http://schemas.openxmlformats.org/officeDocument/2006/relationships/slideLayout" Target="../slideLayouts/slideLayout937.xml"/><Relationship Id="rId47" Type="http://schemas.openxmlformats.org/officeDocument/2006/relationships/slideLayout" Target="../slideLayouts/slideLayout942.xml"/><Relationship Id="rId50" Type="http://schemas.openxmlformats.org/officeDocument/2006/relationships/tags" Target="../tags/tag53.xml"/><Relationship Id="rId7" Type="http://schemas.openxmlformats.org/officeDocument/2006/relationships/slideLayout" Target="../slideLayouts/slideLayout902.xml"/><Relationship Id="rId12" Type="http://schemas.openxmlformats.org/officeDocument/2006/relationships/slideLayout" Target="../slideLayouts/slideLayout907.xml"/><Relationship Id="rId17" Type="http://schemas.openxmlformats.org/officeDocument/2006/relationships/slideLayout" Target="../slideLayouts/slideLayout912.xml"/><Relationship Id="rId25" Type="http://schemas.openxmlformats.org/officeDocument/2006/relationships/slideLayout" Target="../slideLayouts/slideLayout920.xml"/><Relationship Id="rId33" Type="http://schemas.openxmlformats.org/officeDocument/2006/relationships/slideLayout" Target="../slideLayouts/slideLayout928.xml"/><Relationship Id="rId38" Type="http://schemas.openxmlformats.org/officeDocument/2006/relationships/slideLayout" Target="../slideLayouts/slideLayout933.xml"/><Relationship Id="rId46" Type="http://schemas.openxmlformats.org/officeDocument/2006/relationships/slideLayout" Target="../slideLayouts/slideLayout941.xml"/><Relationship Id="rId2" Type="http://schemas.openxmlformats.org/officeDocument/2006/relationships/slideLayout" Target="../slideLayouts/slideLayout897.xml"/><Relationship Id="rId16" Type="http://schemas.openxmlformats.org/officeDocument/2006/relationships/slideLayout" Target="../slideLayouts/slideLayout911.xml"/><Relationship Id="rId20" Type="http://schemas.openxmlformats.org/officeDocument/2006/relationships/slideLayout" Target="../slideLayouts/slideLayout915.xml"/><Relationship Id="rId29" Type="http://schemas.openxmlformats.org/officeDocument/2006/relationships/slideLayout" Target="../slideLayouts/slideLayout924.xml"/><Relationship Id="rId41" Type="http://schemas.openxmlformats.org/officeDocument/2006/relationships/slideLayout" Target="../slideLayouts/slideLayout936.xml"/><Relationship Id="rId1" Type="http://schemas.openxmlformats.org/officeDocument/2006/relationships/slideLayout" Target="../slideLayouts/slideLayout896.xml"/><Relationship Id="rId6" Type="http://schemas.openxmlformats.org/officeDocument/2006/relationships/slideLayout" Target="../slideLayouts/slideLayout901.xml"/><Relationship Id="rId11" Type="http://schemas.openxmlformats.org/officeDocument/2006/relationships/slideLayout" Target="../slideLayouts/slideLayout906.xml"/><Relationship Id="rId24" Type="http://schemas.openxmlformats.org/officeDocument/2006/relationships/slideLayout" Target="../slideLayouts/slideLayout919.xml"/><Relationship Id="rId32" Type="http://schemas.openxmlformats.org/officeDocument/2006/relationships/slideLayout" Target="../slideLayouts/slideLayout927.xml"/><Relationship Id="rId37" Type="http://schemas.openxmlformats.org/officeDocument/2006/relationships/slideLayout" Target="../slideLayouts/slideLayout932.xml"/><Relationship Id="rId40" Type="http://schemas.openxmlformats.org/officeDocument/2006/relationships/slideLayout" Target="../slideLayouts/slideLayout935.xml"/><Relationship Id="rId45" Type="http://schemas.openxmlformats.org/officeDocument/2006/relationships/slideLayout" Target="../slideLayouts/slideLayout940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900.xml"/><Relationship Id="rId15" Type="http://schemas.openxmlformats.org/officeDocument/2006/relationships/slideLayout" Target="../slideLayouts/slideLayout910.xml"/><Relationship Id="rId23" Type="http://schemas.openxmlformats.org/officeDocument/2006/relationships/slideLayout" Target="../slideLayouts/slideLayout918.xml"/><Relationship Id="rId28" Type="http://schemas.openxmlformats.org/officeDocument/2006/relationships/slideLayout" Target="../slideLayouts/slideLayout923.xml"/><Relationship Id="rId36" Type="http://schemas.openxmlformats.org/officeDocument/2006/relationships/slideLayout" Target="../slideLayouts/slideLayout931.xml"/><Relationship Id="rId49" Type="http://schemas.openxmlformats.org/officeDocument/2006/relationships/vmlDrawing" Target="../drawings/vmlDrawing34.vml"/><Relationship Id="rId10" Type="http://schemas.openxmlformats.org/officeDocument/2006/relationships/slideLayout" Target="../slideLayouts/slideLayout905.xml"/><Relationship Id="rId19" Type="http://schemas.openxmlformats.org/officeDocument/2006/relationships/slideLayout" Target="../slideLayouts/slideLayout914.xml"/><Relationship Id="rId31" Type="http://schemas.openxmlformats.org/officeDocument/2006/relationships/slideLayout" Target="../slideLayouts/slideLayout926.xml"/><Relationship Id="rId44" Type="http://schemas.openxmlformats.org/officeDocument/2006/relationships/slideLayout" Target="../slideLayouts/slideLayout939.xml"/><Relationship Id="rId52" Type="http://schemas.openxmlformats.org/officeDocument/2006/relationships/oleObject" Target="../embeddings/oleObject34.bin"/><Relationship Id="rId4" Type="http://schemas.openxmlformats.org/officeDocument/2006/relationships/slideLayout" Target="../slideLayouts/slideLayout899.xml"/><Relationship Id="rId9" Type="http://schemas.openxmlformats.org/officeDocument/2006/relationships/slideLayout" Target="../slideLayouts/slideLayout904.xml"/><Relationship Id="rId14" Type="http://schemas.openxmlformats.org/officeDocument/2006/relationships/slideLayout" Target="../slideLayouts/slideLayout909.xml"/><Relationship Id="rId22" Type="http://schemas.openxmlformats.org/officeDocument/2006/relationships/slideLayout" Target="../slideLayouts/slideLayout917.xml"/><Relationship Id="rId27" Type="http://schemas.openxmlformats.org/officeDocument/2006/relationships/slideLayout" Target="../slideLayouts/slideLayout922.xml"/><Relationship Id="rId30" Type="http://schemas.openxmlformats.org/officeDocument/2006/relationships/slideLayout" Target="../slideLayouts/slideLayout925.xml"/><Relationship Id="rId35" Type="http://schemas.openxmlformats.org/officeDocument/2006/relationships/slideLayout" Target="../slideLayouts/slideLayout930.xml"/><Relationship Id="rId43" Type="http://schemas.openxmlformats.org/officeDocument/2006/relationships/slideLayout" Target="../slideLayouts/slideLayout938.xml"/><Relationship Id="rId48" Type="http://schemas.openxmlformats.org/officeDocument/2006/relationships/theme" Target="../theme/theme22.xml"/><Relationship Id="rId8" Type="http://schemas.openxmlformats.org/officeDocument/2006/relationships/slideLayout" Target="../slideLayouts/slideLayout903.xml"/><Relationship Id="rId51" Type="http://schemas.openxmlformats.org/officeDocument/2006/relationships/tags" Target="../tags/tag54.xml"/></Relationships>
</file>

<file path=ppt/slideMasters/_rels/slideMaster2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5.xml"/><Relationship Id="rId18" Type="http://schemas.openxmlformats.org/officeDocument/2006/relationships/slideLayout" Target="../slideLayouts/slideLayout960.xml"/><Relationship Id="rId26" Type="http://schemas.openxmlformats.org/officeDocument/2006/relationships/slideLayout" Target="../slideLayouts/slideLayout968.xml"/><Relationship Id="rId39" Type="http://schemas.openxmlformats.org/officeDocument/2006/relationships/slideLayout" Target="../slideLayouts/slideLayout981.xml"/><Relationship Id="rId3" Type="http://schemas.openxmlformats.org/officeDocument/2006/relationships/slideLayout" Target="../slideLayouts/slideLayout945.xml"/><Relationship Id="rId21" Type="http://schemas.openxmlformats.org/officeDocument/2006/relationships/slideLayout" Target="../slideLayouts/slideLayout963.xml"/><Relationship Id="rId34" Type="http://schemas.openxmlformats.org/officeDocument/2006/relationships/slideLayout" Target="../slideLayouts/slideLayout976.xml"/><Relationship Id="rId42" Type="http://schemas.openxmlformats.org/officeDocument/2006/relationships/slideLayout" Target="../slideLayouts/slideLayout984.xml"/><Relationship Id="rId47" Type="http://schemas.openxmlformats.org/officeDocument/2006/relationships/slideLayout" Target="../slideLayouts/slideLayout989.xml"/><Relationship Id="rId50" Type="http://schemas.openxmlformats.org/officeDocument/2006/relationships/tags" Target="../tags/tag56.xml"/><Relationship Id="rId7" Type="http://schemas.openxmlformats.org/officeDocument/2006/relationships/slideLayout" Target="../slideLayouts/slideLayout949.xml"/><Relationship Id="rId12" Type="http://schemas.openxmlformats.org/officeDocument/2006/relationships/slideLayout" Target="../slideLayouts/slideLayout954.xml"/><Relationship Id="rId17" Type="http://schemas.openxmlformats.org/officeDocument/2006/relationships/slideLayout" Target="../slideLayouts/slideLayout959.xml"/><Relationship Id="rId25" Type="http://schemas.openxmlformats.org/officeDocument/2006/relationships/slideLayout" Target="../slideLayouts/slideLayout967.xml"/><Relationship Id="rId33" Type="http://schemas.openxmlformats.org/officeDocument/2006/relationships/slideLayout" Target="../slideLayouts/slideLayout975.xml"/><Relationship Id="rId38" Type="http://schemas.openxmlformats.org/officeDocument/2006/relationships/slideLayout" Target="../slideLayouts/slideLayout980.xml"/><Relationship Id="rId46" Type="http://schemas.openxmlformats.org/officeDocument/2006/relationships/slideLayout" Target="../slideLayouts/slideLayout988.xml"/><Relationship Id="rId2" Type="http://schemas.openxmlformats.org/officeDocument/2006/relationships/slideLayout" Target="../slideLayouts/slideLayout944.xml"/><Relationship Id="rId16" Type="http://schemas.openxmlformats.org/officeDocument/2006/relationships/slideLayout" Target="../slideLayouts/slideLayout958.xml"/><Relationship Id="rId20" Type="http://schemas.openxmlformats.org/officeDocument/2006/relationships/slideLayout" Target="../slideLayouts/slideLayout962.xml"/><Relationship Id="rId29" Type="http://schemas.openxmlformats.org/officeDocument/2006/relationships/slideLayout" Target="../slideLayouts/slideLayout971.xml"/><Relationship Id="rId41" Type="http://schemas.openxmlformats.org/officeDocument/2006/relationships/slideLayout" Target="../slideLayouts/slideLayout983.xml"/><Relationship Id="rId1" Type="http://schemas.openxmlformats.org/officeDocument/2006/relationships/slideLayout" Target="../slideLayouts/slideLayout943.xml"/><Relationship Id="rId6" Type="http://schemas.openxmlformats.org/officeDocument/2006/relationships/slideLayout" Target="../slideLayouts/slideLayout948.xml"/><Relationship Id="rId11" Type="http://schemas.openxmlformats.org/officeDocument/2006/relationships/slideLayout" Target="../slideLayouts/slideLayout953.xml"/><Relationship Id="rId24" Type="http://schemas.openxmlformats.org/officeDocument/2006/relationships/slideLayout" Target="../slideLayouts/slideLayout966.xml"/><Relationship Id="rId32" Type="http://schemas.openxmlformats.org/officeDocument/2006/relationships/slideLayout" Target="../slideLayouts/slideLayout974.xml"/><Relationship Id="rId37" Type="http://schemas.openxmlformats.org/officeDocument/2006/relationships/slideLayout" Target="../slideLayouts/slideLayout979.xml"/><Relationship Id="rId40" Type="http://schemas.openxmlformats.org/officeDocument/2006/relationships/slideLayout" Target="../slideLayouts/slideLayout982.xml"/><Relationship Id="rId45" Type="http://schemas.openxmlformats.org/officeDocument/2006/relationships/slideLayout" Target="../slideLayouts/slideLayout987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947.xml"/><Relationship Id="rId15" Type="http://schemas.openxmlformats.org/officeDocument/2006/relationships/slideLayout" Target="../slideLayouts/slideLayout957.xml"/><Relationship Id="rId23" Type="http://schemas.openxmlformats.org/officeDocument/2006/relationships/slideLayout" Target="../slideLayouts/slideLayout965.xml"/><Relationship Id="rId28" Type="http://schemas.openxmlformats.org/officeDocument/2006/relationships/slideLayout" Target="../slideLayouts/slideLayout970.xml"/><Relationship Id="rId36" Type="http://schemas.openxmlformats.org/officeDocument/2006/relationships/slideLayout" Target="../slideLayouts/slideLayout978.xml"/><Relationship Id="rId49" Type="http://schemas.openxmlformats.org/officeDocument/2006/relationships/vmlDrawing" Target="../drawings/vmlDrawing36.vml"/><Relationship Id="rId10" Type="http://schemas.openxmlformats.org/officeDocument/2006/relationships/slideLayout" Target="../slideLayouts/slideLayout952.xml"/><Relationship Id="rId19" Type="http://schemas.openxmlformats.org/officeDocument/2006/relationships/slideLayout" Target="../slideLayouts/slideLayout961.xml"/><Relationship Id="rId31" Type="http://schemas.openxmlformats.org/officeDocument/2006/relationships/slideLayout" Target="../slideLayouts/slideLayout973.xml"/><Relationship Id="rId44" Type="http://schemas.openxmlformats.org/officeDocument/2006/relationships/slideLayout" Target="../slideLayouts/slideLayout986.xml"/><Relationship Id="rId52" Type="http://schemas.openxmlformats.org/officeDocument/2006/relationships/oleObject" Target="../embeddings/oleObject36.bin"/><Relationship Id="rId4" Type="http://schemas.openxmlformats.org/officeDocument/2006/relationships/slideLayout" Target="../slideLayouts/slideLayout946.xml"/><Relationship Id="rId9" Type="http://schemas.openxmlformats.org/officeDocument/2006/relationships/slideLayout" Target="../slideLayouts/slideLayout951.xml"/><Relationship Id="rId14" Type="http://schemas.openxmlformats.org/officeDocument/2006/relationships/slideLayout" Target="../slideLayouts/slideLayout956.xml"/><Relationship Id="rId22" Type="http://schemas.openxmlformats.org/officeDocument/2006/relationships/slideLayout" Target="../slideLayouts/slideLayout964.xml"/><Relationship Id="rId27" Type="http://schemas.openxmlformats.org/officeDocument/2006/relationships/slideLayout" Target="../slideLayouts/slideLayout969.xml"/><Relationship Id="rId30" Type="http://schemas.openxmlformats.org/officeDocument/2006/relationships/slideLayout" Target="../slideLayouts/slideLayout972.xml"/><Relationship Id="rId35" Type="http://schemas.openxmlformats.org/officeDocument/2006/relationships/slideLayout" Target="../slideLayouts/slideLayout977.xml"/><Relationship Id="rId43" Type="http://schemas.openxmlformats.org/officeDocument/2006/relationships/slideLayout" Target="../slideLayouts/slideLayout985.xml"/><Relationship Id="rId48" Type="http://schemas.openxmlformats.org/officeDocument/2006/relationships/theme" Target="../theme/theme23.xml"/><Relationship Id="rId8" Type="http://schemas.openxmlformats.org/officeDocument/2006/relationships/slideLayout" Target="../slideLayouts/slideLayout950.xml"/><Relationship Id="rId51" Type="http://schemas.openxmlformats.org/officeDocument/2006/relationships/tags" Target="../tags/tag57.xml"/></Relationships>
</file>

<file path=ppt/slideMasters/_rels/slideMaster2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2.xml"/><Relationship Id="rId18" Type="http://schemas.openxmlformats.org/officeDocument/2006/relationships/slideLayout" Target="../slideLayouts/slideLayout1007.xml"/><Relationship Id="rId26" Type="http://schemas.openxmlformats.org/officeDocument/2006/relationships/slideLayout" Target="../slideLayouts/slideLayout1015.xml"/><Relationship Id="rId39" Type="http://schemas.openxmlformats.org/officeDocument/2006/relationships/slideLayout" Target="../slideLayouts/slideLayout1028.xml"/><Relationship Id="rId3" Type="http://schemas.openxmlformats.org/officeDocument/2006/relationships/slideLayout" Target="../slideLayouts/slideLayout992.xml"/><Relationship Id="rId21" Type="http://schemas.openxmlformats.org/officeDocument/2006/relationships/slideLayout" Target="../slideLayouts/slideLayout1010.xml"/><Relationship Id="rId34" Type="http://schemas.openxmlformats.org/officeDocument/2006/relationships/slideLayout" Target="../slideLayouts/slideLayout1023.xml"/><Relationship Id="rId42" Type="http://schemas.openxmlformats.org/officeDocument/2006/relationships/slideLayout" Target="../slideLayouts/slideLayout1031.xml"/><Relationship Id="rId47" Type="http://schemas.openxmlformats.org/officeDocument/2006/relationships/slideLayout" Target="../slideLayouts/slideLayout1036.xml"/><Relationship Id="rId50" Type="http://schemas.openxmlformats.org/officeDocument/2006/relationships/tags" Target="../tags/tag59.xml"/><Relationship Id="rId7" Type="http://schemas.openxmlformats.org/officeDocument/2006/relationships/slideLayout" Target="../slideLayouts/slideLayout996.xml"/><Relationship Id="rId12" Type="http://schemas.openxmlformats.org/officeDocument/2006/relationships/slideLayout" Target="../slideLayouts/slideLayout1001.xml"/><Relationship Id="rId17" Type="http://schemas.openxmlformats.org/officeDocument/2006/relationships/slideLayout" Target="../slideLayouts/slideLayout1006.xml"/><Relationship Id="rId25" Type="http://schemas.openxmlformats.org/officeDocument/2006/relationships/slideLayout" Target="../slideLayouts/slideLayout1014.xml"/><Relationship Id="rId33" Type="http://schemas.openxmlformats.org/officeDocument/2006/relationships/slideLayout" Target="../slideLayouts/slideLayout1022.xml"/><Relationship Id="rId38" Type="http://schemas.openxmlformats.org/officeDocument/2006/relationships/slideLayout" Target="../slideLayouts/slideLayout1027.xml"/><Relationship Id="rId46" Type="http://schemas.openxmlformats.org/officeDocument/2006/relationships/slideLayout" Target="../slideLayouts/slideLayout1035.xml"/><Relationship Id="rId2" Type="http://schemas.openxmlformats.org/officeDocument/2006/relationships/slideLayout" Target="../slideLayouts/slideLayout991.xml"/><Relationship Id="rId16" Type="http://schemas.openxmlformats.org/officeDocument/2006/relationships/slideLayout" Target="../slideLayouts/slideLayout1005.xml"/><Relationship Id="rId20" Type="http://schemas.openxmlformats.org/officeDocument/2006/relationships/slideLayout" Target="../slideLayouts/slideLayout1009.xml"/><Relationship Id="rId29" Type="http://schemas.openxmlformats.org/officeDocument/2006/relationships/slideLayout" Target="../slideLayouts/slideLayout1018.xml"/><Relationship Id="rId41" Type="http://schemas.openxmlformats.org/officeDocument/2006/relationships/slideLayout" Target="../slideLayouts/slideLayout1030.xml"/><Relationship Id="rId1" Type="http://schemas.openxmlformats.org/officeDocument/2006/relationships/slideLayout" Target="../slideLayouts/slideLayout990.xml"/><Relationship Id="rId6" Type="http://schemas.openxmlformats.org/officeDocument/2006/relationships/slideLayout" Target="../slideLayouts/slideLayout995.xml"/><Relationship Id="rId11" Type="http://schemas.openxmlformats.org/officeDocument/2006/relationships/slideLayout" Target="../slideLayouts/slideLayout1000.xml"/><Relationship Id="rId24" Type="http://schemas.openxmlformats.org/officeDocument/2006/relationships/slideLayout" Target="../slideLayouts/slideLayout1013.xml"/><Relationship Id="rId32" Type="http://schemas.openxmlformats.org/officeDocument/2006/relationships/slideLayout" Target="../slideLayouts/slideLayout1021.xml"/><Relationship Id="rId37" Type="http://schemas.openxmlformats.org/officeDocument/2006/relationships/slideLayout" Target="../slideLayouts/slideLayout1026.xml"/><Relationship Id="rId40" Type="http://schemas.openxmlformats.org/officeDocument/2006/relationships/slideLayout" Target="../slideLayouts/slideLayout1029.xml"/><Relationship Id="rId45" Type="http://schemas.openxmlformats.org/officeDocument/2006/relationships/slideLayout" Target="../slideLayouts/slideLayout1034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994.xml"/><Relationship Id="rId15" Type="http://schemas.openxmlformats.org/officeDocument/2006/relationships/slideLayout" Target="../slideLayouts/slideLayout1004.xml"/><Relationship Id="rId23" Type="http://schemas.openxmlformats.org/officeDocument/2006/relationships/slideLayout" Target="../slideLayouts/slideLayout1012.xml"/><Relationship Id="rId28" Type="http://schemas.openxmlformats.org/officeDocument/2006/relationships/slideLayout" Target="../slideLayouts/slideLayout1017.xml"/><Relationship Id="rId36" Type="http://schemas.openxmlformats.org/officeDocument/2006/relationships/slideLayout" Target="../slideLayouts/slideLayout1025.xml"/><Relationship Id="rId49" Type="http://schemas.openxmlformats.org/officeDocument/2006/relationships/vmlDrawing" Target="../drawings/vmlDrawing38.vml"/><Relationship Id="rId10" Type="http://schemas.openxmlformats.org/officeDocument/2006/relationships/slideLayout" Target="../slideLayouts/slideLayout999.xml"/><Relationship Id="rId19" Type="http://schemas.openxmlformats.org/officeDocument/2006/relationships/slideLayout" Target="../slideLayouts/slideLayout1008.xml"/><Relationship Id="rId31" Type="http://schemas.openxmlformats.org/officeDocument/2006/relationships/slideLayout" Target="../slideLayouts/slideLayout1020.xml"/><Relationship Id="rId44" Type="http://schemas.openxmlformats.org/officeDocument/2006/relationships/slideLayout" Target="../slideLayouts/slideLayout1033.xml"/><Relationship Id="rId52" Type="http://schemas.openxmlformats.org/officeDocument/2006/relationships/oleObject" Target="../embeddings/oleObject38.bin"/><Relationship Id="rId4" Type="http://schemas.openxmlformats.org/officeDocument/2006/relationships/slideLayout" Target="../slideLayouts/slideLayout993.xml"/><Relationship Id="rId9" Type="http://schemas.openxmlformats.org/officeDocument/2006/relationships/slideLayout" Target="../slideLayouts/slideLayout998.xml"/><Relationship Id="rId14" Type="http://schemas.openxmlformats.org/officeDocument/2006/relationships/slideLayout" Target="../slideLayouts/slideLayout1003.xml"/><Relationship Id="rId22" Type="http://schemas.openxmlformats.org/officeDocument/2006/relationships/slideLayout" Target="../slideLayouts/slideLayout1011.xml"/><Relationship Id="rId27" Type="http://schemas.openxmlformats.org/officeDocument/2006/relationships/slideLayout" Target="../slideLayouts/slideLayout1016.xml"/><Relationship Id="rId30" Type="http://schemas.openxmlformats.org/officeDocument/2006/relationships/slideLayout" Target="../slideLayouts/slideLayout1019.xml"/><Relationship Id="rId35" Type="http://schemas.openxmlformats.org/officeDocument/2006/relationships/slideLayout" Target="../slideLayouts/slideLayout1024.xml"/><Relationship Id="rId43" Type="http://schemas.openxmlformats.org/officeDocument/2006/relationships/slideLayout" Target="../slideLayouts/slideLayout1032.xml"/><Relationship Id="rId48" Type="http://schemas.openxmlformats.org/officeDocument/2006/relationships/theme" Target="../theme/theme24.xml"/><Relationship Id="rId8" Type="http://schemas.openxmlformats.org/officeDocument/2006/relationships/slideLayout" Target="../slideLayouts/slideLayout997.xml"/><Relationship Id="rId51" Type="http://schemas.openxmlformats.org/officeDocument/2006/relationships/tags" Target="../tags/tag60.xml"/></Relationships>
</file>

<file path=ppt/slideMasters/_rels/slideMaster2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49.xml"/><Relationship Id="rId18" Type="http://schemas.openxmlformats.org/officeDocument/2006/relationships/slideLayout" Target="../slideLayouts/slideLayout1054.xml"/><Relationship Id="rId26" Type="http://schemas.openxmlformats.org/officeDocument/2006/relationships/slideLayout" Target="../slideLayouts/slideLayout1062.xml"/><Relationship Id="rId39" Type="http://schemas.openxmlformats.org/officeDocument/2006/relationships/slideLayout" Target="../slideLayouts/slideLayout1075.xml"/><Relationship Id="rId3" Type="http://schemas.openxmlformats.org/officeDocument/2006/relationships/slideLayout" Target="../slideLayouts/slideLayout1039.xml"/><Relationship Id="rId21" Type="http://schemas.openxmlformats.org/officeDocument/2006/relationships/slideLayout" Target="../slideLayouts/slideLayout1057.xml"/><Relationship Id="rId34" Type="http://schemas.openxmlformats.org/officeDocument/2006/relationships/slideLayout" Target="../slideLayouts/slideLayout1070.xml"/><Relationship Id="rId42" Type="http://schemas.openxmlformats.org/officeDocument/2006/relationships/slideLayout" Target="../slideLayouts/slideLayout1078.xml"/><Relationship Id="rId47" Type="http://schemas.openxmlformats.org/officeDocument/2006/relationships/slideLayout" Target="../slideLayouts/slideLayout1083.xml"/><Relationship Id="rId50" Type="http://schemas.openxmlformats.org/officeDocument/2006/relationships/tags" Target="../tags/tag62.xml"/><Relationship Id="rId7" Type="http://schemas.openxmlformats.org/officeDocument/2006/relationships/slideLayout" Target="../slideLayouts/slideLayout1043.xml"/><Relationship Id="rId12" Type="http://schemas.openxmlformats.org/officeDocument/2006/relationships/slideLayout" Target="../slideLayouts/slideLayout1048.xml"/><Relationship Id="rId17" Type="http://schemas.openxmlformats.org/officeDocument/2006/relationships/slideLayout" Target="../slideLayouts/slideLayout1053.xml"/><Relationship Id="rId25" Type="http://schemas.openxmlformats.org/officeDocument/2006/relationships/slideLayout" Target="../slideLayouts/slideLayout1061.xml"/><Relationship Id="rId33" Type="http://schemas.openxmlformats.org/officeDocument/2006/relationships/slideLayout" Target="../slideLayouts/slideLayout1069.xml"/><Relationship Id="rId38" Type="http://schemas.openxmlformats.org/officeDocument/2006/relationships/slideLayout" Target="../slideLayouts/slideLayout1074.xml"/><Relationship Id="rId46" Type="http://schemas.openxmlformats.org/officeDocument/2006/relationships/slideLayout" Target="../slideLayouts/slideLayout1082.xml"/><Relationship Id="rId2" Type="http://schemas.openxmlformats.org/officeDocument/2006/relationships/slideLayout" Target="../slideLayouts/slideLayout1038.xml"/><Relationship Id="rId16" Type="http://schemas.openxmlformats.org/officeDocument/2006/relationships/slideLayout" Target="../slideLayouts/slideLayout1052.xml"/><Relationship Id="rId20" Type="http://schemas.openxmlformats.org/officeDocument/2006/relationships/slideLayout" Target="../slideLayouts/slideLayout1056.xml"/><Relationship Id="rId29" Type="http://schemas.openxmlformats.org/officeDocument/2006/relationships/slideLayout" Target="../slideLayouts/slideLayout1065.xml"/><Relationship Id="rId41" Type="http://schemas.openxmlformats.org/officeDocument/2006/relationships/slideLayout" Target="../slideLayouts/slideLayout1077.xml"/><Relationship Id="rId1" Type="http://schemas.openxmlformats.org/officeDocument/2006/relationships/slideLayout" Target="../slideLayouts/slideLayout1037.xml"/><Relationship Id="rId6" Type="http://schemas.openxmlformats.org/officeDocument/2006/relationships/slideLayout" Target="../slideLayouts/slideLayout1042.xml"/><Relationship Id="rId11" Type="http://schemas.openxmlformats.org/officeDocument/2006/relationships/slideLayout" Target="../slideLayouts/slideLayout1047.xml"/><Relationship Id="rId24" Type="http://schemas.openxmlformats.org/officeDocument/2006/relationships/slideLayout" Target="../slideLayouts/slideLayout1060.xml"/><Relationship Id="rId32" Type="http://schemas.openxmlformats.org/officeDocument/2006/relationships/slideLayout" Target="../slideLayouts/slideLayout1068.xml"/><Relationship Id="rId37" Type="http://schemas.openxmlformats.org/officeDocument/2006/relationships/slideLayout" Target="../slideLayouts/slideLayout1073.xml"/><Relationship Id="rId40" Type="http://schemas.openxmlformats.org/officeDocument/2006/relationships/slideLayout" Target="../slideLayouts/slideLayout1076.xml"/><Relationship Id="rId45" Type="http://schemas.openxmlformats.org/officeDocument/2006/relationships/slideLayout" Target="../slideLayouts/slideLayout1081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041.xml"/><Relationship Id="rId15" Type="http://schemas.openxmlformats.org/officeDocument/2006/relationships/slideLayout" Target="../slideLayouts/slideLayout1051.xml"/><Relationship Id="rId23" Type="http://schemas.openxmlformats.org/officeDocument/2006/relationships/slideLayout" Target="../slideLayouts/slideLayout1059.xml"/><Relationship Id="rId28" Type="http://schemas.openxmlformats.org/officeDocument/2006/relationships/slideLayout" Target="../slideLayouts/slideLayout1064.xml"/><Relationship Id="rId36" Type="http://schemas.openxmlformats.org/officeDocument/2006/relationships/slideLayout" Target="../slideLayouts/slideLayout1072.xml"/><Relationship Id="rId49" Type="http://schemas.openxmlformats.org/officeDocument/2006/relationships/vmlDrawing" Target="../drawings/vmlDrawing40.vml"/><Relationship Id="rId10" Type="http://schemas.openxmlformats.org/officeDocument/2006/relationships/slideLayout" Target="../slideLayouts/slideLayout1046.xml"/><Relationship Id="rId19" Type="http://schemas.openxmlformats.org/officeDocument/2006/relationships/slideLayout" Target="../slideLayouts/slideLayout1055.xml"/><Relationship Id="rId31" Type="http://schemas.openxmlformats.org/officeDocument/2006/relationships/slideLayout" Target="../slideLayouts/slideLayout1067.xml"/><Relationship Id="rId44" Type="http://schemas.openxmlformats.org/officeDocument/2006/relationships/slideLayout" Target="../slideLayouts/slideLayout1080.xml"/><Relationship Id="rId52" Type="http://schemas.openxmlformats.org/officeDocument/2006/relationships/oleObject" Target="../embeddings/oleObject40.bin"/><Relationship Id="rId4" Type="http://schemas.openxmlformats.org/officeDocument/2006/relationships/slideLayout" Target="../slideLayouts/slideLayout1040.xml"/><Relationship Id="rId9" Type="http://schemas.openxmlformats.org/officeDocument/2006/relationships/slideLayout" Target="../slideLayouts/slideLayout1045.xml"/><Relationship Id="rId14" Type="http://schemas.openxmlformats.org/officeDocument/2006/relationships/slideLayout" Target="../slideLayouts/slideLayout1050.xml"/><Relationship Id="rId22" Type="http://schemas.openxmlformats.org/officeDocument/2006/relationships/slideLayout" Target="../slideLayouts/slideLayout1058.xml"/><Relationship Id="rId27" Type="http://schemas.openxmlformats.org/officeDocument/2006/relationships/slideLayout" Target="../slideLayouts/slideLayout1063.xml"/><Relationship Id="rId30" Type="http://schemas.openxmlformats.org/officeDocument/2006/relationships/slideLayout" Target="../slideLayouts/slideLayout1066.xml"/><Relationship Id="rId35" Type="http://schemas.openxmlformats.org/officeDocument/2006/relationships/slideLayout" Target="../slideLayouts/slideLayout1071.xml"/><Relationship Id="rId43" Type="http://schemas.openxmlformats.org/officeDocument/2006/relationships/slideLayout" Target="../slideLayouts/slideLayout1079.xml"/><Relationship Id="rId48" Type="http://schemas.openxmlformats.org/officeDocument/2006/relationships/theme" Target="../theme/theme25.xml"/><Relationship Id="rId8" Type="http://schemas.openxmlformats.org/officeDocument/2006/relationships/slideLayout" Target="../slideLayouts/slideLayout1044.xml"/><Relationship Id="rId51" Type="http://schemas.openxmlformats.org/officeDocument/2006/relationships/tags" Target="../tags/tag63.xml"/></Relationships>
</file>

<file path=ppt/slideMasters/_rels/slideMaster2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6.xml"/><Relationship Id="rId18" Type="http://schemas.openxmlformats.org/officeDocument/2006/relationships/slideLayout" Target="../slideLayouts/slideLayout1101.xml"/><Relationship Id="rId26" Type="http://schemas.openxmlformats.org/officeDocument/2006/relationships/slideLayout" Target="../slideLayouts/slideLayout1109.xml"/><Relationship Id="rId39" Type="http://schemas.openxmlformats.org/officeDocument/2006/relationships/slideLayout" Target="../slideLayouts/slideLayout1122.xml"/><Relationship Id="rId3" Type="http://schemas.openxmlformats.org/officeDocument/2006/relationships/slideLayout" Target="../slideLayouts/slideLayout1086.xml"/><Relationship Id="rId21" Type="http://schemas.openxmlformats.org/officeDocument/2006/relationships/slideLayout" Target="../slideLayouts/slideLayout1104.xml"/><Relationship Id="rId34" Type="http://schemas.openxmlformats.org/officeDocument/2006/relationships/slideLayout" Target="../slideLayouts/slideLayout1117.xml"/><Relationship Id="rId42" Type="http://schemas.openxmlformats.org/officeDocument/2006/relationships/slideLayout" Target="../slideLayouts/slideLayout1125.xml"/><Relationship Id="rId47" Type="http://schemas.openxmlformats.org/officeDocument/2006/relationships/slideLayout" Target="../slideLayouts/slideLayout1130.xml"/><Relationship Id="rId50" Type="http://schemas.openxmlformats.org/officeDocument/2006/relationships/tags" Target="../tags/tag65.xml"/><Relationship Id="rId7" Type="http://schemas.openxmlformats.org/officeDocument/2006/relationships/slideLayout" Target="../slideLayouts/slideLayout1090.xml"/><Relationship Id="rId12" Type="http://schemas.openxmlformats.org/officeDocument/2006/relationships/slideLayout" Target="../slideLayouts/slideLayout1095.xml"/><Relationship Id="rId17" Type="http://schemas.openxmlformats.org/officeDocument/2006/relationships/slideLayout" Target="../slideLayouts/slideLayout1100.xml"/><Relationship Id="rId25" Type="http://schemas.openxmlformats.org/officeDocument/2006/relationships/slideLayout" Target="../slideLayouts/slideLayout1108.xml"/><Relationship Id="rId33" Type="http://schemas.openxmlformats.org/officeDocument/2006/relationships/slideLayout" Target="../slideLayouts/slideLayout1116.xml"/><Relationship Id="rId38" Type="http://schemas.openxmlformats.org/officeDocument/2006/relationships/slideLayout" Target="../slideLayouts/slideLayout1121.xml"/><Relationship Id="rId46" Type="http://schemas.openxmlformats.org/officeDocument/2006/relationships/slideLayout" Target="../slideLayouts/slideLayout1129.xml"/><Relationship Id="rId2" Type="http://schemas.openxmlformats.org/officeDocument/2006/relationships/slideLayout" Target="../slideLayouts/slideLayout1085.xml"/><Relationship Id="rId16" Type="http://schemas.openxmlformats.org/officeDocument/2006/relationships/slideLayout" Target="../slideLayouts/slideLayout1099.xml"/><Relationship Id="rId20" Type="http://schemas.openxmlformats.org/officeDocument/2006/relationships/slideLayout" Target="../slideLayouts/slideLayout1103.xml"/><Relationship Id="rId29" Type="http://schemas.openxmlformats.org/officeDocument/2006/relationships/slideLayout" Target="../slideLayouts/slideLayout1112.xml"/><Relationship Id="rId41" Type="http://schemas.openxmlformats.org/officeDocument/2006/relationships/slideLayout" Target="../slideLayouts/slideLayout1124.xml"/><Relationship Id="rId1" Type="http://schemas.openxmlformats.org/officeDocument/2006/relationships/slideLayout" Target="../slideLayouts/slideLayout1084.xml"/><Relationship Id="rId6" Type="http://schemas.openxmlformats.org/officeDocument/2006/relationships/slideLayout" Target="../slideLayouts/slideLayout1089.xml"/><Relationship Id="rId11" Type="http://schemas.openxmlformats.org/officeDocument/2006/relationships/slideLayout" Target="../slideLayouts/slideLayout1094.xml"/><Relationship Id="rId24" Type="http://schemas.openxmlformats.org/officeDocument/2006/relationships/slideLayout" Target="../slideLayouts/slideLayout1107.xml"/><Relationship Id="rId32" Type="http://schemas.openxmlformats.org/officeDocument/2006/relationships/slideLayout" Target="../slideLayouts/slideLayout1115.xml"/><Relationship Id="rId37" Type="http://schemas.openxmlformats.org/officeDocument/2006/relationships/slideLayout" Target="../slideLayouts/slideLayout1120.xml"/><Relationship Id="rId40" Type="http://schemas.openxmlformats.org/officeDocument/2006/relationships/slideLayout" Target="../slideLayouts/slideLayout1123.xml"/><Relationship Id="rId45" Type="http://schemas.openxmlformats.org/officeDocument/2006/relationships/slideLayout" Target="../slideLayouts/slideLayout1128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088.xml"/><Relationship Id="rId15" Type="http://schemas.openxmlformats.org/officeDocument/2006/relationships/slideLayout" Target="../slideLayouts/slideLayout1098.xml"/><Relationship Id="rId23" Type="http://schemas.openxmlformats.org/officeDocument/2006/relationships/slideLayout" Target="../slideLayouts/slideLayout1106.xml"/><Relationship Id="rId28" Type="http://schemas.openxmlformats.org/officeDocument/2006/relationships/slideLayout" Target="../slideLayouts/slideLayout1111.xml"/><Relationship Id="rId36" Type="http://schemas.openxmlformats.org/officeDocument/2006/relationships/slideLayout" Target="../slideLayouts/slideLayout1119.xml"/><Relationship Id="rId49" Type="http://schemas.openxmlformats.org/officeDocument/2006/relationships/vmlDrawing" Target="../drawings/vmlDrawing42.vml"/><Relationship Id="rId10" Type="http://schemas.openxmlformats.org/officeDocument/2006/relationships/slideLayout" Target="../slideLayouts/slideLayout1093.xml"/><Relationship Id="rId19" Type="http://schemas.openxmlformats.org/officeDocument/2006/relationships/slideLayout" Target="../slideLayouts/slideLayout1102.xml"/><Relationship Id="rId31" Type="http://schemas.openxmlformats.org/officeDocument/2006/relationships/slideLayout" Target="../slideLayouts/slideLayout1114.xml"/><Relationship Id="rId44" Type="http://schemas.openxmlformats.org/officeDocument/2006/relationships/slideLayout" Target="../slideLayouts/slideLayout1127.xml"/><Relationship Id="rId52" Type="http://schemas.openxmlformats.org/officeDocument/2006/relationships/oleObject" Target="../embeddings/oleObject42.bin"/><Relationship Id="rId4" Type="http://schemas.openxmlformats.org/officeDocument/2006/relationships/slideLayout" Target="../slideLayouts/slideLayout1087.xml"/><Relationship Id="rId9" Type="http://schemas.openxmlformats.org/officeDocument/2006/relationships/slideLayout" Target="../slideLayouts/slideLayout1092.xml"/><Relationship Id="rId14" Type="http://schemas.openxmlformats.org/officeDocument/2006/relationships/slideLayout" Target="../slideLayouts/slideLayout1097.xml"/><Relationship Id="rId22" Type="http://schemas.openxmlformats.org/officeDocument/2006/relationships/slideLayout" Target="../slideLayouts/slideLayout1105.xml"/><Relationship Id="rId27" Type="http://schemas.openxmlformats.org/officeDocument/2006/relationships/slideLayout" Target="../slideLayouts/slideLayout1110.xml"/><Relationship Id="rId30" Type="http://schemas.openxmlformats.org/officeDocument/2006/relationships/slideLayout" Target="../slideLayouts/slideLayout1113.xml"/><Relationship Id="rId35" Type="http://schemas.openxmlformats.org/officeDocument/2006/relationships/slideLayout" Target="../slideLayouts/slideLayout1118.xml"/><Relationship Id="rId43" Type="http://schemas.openxmlformats.org/officeDocument/2006/relationships/slideLayout" Target="../slideLayouts/slideLayout1126.xml"/><Relationship Id="rId48" Type="http://schemas.openxmlformats.org/officeDocument/2006/relationships/theme" Target="../theme/theme26.xml"/><Relationship Id="rId8" Type="http://schemas.openxmlformats.org/officeDocument/2006/relationships/slideLayout" Target="../slideLayouts/slideLayout1091.xml"/><Relationship Id="rId51" Type="http://schemas.openxmlformats.org/officeDocument/2006/relationships/tags" Target="../tags/tag66.xml"/></Relationships>
</file>

<file path=ppt/slideMasters/_rels/slideMaster2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43.xml"/><Relationship Id="rId18" Type="http://schemas.openxmlformats.org/officeDocument/2006/relationships/slideLayout" Target="../slideLayouts/slideLayout1148.xml"/><Relationship Id="rId26" Type="http://schemas.openxmlformats.org/officeDocument/2006/relationships/slideLayout" Target="../slideLayouts/slideLayout1156.xml"/><Relationship Id="rId39" Type="http://schemas.openxmlformats.org/officeDocument/2006/relationships/slideLayout" Target="../slideLayouts/slideLayout1169.xml"/><Relationship Id="rId3" Type="http://schemas.openxmlformats.org/officeDocument/2006/relationships/slideLayout" Target="../slideLayouts/slideLayout1133.xml"/><Relationship Id="rId21" Type="http://schemas.openxmlformats.org/officeDocument/2006/relationships/slideLayout" Target="../slideLayouts/slideLayout1151.xml"/><Relationship Id="rId34" Type="http://schemas.openxmlformats.org/officeDocument/2006/relationships/slideLayout" Target="../slideLayouts/slideLayout1164.xml"/><Relationship Id="rId42" Type="http://schemas.openxmlformats.org/officeDocument/2006/relationships/slideLayout" Target="../slideLayouts/slideLayout1172.xml"/><Relationship Id="rId47" Type="http://schemas.openxmlformats.org/officeDocument/2006/relationships/slideLayout" Target="../slideLayouts/slideLayout1177.xml"/><Relationship Id="rId50" Type="http://schemas.openxmlformats.org/officeDocument/2006/relationships/tags" Target="../tags/tag68.xml"/><Relationship Id="rId7" Type="http://schemas.openxmlformats.org/officeDocument/2006/relationships/slideLayout" Target="../slideLayouts/slideLayout1137.xml"/><Relationship Id="rId12" Type="http://schemas.openxmlformats.org/officeDocument/2006/relationships/slideLayout" Target="../slideLayouts/slideLayout1142.xml"/><Relationship Id="rId17" Type="http://schemas.openxmlformats.org/officeDocument/2006/relationships/slideLayout" Target="../slideLayouts/slideLayout1147.xml"/><Relationship Id="rId25" Type="http://schemas.openxmlformats.org/officeDocument/2006/relationships/slideLayout" Target="../slideLayouts/slideLayout1155.xml"/><Relationship Id="rId33" Type="http://schemas.openxmlformats.org/officeDocument/2006/relationships/slideLayout" Target="../slideLayouts/slideLayout1163.xml"/><Relationship Id="rId38" Type="http://schemas.openxmlformats.org/officeDocument/2006/relationships/slideLayout" Target="../slideLayouts/slideLayout1168.xml"/><Relationship Id="rId46" Type="http://schemas.openxmlformats.org/officeDocument/2006/relationships/slideLayout" Target="../slideLayouts/slideLayout1176.xml"/><Relationship Id="rId2" Type="http://schemas.openxmlformats.org/officeDocument/2006/relationships/slideLayout" Target="../slideLayouts/slideLayout1132.xml"/><Relationship Id="rId16" Type="http://schemas.openxmlformats.org/officeDocument/2006/relationships/slideLayout" Target="../slideLayouts/slideLayout1146.xml"/><Relationship Id="rId20" Type="http://schemas.openxmlformats.org/officeDocument/2006/relationships/slideLayout" Target="../slideLayouts/slideLayout1150.xml"/><Relationship Id="rId29" Type="http://schemas.openxmlformats.org/officeDocument/2006/relationships/slideLayout" Target="../slideLayouts/slideLayout1159.xml"/><Relationship Id="rId41" Type="http://schemas.openxmlformats.org/officeDocument/2006/relationships/slideLayout" Target="../slideLayouts/slideLayout1171.xml"/><Relationship Id="rId1" Type="http://schemas.openxmlformats.org/officeDocument/2006/relationships/slideLayout" Target="../slideLayouts/slideLayout1131.xml"/><Relationship Id="rId6" Type="http://schemas.openxmlformats.org/officeDocument/2006/relationships/slideLayout" Target="../slideLayouts/slideLayout1136.xml"/><Relationship Id="rId11" Type="http://schemas.openxmlformats.org/officeDocument/2006/relationships/slideLayout" Target="../slideLayouts/slideLayout1141.xml"/><Relationship Id="rId24" Type="http://schemas.openxmlformats.org/officeDocument/2006/relationships/slideLayout" Target="../slideLayouts/slideLayout1154.xml"/><Relationship Id="rId32" Type="http://schemas.openxmlformats.org/officeDocument/2006/relationships/slideLayout" Target="../slideLayouts/slideLayout1162.xml"/><Relationship Id="rId37" Type="http://schemas.openxmlformats.org/officeDocument/2006/relationships/slideLayout" Target="../slideLayouts/slideLayout1167.xml"/><Relationship Id="rId40" Type="http://schemas.openxmlformats.org/officeDocument/2006/relationships/slideLayout" Target="../slideLayouts/slideLayout1170.xml"/><Relationship Id="rId45" Type="http://schemas.openxmlformats.org/officeDocument/2006/relationships/slideLayout" Target="../slideLayouts/slideLayout117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135.xml"/><Relationship Id="rId15" Type="http://schemas.openxmlformats.org/officeDocument/2006/relationships/slideLayout" Target="../slideLayouts/slideLayout1145.xml"/><Relationship Id="rId23" Type="http://schemas.openxmlformats.org/officeDocument/2006/relationships/slideLayout" Target="../slideLayouts/slideLayout1153.xml"/><Relationship Id="rId28" Type="http://schemas.openxmlformats.org/officeDocument/2006/relationships/slideLayout" Target="../slideLayouts/slideLayout1158.xml"/><Relationship Id="rId36" Type="http://schemas.openxmlformats.org/officeDocument/2006/relationships/slideLayout" Target="../slideLayouts/slideLayout1166.xml"/><Relationship Id="rId49" Type="http://schemas.openxmlformats.org/officeDocument/2006/relationships/vmlDrawing" Target="../drawings/vmlDrawing44.vml"/><Relationship Id="rId10" Type="http://schemas.openxmlformats.org/officeDocument/2006/relationships/slideLayout" Target="../slideLayouts/slideLayout1140.xml"/><Relationship Id="rId19" Type="http://schemas.openxmlformats.org/officeDocument/2006/relationships/slideLayout" Target="../slideLayouts/slideLayout1149.xml"/><Relationship Id="rId31" Type="http://schemas.openxmlformats.org/officeDocument/2006/relationships/slideLayout" Target="../slideLayouts/slideLayout1161.xml"/><Relationship Id="rId44" Type="http://schemas.openxmlformats.org/officeDocument/2006/relationships/slideLayout" Target="../slideLayouts/slideLayout1174.xml"/><Relationship Id="rId52" Type="http://schemas.openxmlformats.org/officeDocument/2006/relationships/oleObject" Target="../embeddings/oleObject44.bin"/><Relationship Id="rId4" Type="http://schemas.openxmlformats.org/officeDocument/2006/relationships/slideLayout" Target="../slideLayouts/slideLayout1134.xml"/><Relationship Id="rId9" Type="http://schemas.openxmlformats.org/officeDocument/2006/relationships/slideLayout" Target="../slideLayouts/slideLayout1139.xml"/><Relationship Id="rId14" Type="http://schemas.openxmlformats.org/officeDocument/2006/relationships/slideLayout" Target="../slideLayouts/slideLayout1144.xml"/><Relationship Id="rId22" Type="http://schemas.openxmlformats.org/officeDocument/2006/relationships/slideLayout" Target="../slideLayouts/slideLayout1152.xml"/><Relationship Id="rId27" Type="http://schemas.openxmlformats.org/officeDocument/2006/relationships/slideLayout" Target="../slideLayouts/slideLayout1157.xml"/><Relationship Id="rId30" Type="http://schemas.openxmlformats.org/officeDocument/2006/relationships/slideLayout" Target="../slideLayouts/slideLayout1160.xml"/><Relationship Id="rId35" Type="http://schemas.openxmlformats.org/officeDocument/2006/relationships/slideLayout" Target="../slideLayouts/slideLayout1165.xml"/><Relationship Id="rId43" Type="http://schemas.openxmlformats.org/officeDocument/2006/relationships/slideLayout" Target="../slideLayouts/slideLayout1173.xml"/><Relationship Id="rId48" Type="http://schemas.openxmlformats.org/officeDocument/2006/relationships/theme" Target="../theme/theme27.xml"/><Relationship Id="rId8" Type="http://schemas.openxmlformats.org/officeDocument/2006/relationships/slideLayout" Target="../slideLayouts/slideLayout1138.xml"/><Relationship Id="rId51" Type="http://schemas.openxmlformats.org/officeDocument/2006/relationships/tags" Target="../tags/tag69.xml"/></Relationships>
</file>

<file path=ppt/slideMasters/_rels/slideMaster2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90.xml"/><Relationship Id="rId18" Type="http://schemas.openxmlformats.org/officeDocument/2006/relationships/slideLayout" Target="../slideLayouts/slideLayout1195.xml"/><Relationship Id="rId26" Type="http://schemas.openxmlformats.org/officeDocument/2006/relationships/slideLayout" Target="../slideLayouts/slideLayout1203.xml"/><Relationship Id="rId39" Type="http://schemas.openxmlformats.org/officeDocument/2006/relationships/slideLayout" Target="../slideLayouts/slideLayout1216.xml"/><Relationship Id="rId3" Type="http://schemas.openxmlformats.org/officeDocument/2006/relationships/slideLayout" Target="../slideLayouts/slideLayout1180.xml"/><Relationship Id="rId21" Type="http://schemas.openxmlformats.org/officeDocument/2006/relationships/slideLayout" Target="../slideLayouts/slideLayout1198.xml"/><Relationship Id="rId34" Type="http://schemas.openxmlformats.org/officeDocument/2006/relationships/slideLayout" Target="../slideLayouts/slideLayout1211.xml"/><Relationship Id="rId42" Type="http://schemas.openxmlformats.org/officeDocument/2006/relationships/slideLayout" Target="../slideLayouts/slideLayout1219.xml"/><Relationship Id="rId47" Type="http://schemas.openxmlformats.org/officeDocument/2006/relationships/slideLayout" Target="../slideLayouts/slideLayout1224.xml"/><Relationship Id="rId50" Type="http://schemas.openxmlformats.org/officeDocument/2006/relationships/tags" Target="../tags/tag71.xml"/><Relationship Id="rId7" Type="http://schemas.openxmlformats.org/officeDocument/2006/relationships/slideLayout" Target="../slideLayouts/slideLayout1184.xml"/><Relationship Id="rId12" Type="http://schemas.openxmlformats.org/officeDocument/2006/relationships/slideLayout" Target="../slideLayouts/slideLayout1189.xml"/><Relationship Id="rId17" Type="http://schemas.openxmlformats.org/officeDocument/2006/relationships/slideLayout" Target="../slideLayouts/slideLayout1194.xml"/><Relationship Id="rId25" Type="http://schemas.openxmlformats.org/officeDocument/2006/relationships/slideLayout" Target="../slideLayouts/slideLayout1202.xml"/><Relationship Id="rId33" Type="http://schemas.openxmlformats.org/officeDocument/2006/relationships/slideLayout" Target="../slideLayouts/slideLayout1210.xml"/><Relationship Id="rId38" Type="http://schemas.openxmlformats.org/officeDocument/2006/relationships/slideLayout" Target="../slideLayouts/slideLayout1215.xml"/><Relationship Id="rId46" Type="http://schemas.openxmlformats.org/officeDocument/2006/relationships/slideLayout" Target="../slideLayouts/slideLayout1223.xml"/><Relationship Id="rId2" Type="http://schemas.openxmlformats.org/officeDocument/2006/relationships/slideLayout" Target="../slideLayouts/slideLayout1179.xml"/><Relationship Id="rId16" Type="http://schemas.openxmlformats.org/officeDocument/2006/relationships/slideLayout" Target="../slideLayouts/slideLayout1193.xml"/><Relationship Id="rId20" Type="http://schemas.openxmlformats.org/officeDocument/2006/relationships/slideLayout" Target="../slideLayouts/slideLayout1197.xml"/><Relationship Id="rId29" Type="http://schemas.openxmlformats.org/officeDocument/2006/relationships/slideLayout" Target="../slideLayouts/slideLayout1206.xml"/><Relationship Id="rId41" Type="http://schemas.openxmlformats.org/officeDocument/2006/relationships/slideLayout" Target="../slideLayouts/slideLayout1218.xml"/><Relationship Id="rId1" Type="http://schemas.openxmlformats.org/officeDocument/2006/relationships/slideLayout" Target="../slideLayouts/slideLayout1178.xml"/><Relationship Id="rId6" Type="http://schemas.openxmlformats.org/officeDocument/2006/relationships/slideLayout" Target="../slideLayouts/slideLayout1183.xml"/><Relationship Id="rId11" Type="http://schemas.openxmlformats.org/officeDocument/2006/relationships/slideLayout" Target="../slideLayouts/slideLayout1188.xml"/><Relationship Id="rId24" Type="http://schemas.openxmlformats.org/officeDocument/2006/relationships/slideLayout" Target="../slideLayouts/slideLayout1201.xml"/><Relationship Id="rId32" Type="http://schemas.openxmlformats.org/officeDocument/2006/relationships/slideLayout" Target="../slideLayouts/slideLayout1209.xml"/><Relationship Id="rId37" Type="http://schemas.openxmlformats.org/officeDocument/2006/relationships/slideLayout" Target="../slideLayouts/slideLayout1214.xml"/><Relationship Id="rId40" Type="http://schemas.openxmlformats.org/officeDocument/2006/relationships/slideLayout" Target="../slideLayouts/slideLayout1217.xml"/><Relationship Id="rId45" Type="http://schemas.openxmlformats.org/officeDocument/2006/relationships/slideLayout" Target="../slideLayouts/slideLayout1222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182.xml"/><Relationship Id="rId15" Type="http://schemas.openxmlformats.org/officeDocument/2006/relationships/slideLayout" Target="../slideLayouts/slideLayout1192.xml"/><Relationship Id="rId23" Type="http://schemas.openxmlformats.org/officeDocument/2006/relationships/slideLayout" Target="../slideLayouts/slideLayout1200.xml"/><Relationship Id="rId28" Type="http://schemas.openxmlformats.org/officeDocument/2006/relationships/slideLayout" Target="../slideLayouts/slideLayout1205.xml"/><Relationship Id="rId36" Type="http://schemas.openxmlformats.org/officeDocument/2006/relationships/slideLayout" Target="../slideLayouts/slideLayout1213.xml"/><Relationship Id="rId49" Type="http://schemas.openxmlformats.org/officeDocument/2006/relationships/vmlDrawing" Target="../drawings/vmlDrawing46.vml"/><Relationship Id="rId10" Type="http://schemas.openxmlformats.org/officeDocument/2006/relationships/slideLayout" Target="../slideLayouts/slideLayout1187.xml"/><Relationship Id="rId19" Type="http://schemas.openxmlformats.org/officeDocument/2006/relationships/slideLayout" Target="../slideLayouts/slideLayout1196.xml"/><Relationship Id="rId31" Type="http://schemas.openxmlformats.org/officeDocument/2006/relationships/slideLayout" Target="../slideLayouts/slideLayout1208.xml"/><Relationship Id="rId44" Type="http://schemas.openxmlformats.org/officeDocument/2006/relationships/slideLayout" Target="../slideLayouts/slideLayout1221.xml"/><Relationship Id="rId52" Type="http://schemas.openxmlformats.org/officeDocument/2006/relationships/oleObject" Target="../embeddings/oleObject46.bin"/><Relationship Id="rId4" Type="http://schemas.openxmlformats.org/officeDocument/2006/relationships/slideLayout" Target="../slideLayouts/slideLayout1181.xml"/><Relationship Id="rId9" Type="http://schemas.openxmlformats.org/officeDocument/2006/relationships/slideLayout" Target="../slideLayouts/slideLayout1186.xml"/><Relationship Id="rId14" Type="http://schemas.openxmlformats.org/officeDocument/2006/relationships/slideLayout" Target="../slideLayouts/slideLayout1191.xml"/><Relationship Id="rId22" Type="http://schemas.openxmlformats.org/officeDocument/2006/relationships/slideLayout" Target="../slideLayouts/slideLayout1199.xml"/><Relationship Id="rId27" Type="http://schemas.openxmlformats.org/officeDocument/2006/relationships/slideLayout" Target="../slideLayouts/slideLayout1204.xml"/><Relationship Id="rId30" Type="http://schemas.openxmlformats.org/officeDocument/2006/relationships/slideLayout" Target="../slideLayouts/slideLayout1207.xml"/><Relationship Id="rId35" Type="http://schemas.openxmlformats.org/officeDocument/2006/relationships/slideLayout" Target="../slideLayouts/slideLayout1212.xml"/><Relationship Id="rId43" Type="http://schemas.openxmlformats.org/officeDocument/2006/relationships/slideLayout" Target="../slideLayouts/slideLayout1220.xml"/><Relationship Id="rId48" Type="http://schemas.openxmlformats.org/officeDocument/2006/relationships/theme" Target="../theme/theme28.xml"/><Relationship Id="rId8" Type="http://schemas.openxmlformats.org/officeDocument/2006/relationships/slideLayout" Target="../slideLayouts/slideLayout1185.xml"/><Relationship Id="rId51" Type="http://schemas.openxmlformats.org/officeDocument/2006/relationships/tags" Target="../tags/tag72.xml"/></Relationships>
</file>

<file path=ppt/slideMasters/_rels/slideMaster2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7.xml"/><Relationship Id="rId18" Type="http://schemas.openxmlformats.org/officeDocument/2006/relationships/slideLayout" Target="../slideLayouts/slideLayout1242.xml"/><Relationship Id="rId26" Type="http://schemas.openxmlformats.org/officeDocument/2006/relationships/slideLayout" Target="../slideLayouts/slideLayout1250.xml"/><Relationship Id="rId39" Type="http://schemas.openxmlformats.org/officeDocument/2006/relationships/slideLayout" Target="../slideLayouts/slideLayout1263.xml"/><Relationship Id="rId3" Type="http://schemas.openxmlformats.org/officeDocument/2006/relationships/slideLayout" Target="../slideLayouts/slideLayout1227.xml"/><Relationship Id="rId21" Type="http://schemas.openxmlformats.org/officeDocument/2006/relationships/slideLayout" Target="../slideLayouts/slideLayout1245.xml"/><Relationship Id="rId34" Type="http://schemas.openxmlformats.org/officeDocument/2006/relationships/slideLayout" Target="../slideLayouts/slideLayout1258.xml"/><Relationship Id="rId42" Type="http://schemas.openxmlformats.org/officeDocument/2006/relationships/slideLayout" Target="../slideLayouts/slideLayout1266.xml"/><Relationship Id="rId47" Type="http://schemas.openxmlformats.org/officeDocument/2006/relationships/slideLayout" Target="../slideLayouts/slideLayout1271.xml"/><Relationship Id="rId50" Type="http://schemas.openxmlformats.org/officeDocument/2006/relationships/tags" Target="../tags/tag74.xml"/><Relationship Id="rId7" Type="http://schemas.openxmlformats.org/officeDocument/2006/relationships/slideLayout" Target="../slideLayouts/slideLayout1231.xml"/><Relationship Id="rId12" Type="http://schemas.openxmlformats.org/officeDocument/2006/relationships/slideLayout" Target="../slideLayouts/slideLayout1236.xml"/><Relationship Id="rId17" Type="http://schemas.openxmlformats.org/officeDocument/2006/relationships/slideLayout" Target="../slideLayouts/slideLayout1241.xml"/><Relationship Id="rId25" Type="http://schemas.openxmlformats.org/officeDocument/2006/relationships/slideLayout" Target="../slideLayouts/slideLayout1249.xml"/><Relationship Id="rId33" Type="http://schemas.openxmlformats.org/officeDocument/2006/relationships/slideLayout" Target="../slideLayouts/slideLayout1257.xml"/><Relationship Id="rId38" Type="http://schemas.openxmlformats.org/officeDocument/2006/relationships/slideLayout" Target="../slideLayouts/slideLayout1262.xml"/><Relationship Id="rId46" Type="http://schemas.openxmlformats.org/officeDocument/2006/relationships/slideLayout" Target="../slideLayouts/slideLayout1270.xml"/><Relationship Id="rId2" Type="http://schemas.openxmlformats.org/officeDocument/2006/relationships/slideLayout" Target="../slideLayouts/slideLayout1226.xml"/><Relationship Id="rId16" Type="http://schemas.openxmlformats.org/officeDocument/2006/relationships/slideLayout" Target="../slideLayouts/slideLayout1240.xml"/><Relationship Id="rId20" Type="http://schemas.openxmlformats.org/officeDocument/2006/relationships/slideLayout" Target="../slideLayouts/slideLayout1244.xml"/><Relationship Id="rId29" Type="http://schemas.openxmlformats.org/officeDocument/2006/relationships/slideLayout" Target="../slideLayouts/slideLayout1253.xml"/><Relationship Id="rId41" Type="http://schemas.openxmlformats.org/officeDocument/2006/relationships/slideLayout" Target="../slideLayouts/slideLayout1265.xml"/><Relationship Id="rId1" Type="http://schemas.openxmlformats.org/officeDocument/2006/relationships/slideLayout" Target="../slideLayouts/slideLayout1225.xml"/><Relationship Id="rId6" Type="http://schemas.openxmlformats.org/officeDocument/2006/relationships/slideLayout" Target="../slideLayouts/slideLayout1230.xml"/><Relationship Id="rId11" Type="http://schemas.openxmlformats.org/officeDocument/2006/relationships/slideLayout" Target="../slideLayouts/slideLayout1235.xml"/><Relationship Id="rId24" Type="http://schemas.openxmlformats.org/officeDocument/2006/relationships/slideLayout" Target="../slideLayouts/slideLayout1248.xml"/><Relationship Id="rId32" Type="http://schemas.openxmlformats.org/officeDocument/2006/relationships/slideLayout" Target="../slideLayouts/slideLayout1256.xml"/><Relationship Id="rId37" Type="http://schemas.openxmlformats.org/officeDocument/2006/relationships/slideLayout" Target="../slideLayouts/slideLayout1261.xml"/><Relationship Id="rId40" Type="http://schemas.openxmlformats.org/officeDocument/2006/relationships/slideLayout" Target="../slideLayouts/slideLayout1264.xml"/><Relationship Id="rId45" Type="http://schemas.openxmlformats.org/officeDocument/2006/relationships/slideLayout" Target="../slideLayouts/slideLayout1269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229.xml"/><Relationship Id="rId15" Type="http://schemas.openxmlformats.org/officeDocument/2006/relationships/slideLayout" Target="../slideLayouts/slideLayout1239.xml"/><Relationship Id="rId23" Type="http://schemas.openxmlformats.org/officeDocument/2006/relationships/slideLayout" Target="../slideLayouts/slideLayout1247.xml"/><Relationship Id="rId28" Type="http://schemas.openxmlformats.org/officeDocument/2006/relationships/slideLayout" Target="../slideLayouts/slideLayout1252.xml"/><Relationship Id="rId36" Type="http://schemas.openxmlformats.org/officeDocument/2006/relationships/slideLayout" Target="../slideLayouts/slideLayout1260.xml"/><Relationship Id="rId49" Type="http://schemas.openxmlformats.org/officeDocument/2006/relationships/vmlDrawing" Target="../drawings/vmlDrawing48.vml"/><Relationship Id="rId10" Type="http://schemas.openxmlformats.org/officeDocument/2006/relationships/slideLayout" Target="../slideLayouts/slideLayout1234.xml"/><Relationship Id="rId19" Type="http://schemas.openxmlformats.org/officeDocument/2006/relationships/slideLayout" Target="../slideLayouts/slideLayout1243.xml"/><Relationship Id="rId31" Type="http://schemas.openxmlformats.org/officeDocument/2006/relationships/slideLayout" Target="../slideLayouts/slideLayout1255.xml"/><Relationship Id="rId44" Type="http://schemas.openxmlformats.org/officeDocument/2006/relationships/slideLayout" Target="../slideLayouts/slideLayout1268.xml"/><Relationship Id="rId52" Type="http://schemas.openxmlformats.org/officeDocument/2006/relationships/oleObject" Target="../embeddings/oleObject48.bin"/><Relationship Id="rId4" Type="http://schemas.openxmlformats.org/officeDocument/2006/relationships/slideLayout" Target="../slideLayouts/slideLayout1228.xml"/><Relationship Id="rId9" Type="http://schemas.openxmlformats.org/officeDocument/2006/relationships/slideLayout" Target="../slideLayouts/slideLayout1233.xml"/><Relationship Id="rId14" Type="http://schemas.openxmlformats.org/officeDocument/2006/relationships/slideLayout" Target="../slideLayouts/slideLayout1238.xml"/><Relationship Id="rId22" Type="http://schemas.openxmlformats.org/officeDocument/2006/relationships/slideLayout" Target="../slideLayouts/slideLayout1246.xml"/><Relationship Id="rId27" Type="http://schemas.openxmlformats.org/officeDocument/2006/relationships/slideLayout" Target="../slideLayouts/slideLayout1251.xml"/><Relationship Id="rId30" Type="http://schemas.openxmlformats.org/officeDocument/2006/relationships/slideLayout" Target="../slideLayouts/slideLayout1254.xml"/><Relationship Id="rId35" Type="http://schemas.openxmlformats.org/officeDocument/2006/relationships/slideLayout" Target="../slideLayouts/slideLayout1259.xml"/><Relationship Id="rId43" Type="http://schemas.openxmlformats.org/officeDocument/2006/relationships/slideLayout" Target="../slideLayouts/slideLayout1267.xml"/><Relationship Id="rId48" Type="http://schemas.openxmlformats.org/officeDocument/2006/relationships/theme" Target="../theme/theme29.xml"/><Relationship Id="rId8" Type="http://schemas.openxmlformats.org/officeDocument/2006/relationships/slideLayout" Target="../slideLayouts/slideLayout1232.xml"/><Relationship Id="rId51" Type="http://schemas.openxmlformats.org/officeDocument/2006/relationships/tags" Target="../tags/tag7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9" Type="http://schemas.openxmlformats.org/officeDocument/2006/relationships/slideLayout" Target="../slideLayouts/slideLayout95.xml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34" Type="http://schemas.openxmlformats.org/officeDocument/2006/relationships/slideLayout" Target="../slideLayouts/slideLayout90.xml"/><Relationship Id="rId42" Type="http://schemas.openxmlformats.org/officeDocument/2006/relationships/slideLayout" Target="../slideLayouts/slideLayout98.xml"/><Relationship Id="rId47" Type="http://schemas.openxmlformats.org/officeDocument/2006/relationships/slideLayout" Target="../slideLayouts/slideLayout103.xml"/><Relationship Id="rId50" Type="http://schemas.openxmlformats.org/officeDocument/2006/relationships/tags" Target="../tags/tag3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46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97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slideLayout" Target="../slideLayouts/slideLayout96.xml"/><Relationship Id="rId45" Type="http://schemas.openxmlformats.org/officeDocument/2006/relationships/slideLayout" Target="../slideLayouts/slideLayout101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49" Type="http://schemas.openxmlformats.org/officeDocument/2006/relationships/vmlDrawing" Target="../drawings/vmlDrawing2.v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87.xml"/><Relationship Id="rId44" Type="http://schemas.openxmlformats.org/officeDocument/2006/relationships/slideLayout" Target="../slideLayouts/slideLayout100.xml"/><Relationship Id="rId52" Type="http://schemas.openxmlformats.org/officeDocument/2006/relationships/oleObject" Target="../embeddings/oleObject2.bin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43" Type="http://schemas.openxmlformats.org/officeDocument/2006/relationships/slideLayout" Target="../slideLayouts/slideLayout99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64.xml"/><Relationship Id="rId51" Type="http://schemas.openxmlformats.org/officeDocument/2006/relationships/tags" Target="../tags/tag4.xml"/></Relationships>
</file>

<file path=ppt/slideMasters/_rels/slideMaster3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84.xml"/><Relationship Id="rId18" Type="http://schemas.openxmlformats.org/officeDocument/2006/relationships/slideLayout" Target="../slideLayouts/slideLayout1289.xml"/><Relationship Id="rId26" Type="http://schemas.openxmlformats.org/officeDocument/2006/relationships/slideLayout" Target="../slideLayouts/slideLayout1297.xml"/><Relationship Id="rId39" Type="http://schemas.openxmlformats.org/officeDocument/2006/relationships/slideLayout" Target="../slideLayouts/slideLayout1310.xml"/><Relationship Id="rId3" Type="http://schemas.openxmlformats.org/officeDocument/2006/relationships/slideLayout" Target="../slideLayouts/slideLayout1274.xml"/><Relationship Id="rId21" Type="http://schemas.openxmlformats.org/officeDocument/2006/relationships/slideLayout" Target="../slideLayouts/slideLayout1292.xml"/><Relationship Id="rId34" Type="http://schemas.openxmlformats.org/officeDocument/2006/relationships/slideLayout" Target="../slideLayouts/slideLayout1305.xml"/><Relationship Id="rId42" Type="http://schemas.openxmlformats.org/officeDocument/2006/relationships/slideLayout" Target="../slideLayouts/slideLayout1313.xml"/><Relationship Id="rId47" Type="http://schemas.openxmlformats.org/officeDocument/2006/relationships/slideLayout" Target="../slideLayouts/slideLayout1318.xml"/><Relationship Id="rId50" Type="http://schemas.openxmlformats.org/officeDocument/2006/relationships/tags" Target="../tags/tag77.xml"/><Relationship Id="rId7" Type="http://schemas.openxmlformats.org/officeDocument/2006/relationships/slideLayout" Target="../slideLayouts/slideLayout1278.xml"/><Relationship Id="rId12" Type="http://schemas.openxmlformats.org/officeDocument/2006/relationships/slideLayout" Target="../slideLayouts/slideLayout1283.xml"/><Relationship Id="rId17" Type="http://schemas.openxmlformats.org/officeDocument/2006/relationships/slideLayout" Target="../slideLayouts/slideLayout1288.xml"/><Relationship Id="rId25" Type="http://schemas.openxmlformats.org/officeDocument/2006/relationships/slideLayout" Target="../slideLayouts/slideLayout1296.xml"/><Relationship Id="rId33" Type="http://schemas.openxmlformats.org/officeDocument/2006/relationships/slideLayout" Target="../slideLayouts/slideLayout1304.xml"/><Relationship Id="rId38" Type="http://schemas.openxmlformats.org/officeDocument/2006/relationships/slideLayout" Target="../slideLayouts/slideLayout1309.xml"/><Relationship Id="rId46" Type="http://schemas.openxmlformats.org/officeDocument/2006/relationships/slideLayout" Target="../slideLayouts/slideLayout1317.xml"/><Relationship Id="rId2" Type="http://schemas.openxmlformats.org/officeDocument/2006/relationships/slideLayout" Target="../slideLayouts/slideLayout1273.xml"/><Relationship Id="rId16" Type="http://schemas.openxmlformats.org/officeDocument/2006/relationships/slideLayout" Target="../slideLayouts/slideLayout1287.xml"/><Relationship Id="rId20" Type="http://schemas.openxmlformats.org/officeDocument/2006/relationships/slideLayout" Target="../slideLayouts/slideLayout1291.xml"/><Relationship Id="rId29" Type="http://schemas.openxmlformats.org/officeDocument/2006/relationships/slideLayout" Target="../slideLayouts/slideLayout1300.xml"/><Relationship Id="rId41" Type="http://schemas.openxmlformats.org/officeDocument/2006/relationships/slideLayout" Target="../slideLayouts/slideLayout1312.xml"/><Relationship Id="rId1" Type="http://schemas.openxmlformats.org/officeDocument/2006/relationships/slideLayout" Target="../slideLayouts/slideLayout1272.xml"/><Relationship Id="rId6" Type="http://schemas.openxmlformats.org/officeDocument/2006/relationships/slideLayout" Target="../slideLayouts/slideLayout1277.xml"/><Relationship Id="rId11" Type="http://schemas.openxmlformats.org/officeDocument/2006/relationships/slideLayout" Target="../slideLayouts/slideLayout1282.xml"/><Relationship Id="rId24" Type="http://schemas.openxmlformats.org/officeDocument/2006/relationships/slideLayout" Target="../slideLayouts/slideLayout1295.xml"/><Relationship Id="rId32" Type="http://schemas.openxmlformats.org/officeDocument/2006/relationships/slideLayout" Target="../slideLayouts/slideLayout1303.xml"/><Relationship Id="rId37" Type="http://schemas.openxmlformats.org/officeDocument/2006/relationships/slideLayout" Target="../slideLayouts/slideLayout1308.xml"/><Relationship Id="rId40" Type="http://schemas.openxmlformats.org/officeDocument/2006/relationships/slideLayout" Target="../slideLayouts/slideLayout1311.xml"/><Relationship Id="rId45" Type="http://schemas.openxmlformats.org/officeDocument/2006/relationships/slideLayout" Target="../slideLayouts/slideLayout1316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276.xml"/><Relationship Id="rId15" Type="http://schemas.openxmlformats.org/officeDocument/2006/relationships/slideLayout" Target="../slideLayouts/slideLayout1286.xml"/><Relationship Id="rId23" Type="http://schemas.openxmlformats.org/officeDocument/2006/relationships/slideLayout" Target="../slideLayouts/slideLayout1294.xml"/><Relationship Id="rId28" Type="http://schemas.openxmlformats.org/officeDocument/2006/relationships/slideLayout" Target="../slideLayouts/slideLayout1299.xml"/><Relationship Id="rId36" Type="http://schemas.openxmlformats.org/officeDocument/2006/relationships/slideLayout" Target="../slideLayouts/slideLayout1307.xml"/><Relationship Id="rId49" Type="http://schemas.openxmlformats.org/officeDocument/2006/relationships/vmlDrawing" Target="../drawings/vmlDrawing50.vml"/><Relationship Id="rId10" Type="http://schemas.openxmlformats.org/officeDocument/2006/relationships/slideLayout" Target="../slideLayouts/slideLayout1281.xml"/><Relationship Id="rId19" Type="http://schemas.openxmlformats.org/officeDocument/2006/relationships/slideLayout" Target="../slideLayouts/slideLayout1290.xml"/><Relationship Id="rId31" Type="http://schemas.openxmlformats.org/officeDocument/2006/relationships/slideLayout" Target="../slideLayouts/slideLayout1302.xml"/><Relationship Id="rId44" Type="http://schemas.openxmlformats.org/officeDocument/2006/relationships/slideLayout" Target="../slideLayouts/slideLayout1315.xml"/><Relationship Id="rId52" Type="http://schemas.openxmlformats.org/officeDocument/2006/relationships/oleObject" Target="../embeddings/oleObject50.bin"/><Relationship Id="rId4" Type="http://schemas.openxmlformats.org/officeDocument/2006/relationships/slideLayout" Target="../slideLayouts/slideLayout1275.xml"/><Relationship Id="rId9" Type="http://schemas.openxmlformats.org/officeDocument/2006/relationships/slideLayout" Target="../slideLayouts/slideLayout1280.xml"/><Relationship Id="rId14" Type="http://schemas.openxmlformats.org/officeDocument/2006/relationships/slideLayout" Target="../slideLayouts/slideLayout1285.xml"/><Relationship Id="rId22" Type="http://schemas.openxmlformats.org/officeDocument/2006/relationships/slideLayout" Target="../slideLayouts/slideLayout1293.xml"/><Relationship Id="rId27" Type="http://schemas.openxmlformats.org/officeDocument/2006/relationships/slideLayout" Target="../slideLayouts/slideLayout1298.xml"/><Relationship Id="rId30" Type="http://schemas.openxmlformats.org/officeDocument/2006/relationships/slideLayout" Target="../slideLayouts/slideLayout1301.xml"/><Relationship Id="rId35" Type="http://schemas.openxmlformats.org/officeDocument/2006/relationships/slideLayout" Target="../slideLayouts/slideLayout1306.xml"/><Relationship Id="rId43" Type="http://schemas.openxmlformats.org/officeDocument/2006/relationships/slideLayout" Target="../slideLayouts/slideLayout1314.xml"/><Relationship Id="rId48" Type="http://schemas.openxmlformats.org/officeDocument/2006/relationships/theme" Target="../theme/theme30.xml"/><Relationship Id="rId8" Type="http://schemas.openxmlformats.org/officeDocument/2006/relationships/slideLayout" Target="../slideLayouts/slideLayout1279.xml"/><Relationship Id="rId51" Type="http://schemas.openxmlformats.org/officeDocument/2006/relationships/tags" Target="../tags/tag78.xml"/></Relationships>
</file>

<file path=ppt/slideMasters/_rels/slideMaster3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31.xml"/><Relationship Id="rId18" Type="http://schemas.openxmlformats.org/officeDocument/2006/relationships/slideLayout" Target="../slideLayouts/slideLayout1336.xml"/><Relationship Id="rId26" Type="http://schemas.openxmlformats.org/officeDocument/2006/relationships/slideLayout" Target="../slideLayouts/slideLayout1344.xml"/><Relationship Id="rId39" Type="http://schemas.openxmlformats.org/officeDocument/2006/relationships/slideLayout" Target="../slideLayouts/slideLayout1357.xml"/><Relationship Id="rId3" Type="http://schemas.openxmlformats.org/officeDocument/2006/relationships/slideLayout" Target="../slideLayouts/slideLayout1321.xml"/><Relationship Id="rId21" Type="http://schemas.openxmlformats.org/officeDocument/2006/relationships/slideLayout" Target="../slideLayouts/slideLayout1339.xml"/><Relationship Id="rId34" Type="http://schemas.openxmlformats.org/officeDocument/2006/relationships/slideLayout" Target="../slideLayouts/slideLayout1352.xml"/><Relationship Id="rId42" Type="http://schemas.openxmlformats.org/officeDocument/2006/relationships/slideLayout" Target="../slideLayouts/slideLayout1360.xml"/><Relationship Id="rId47" Type="http://schemas.openxmlformats.org/officeDocument/2006/relationships/slideLayout" Target="../slideLayouts/slideLayout1365.xml"/><Relationship Id="rId50" Type="http://schemas.openxmlformats.org/officeDocument/2006/relationships/tags" Target="../tags/tag80.xml"/><Relationship Id="rId7" Type="http://schemas.openxmlformats.org/officeDocument/2006/relationships/slideLayout" Target="../slideLayouts/slideLayout1325.xml"/><Relationship Id="rId12" Type="http://schemas.openxmlformats.org/officeDocument/2006/relationships/slideLayout" Target="../slideLayouts/slideLayout1330.xml"/><Relationship Id="rId17" Type="http://schemas.openxmlformats.org/officeDocument/2006/relationships/slideLayout" Target="../slideLayouts/slideLayout1335.xml"/><Relationship Id="rId25" Type="http://schemas.openxmlformats.org/officeDocument/2006/relationships/slideLayout" Target="../slideLayouts/slideLayout1343.xml"/><Relationship Id="rId33" Type="http://schemas.openxmlformats.org/officeDocument/2006/relationships/slideLayout" Target="../slideLayouts/slideLayout1351.xml"/><Relationship Id="rId38" Type="http://schemas.openxmlformats.org/officeDocument/2006/relationships/slideLayout" Target="../slideLayouts/slideLayout1356.xml"/><Relationship Id="rId46" Type="http://schemas.openxmlformats.org/officeDocument/2006/relationships/slideLayout" Target="../slideLayouts/slideLayout1364.xml"/><Relationship Id="rId2" Type="http://schemas.openxmlformats.org/officeDocument/2006/relationships/slideLayout" Target="../slideLayouts/slideLayout1320.xml"/><Relationship Id="rId16" Type="http://schemas.openxmlformats.org/officeDocument/2006/relationships/slideLayout" Target="../slideLayouts/slideLayout1334.xml"/><Relationship Id="rId20" Type="http://schemas.openxmlformats.org/officeDocument/2006/relationships/slideLayout" Target="../slideLayouts/slideLayout1338.xml"/><Relationship Id="rId29" Type="http://schemas.openxmlformats.org/officeDocument/2006/relationships/slideLayout" Target="../slideLayouts/slideLayout1347.xml"/><Relationship Id="rId41" Type="http://schemas.openxmlformats.org/officeDocument/2006/relationships/slideLayout" Target="../slideLayouts/slideLayout1359.xml"/><Relationship Id="rId1" Type="http://schemas.openxmlformats.org/officeDocument/2006/relationships/slideLayout" Target="../slideLayouts/slideLayout1319.xml"/><Relationship Id="rId6" Type="http://schemas.openxmlformats.org/officeDocument/2006/relationships/slideLayout" Target="../slideLayouts/slideLayout1324.xml"/><Relationship Id="rId11" Type="http://schemas.openxmlformats.org/officeDocument/2006/relationships/slideLayout" Target="../slideLayouts/slideLayout1329.xml"/><Relationship Id="rId24" Type="http://schemas.openxmlformats.org/officeDocument/2006/relationships/slideLayout" Target="../slideLayouts/slideLayout1342.xml"/><Relationship Id="rId32" Type="http://schemas.openxmlformats.org/officeDocument/2006/relationships/slideLayout" Target="../slideLayouts/slideLayout1350.xml"/><Relationship Id="rId37" Type="http://schemas.openxmlformats.org/officeDocument/2006/relationships/slideLayout" Target="../slideLayouts/slideLayout1355.xml"/><Relationship Id="rId40" Type="http://schemas.openxmlformats.org/officeDocument/2006/relationships/slideLayout" Target="../slideLayouts/slideLayout1358.xml"/><Relationship Id="rId45" Type="http://schemas.openxmlformats.org/officeDocument/2006/relationships/slideLayout" Target="../slideLayouts/slideLayout1363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323.xml"/><Relationship Id="rId15" Type="http://schemas.openxmlformats.org/officeDocument/2006/relationships/slideLayout" Target="../slideLayouts/slideLayout1333.xml"/><Relationship Id="rId23" Type="http://schemas.openxmlformats.org/officeDocument/2006/relationships/slideLayout" Target="../slideLayouts/slideLayout1341.xml"/><Relationship Id="rId28" Type="http://schemas.openxmlformats.org/officeDocument/2006/relationships/slideLayout" Target="../slideLayouts/slideLayout1346.xml"/><Relationship Id="rId36" Type="http://schemas.openxmlformats.org/officeDocument/2006/relationships/slideLayout" Target="../slideLayouts/slideLayout1354.xml"/><Relationship Id="rId49" Type="http://schemas.openxmlformats.org/officeDocument/2006/relationships/vmlDrawing" Target="../drawings/vmlDrawing52.vml"/><Relationship Id="rId10" Type="http://schemas.openxmlformats.org/officeDocument/2006/relationships/slideLayout" Target="../slideLayouts/slideLayout1328.xml"/><Relationship Id="rId19" Type="http://schemas.openxmlformats.org/officeDocument/2006/relationships/slideLayout" Target="../slideLayouts/slideLayout1337.xml"/><Relationship Id="rId31" Type="http://schemas.openxmlformats.org/officeDocument/2006/relationships/slideLayout" Target="../slideLayouts/slideLayout1349.xml"/><Relationship Id="rId44" Type="http://schemas.openxmlformats.org/officeDocument/2006/relationships/slideLayout" Target="../slideLayouts/slideLayout1362.xml"/><Relationship Id="rId52" Type="http://schemas.openxmlformats.org/officeDocument/2006/relationships/oleObject" Target="../embeddings/oleObject52.bin"/><Relationship Id="rId4" Type="http://schemas.openxmlformats.org/officeDocument/2006/relationships/slideLayout" Target="../slideLayouts/slideLayout1322.xml"/><Relationship Id="rId9" Type="http://schemas.openxmlformats.org/officeDocument/2006/relationships/slideLayout" Target="../slideLayouts/slideLayout1327.xml"/><Relationship Id="rId14" Type="http://schemas.openxmlformats.org/officeDocument/2006/relationships/slideLayout" Target="../slideLayouts/slideLayout1332.xml"/><Relationship Id="rId22" Type="http://schemas.openxmlformats.org/officeDocument/2006/relationships/slideLayout" Target="../slideLayouts/slideLayout1340.xml"/><Relationship Id="rId27" Type="http://schemas.openxmlformats.org/officeDocument/2006/relationships/slideLayout" Target="../slideLayouts/slideLayout1345.xml"/><Relationship Id="rId30" Type="http://schemas.openxmlformats.org/officeDocument/2006/relationships/slideLayout" Target="../slideLayouts/slideLayout1348.xml"/><Relationship Id="rId35" Type="http://schemas.openxmlformats.org/officeDocument/2006/relationships/slideLayout" Target="../slideLayouts/slideLayout1353.xml"/><Relationship Id="rId43" Type="http://schemas.openxmlformats.org/officeDocument/2006/relationships/slideLayout" Target="../slideLayouts/slideLayout1361.xml"/><Relationship Id="rId48" Type="http://schemas.openxmlformats.org/officeDocument/2006/relationships/theme" Target="../theme/theme31.xml"/><Relationship Id="rId8" Type="http://schemas.openxmlformats.org/officeDocument/2006/relationships/slideLayout" Target="../slideLayouts/slideLayout1326.xml"/><Relationship Id="rId51" Type="http://schemas.openxmlformats.org/officeDocument/2006/relationships/tags" Target="../tags/tag81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3.xml"/><Relationship Id="rId3" Type="http://schemas.openxmlformats.org/officeDocument/2006/relationships/slideLayout" Target="../slideLayouts/slideLayout1368.xml"/><Relationship Id="rId7" Type="http://schemas.openxmlformats.org/officeDocument/2006/relationships/slideLayout" Target="../slideLayouts/slideLayout1372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1367.xml"/><Relationship Id="rId1" Type="http://schemas.openxmlformats.org/officeDocument/2006/relationships/slideLayout" Target="../slideLayouts/slideLayout1366.xml"/><Relationship Id="rId6" Type="http://schemas.openxmlformats.org/officeDocument/2006/relationships/slideLayout" Target="../slideLayouts/slideLayout1371.xml"/><Relationship Id="rId11" Type="http://schemas.openxmlformats.org/officeDocument/2006/relationships/slideLayout" Target="../slideLayouts/slideLayout1376.xml"/><Relationship Id="rId5" Type="http://schemas.openxmlformats.org/officeDocument/2006/relationships/slideLayout" Target="../slideLayouts/slideLayout1370.xml"/><Relationship Id="rId10" Type="http://schemas.openxmlformats.org/officeDocument/2006/relationships/slideLayout" Target="../slideLayouts/slideLayout1375.xml"/><Relationship Id="rId4" Type="http://schemas.openxmlformats.org/officeDocument/2006/relationships/slideLayout" Target="../slideLayouts/slideLayout1369.xml"/><Relationship Id="rId9" Type="http://schemas.openxmlformats.org/officeDocument/2006/relationships/slideLayout" Target="../slideLayouts/slideLayout1374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4.xml"/><Relationship Id="rId3" Type="http://schemas.openxmlformats.org/officeDocument/2006/relationships/slideLayout" Target="../slideLayouts/slideLayout1379.xml"/><Relationship Id="rId7" Type="http://schemas.openxmlformats.org/officeDocument/2006/relationships/slideLayout" Target="../slideLayouts/slideLayout1383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1378.xml"/><Relationship Id="rId1" Type="http://schemas.openxmlformats.org/officeDocument/2006/relationships/slideLayout" Target="../slideLayouts/slideLayout1377.xml"/><Relationship Id="rId6" Type="http://schemas.openxmlformats.org/officeDocument/2006/relationships/slideLayout" Target="../slideLayouts/slideLayout1382.xml"/><Relationship Id="rId11" Type="http://schemas.openxmlformats.org/officeDocument/2006/relationships/slideLayout" Target="../slideLayouts/slideLayout1387.xml"/><Relationship Id="rId5" Type="http://schemas.openxmlformats.org/officeDocument/2006/relationships/slideLayout" Target="../slideLayouts/slideLayout1381.xml"/><Relationship Id="rId10" Type="http://schemas.openxmlformats.org/officeDocument/2006/relationships/slideLayout" Target="../slideLayouts/slideLayout1386.xml"/><Relationship Id="rId4" Type="http://schemas.openxmlformats.org/officeDocument/2006/relationships/slideLayout" Target="../slideLayouts/slideLayout1380.xml"/><Relationship Id="rId9" Type="http://schemas.openxmlformats.org/officeDocument/2006/relationships/slideLayout" Target="../slideLayouts/slideLayout1385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5.xml"/><Relationship Id="rId13" Type="http://schemas.openxmlformats.org/officeDocument/2006/relationships/slideLayout" Target="../slideLayouts/slideLayout1400.xml"/><Relationship Id="rId18" Type="http://schemas.openxmlformats.org/officeDocument/2006/relationships/slideLayout" Target="../slideLayouts/slideLayout1405.xml"/><Relationship Id="rId26" Type="http://schemas.openxmlformats.org/officeDocument/2006/relationships/slideLayout" Target="../slideLayouts/slideLayout1413.xml"/><Relationship Id="rId39" Type="http://schemas.openxmlformats.org/officeDocument/2006/relationships/slideLayout" Target="../slideLayouts/slideLayout1426.xml"/><Relationship Id="rId3" Type="http://schemas.openxmlformats.org/officeDocument/2006/relationships/slideLayout" Target="../slideLayouts/slideLayout1390.xml"/><Relationship Id="rId21" Type="http://schemas.openxmlformats.org/officeDocument/2006/relationships/slideLayout" Target="../slideLayouts/slideLayout1408.xml"/><Relationship Id="rId34" Type="http://schemas.openxmlformats.org/officeDocument/2006/relationships/slideLayout" Target="../slideLayouts/slideLayout1421.xml"/><Relationship Id="rId42" Type="http://schemas.openxmlformats.org/officeDocument/2006/relationships/tags" Target="../tags/tag83.xml"/><Relationship Id="rId7" Type="http://schemas.openxmlformats.org/officeDocument/2006/relationships/slideLayout" Target="../slideLayouts/slideLayout1394.xml"/><Relationship Id="rId12" Type="http://schemas.openxmlformats.org/officeDocument/2006/relationships/slideLayout" Target="../slideLayouts/slideLayout1399.xml"/><Relationship Id="rId17" Type="http://schemas.openxmlformats.org/officeDocument/2006/relationships/slideLayout" Target="../slideLayouts/slideLayout1404.xml"/><Relationship Id="rId25" Type="http://schemas.openxmlformats.org/officeDocument/2006/relationships/slideLayout" Target="../slideLayouts/slideLayout1412.xml"/><Relationship Id="rId33" Type="http://schemas.openxmlformats.org/officeDocument/2006/relationships/slideLayout" Target="../slideLayouts/slideLayout1420.xml"/><Relationship Id="rId38" Type="http://schemas.openxmlformats.org/officeDocument/2006/relationships/slideLayout" Target="../slideLayouts/slideLayout1425.xml"/><Relationship Id="rId2" Type="http://schemas.openxmlformats.org/officeDocument/2006/relationships/slideLayout" Target="../slideLayouts/slideLayout1389.xml"/><Relationship Id="rId16" Type="http://schemas.openxmlformats.org/officeDocument/2006/relationships/slideLayout" Target="../slideLayouts/slideLayout1403.xml"/><Relationship Id="rId20" Type="http://schemas.openxmlformats.org/officeDocument/2006/relationships/slideLayout" Target="../slideLayouts/slideLayout1407.xml"/><Relationship Id="rId29" Type="http://schemas.openxmlformats.org/officeDocument/2006/relationships/slideLayout" Target="../slideLayouts/slideLayout1416.xml"/><Relationship Id="rId41" Type="http://schemas.openxmlformats.org/officeDocument/2006/relationships/vmlDrawing" Target="../drawings/vmlDrawing54.vml"/><Relationship Id="rId1" Type="http://schemas.openxmlformats.org/officeDocument/2006/relationships/slideLayout" Target="../slideLayouts/slideLayout1388.xml"/><Relationship Id="rId6" Type="http://schemas.openxmlformats.org/officeDocument/2006/relationships/slideLayout" Target="../slideLayouts/slideLayout1393.xml"/><Relationship Id="rId11" Type="http://schemas.openxmlformats.org/officeDocument/2006/relationships/slideLayout" Target="../slideLayouts/slideLayout1398.xml"/><Relationship Id="rId24" Type="http://schemas.openxmlformats.org/officeDocument/2006/relationships/slideLayout" Target="../slideLayouts/slideLayout1411.xml"/><Relationship Id="rId32" Type="http://schemas.openxmlformats.org/officeDocument/2006/relationships/slideLayout" Target="../slideLayouts/slideLayout1419.xml"/><Relationship Id="rId37" Type="http://schemas.openxmlformats.org/officeDocument/2006/relationships/slideLayout" Target="../slideLayouts/slideLayout1424.xml"/><Relationship Id="rId40" Type="http://schemas.openxmlformats.org/officeDocument/2006/relationships/theme" Target="../theme/theme34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392.xml"/><Relationship Id="rId15" Type="http://schemas.openxmlformats.org/officeDocument/2006/relationships/slideLayout" Target="../slideLayouts/slideLayout1402.xml"/><Relationship Id="rId23" Type="http://schemas.openxmlformats.org/officeDocument/2006/relationships/slideLayout" Target="../slideLayouts/slideLayout1410.xml"/><Relationship Id="rId28" Type="http://schemas.openxmlformats.org/officeDocument/2006/relationships/slideLayout" Target="../slideLayouts/slideLayout1415.xml"/><Relationship Id="rId36" Type="http://schemas.openxmlformats.org/officeDocument/2006/relationships/slideLayout" Target="../slideLayouts/slideLayout1423.xml"/><Relationship Id="rId10" Type="http://schemas.openxmlformats.org/officeDocument/2006/relationships/slideLayout" Target="../slideLayouts/slideLayout1397.xml"/><Relationship Id="rId19" Type="http://schemas.openxmlformats.org/officeDocument/2006/relationships/slideLayout" Target="../slideLayouts/slideLayout1406.xml"/><Relationship Id="rId31" Type="http://schemas.openxmlformats.org/officeDocument/2006/relationships/slideLayout" Target="../slideLayouts/slideLayout1418.xml"/><Relationship Id="rId44" Type="http://schemas.openxmlformats.org/officeDocument/2006/relationships/oleObject" Target="../embeddings/oleObject54.bin"/><Relationship Id="rId4" Type="http://schemas.openxmlformats.org/officeDocument/2006/relationships/slideLayout" Target="../slideLayouts/slideLayout1391.xml"/><Relationship Id="rId9" Type="http://schemas.openxmlformats.org/officeDocument/2006/relationships/slideLayout" Target="../slideLayouts/slideLayout1396.xml"/><Relationship Id="rId14" Type="http://schemas.openxmlformats.org/officeDocument/2006/relationships/slideLayout" Target="../slideLayouts/slideLayout1401.xml"/><Relationship Id="rId22" Type="http://schemas.openxmlformats.org/officeDocument/2006/relationships/slideLayout" Target="../slideLayouts/slideLayout1409.xml"/><Relationship Id="rId27" Type="http://schemas.openxmlformats.org/officeDocument/2006/relationships/slideLayout" Target="../slideLayouts/slideLayout1414.xml"/><Relationship Id="rId30" Type="http://schemas.openxmlformats.org/officeDocument/2006/relationships/slideLayout" Target="../slideLayouts/slideLayout1417.xml"/><Relationship Id="rId35" Type="http://schemas.openxmlformats.org/officeDocument/2006/relationships/slideLayout" Target="../slideLayouts/slideLayout1422.xml"/><Relationship Id="rId43" Type="http://schemas.openxmlformats.org/officeDocument/2006/relationships/tags" Target="../tags/tag84.xml"/></Relationships>
</file>

<file path=ppt/slideMasters/_rels/slideMaster3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39.xml"/><Relationship Id="rId18" Type="http://schemas.openxmlformats.org/officeDocument/2006/relationships/slideLayout" Target="../slideLayouts/slideLayout1444.xml"/><Relationship Id="rId26" Type="http://schemas.openxmlformats.org/officeDocument/2006/relationships/slideLayout" Target="../slideLayouts/slideLayout1452.xml"/><Relationship Id="rId39" Type="http://schemas.openxmlformats.org/officeDocument/2006/relationships/slideLayout" Target="../slideLayouts/slideLayout1465.xml"/><Relationship Id="rId3" Type="http://schemas.openxmlformats.org/officeDocument/2006/relationships/slideLayout" Target="../slideLayouts/slideLayout1429.xml"/><Relationship Id="rId21" Type="http://schemas.openxmlformats.org/officeDocument/2006/relationships/slideLayout" Target="../slideLayouts/slideLayout1447.xml"/><Relationship Id="rId34" Type="http://schemas.openxmlformats.org/officeDocument/2006/relationships/slideLayout" Target="../slideLayouts/slideLayout1460.xml"/><Relationship Id="rId42" Type="http://schemas.openxmlformats.org/officeDocument/2006/relationships/slideLayout" Target="../slideLayouts/slideLayout1468.xml"/><Relationship Id="rId47" Type="http://schemas.openxmlformats.org/officeDocument/2006/relationships/slideLayout" Target="../slideLayouts/slideLayout1473.xml"/><Relationship Id="rId50" Type="http://schemas.openxmlformats.org/officeDocument/2006/relationships/tags" Target="../tags/tag85.xml"/><Relationship Id="rId7" Type="http://schemas.openxmlformats.org/officeDocument/2006/relationships/slideLayout" Target="../slideLayouts/slideLayout1433.xml"/><Relationship Id="rId12" Type="http://schemas.openxmlformats.org/officeDocument/2006/relationships/slideLayout" Target="../slideLayouts/slideLayout1438.xml"/><Relationship Id="rId17" Type="http://schemas.openxmlformats.org/officeDocument/2006/relationships/slideLayout" Target="../slideLayouts/slideLayout1443.xml"/><Relationship Id="rId25" Type="http://schemas.openxmlformats.org/officeDocument/2006/relationships/slideLayout" Target="../slideLayouts/slideLayout1451.xml"/><Relationship Id="rId33" Type="http://schemas.openxmlformats.org/officeDocument/2006/relationships/slideLayout" Target="../slideLayouts/slideLayout1459.xml"/><Relationship Id="rId38" Type="http://schemas.openxmlformats.org/officeDocument/2006/relationships/slideLayout" Target="../slideLayouts/slideLayout1464.xml"/><Relationship Id="rId46" Type="http://schemas.openxmlformats.org/officeDocument/2006/relationships/slideLayout" Target="../slideLayouts/slideLayout1472.xml"/><Relationship Id="rId2" Type="http://schemas.openxmlformats.org/officeDocument/2006/relationships/slideLayout" Target="../slideLayouts/slideLayout1428.xml"/><Relationship Id="rId16" Type="http://schemas.openxmlformats.org/officeDocument/2006/relationships/slideLayout" Target="../slideLayouts/slideLayout1442.xml"/><Relationship Id="rId20" Type="http://schemas.openxmlformats.org/officeDocument/2006/relationships/slideLayout" Target="../slideLayouts/slideLayout1446.xml"/><Relationship Id="rId29" Type="http://schemas.openxmlformats.org/officeDocument/2006/relationships/slideLayout" Target="../slideLayouts/slideLayout1455.xml"/><Relationship Id="rId41" Type="http://schemas.openxmlformats.org/officeDocument/2006/relationships/slideLayout" Target="../slideLayouts/slideLayout1467.xml"/><Relationship Id="rId1" Type="http://schemas.openxmlformats.org/officeDocument/2006/relationships/slideLayout" Target="../slideLayouts/slideLayout1427.xml"/><Relationship Id="rId6" Type="http://schemas.openxmlformats.org/officeDocument/2006/relationships/slideLayout" Target="../slideLayouts/slideLayout1432.xml"/><Relationship Id="rId11" Type="http://schemas.openxmlformats.org/officeDocument/2006/relationships/slideLayout" Target="../slideLayouts/slideLayout1437.xml"/><Relationship Id="rId24" Type="http://schemas.openxmlformats.org/officeDocument/2006/relationships/slideLayout" Target="../slideLayouts/slideLayout1450.xml"/><Relationship Id="rId32" Type="http://schemas.openxmlformats.org/officeDocument/2006/relationships/slideLayout" Target="../slideLayouts/slideLayout1458.xml"/><Relationship Id="rId37" Type="http://schemas.openxmlformats.org/officeDocument/2006/relationships/slideLayout" Target="../slideLayouts/slideLayout1463.xml"/><Relationship Id="rId40" Type="http://schemas.openxmlformats.org/officeDocument/2006/relationships/slideLayout" Target="../slideLayouts/slideLayout1466.xml"/><Relationship Id="rId45" Type="http://schemas.openxmlformats.org/officeDocument/2006/relationships/slideLayout" Target="../slideLayouts/slideLayout1471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431.xml"/><Relationship Id="rId15" Type="http://schemas.openxmlformats.org/officeDocument/2006/relationships/slideLayout" Target="../slideLayouts/slideLayout1441.xml"/><Relationship Id="rId23" Type="http://schemas.openxmlformats.org/officeDocument/2006/relationships/slideLayout" Target="../slideLayouts/slideLayout1449.xml"/><Relationship Id="rId28" Type="http://schemas.openxmlformats.org/officeDocument/2006/relationships/slideLayout" Target="../slideLayouts/slideLayout1454.xml"/><Relationship Id="rId36" Type="http://schemas.openxmlformats.org/officeDocument/2006/relationships/slideLayout" Target="../slideLayouts/slideLayout1462.xml"/><Relationship Id="rId49" Type="http://schemas.openxmlformats.org/officeDocument/2006/relationships/vmlDrawing" Target="../drawings/vmlDrawing55.vml"/><Relationship Id="rId10" Type="http://schemas.openxmlformats.org/officeDocument/2006/relationships/slideLayout" Target="../slideLayouts/slideLayout1436.xml"/><Relationship Id="rId19" Type="http://schemas.openxmlformats.org/officeDocument/2006/relationships/slideLayout" Target="../slideLayouts/slideLayout1445.xml"/><Relationship Id="rId31" Type="http://schemas.openxmlformats.org/officeDocument/2006/relationships/slideLayout" Target="../slideLayouts/slideLayout1457.xml"/><Relationship Id="rId44" Type="http://schemas.openxmlformats.org/officeDocument/2006/relationships/slideLayout" Target="../slideLayouts/slideLayout1470.xml"/><Relationship Id="rId52" Type="http://schemas.openxmlformats.org/officeDocument/2006/relationships/oleObject" Target="../embeddings/oleObject55.bin"/><Relationship Id="rId4" Type="http://schemas.openxmlformats.org/officeDocument/2006/relationships/slideLayout" Target="../slideLayouts/slideLayout1430.xml"/><Relationship Id="rId9" Type="http://schemas.openxmlformats.org/officeDocument/2006/relationships/slideLayout" Target="../slideLayouts/slideLayout1435.xml"/><Relationship Id="rId14" Type="http://schemas.openxmlformats.org/officeDocument/2006/relationships/slideLayout" Target="../slideLayouts/slideLayout1440.xml"/><Relationship Id="rId22" Type="http://schemas.openxmlformats.org/officeDocument/2006/relationships/slideLayout" Target="../slideLayouts/slideLayout1448.xml"/><Relationship Id="rId27" Type="http://schemas.openxmlformats.org/officeDocument/2006/relationships/slideLayout" Target="../slideLayouts/slideLayout1453.xml"/><Relationship Id="rId30" Type="http://schemas.openxmlformats.org/officeDocument/2006/relationships/slideLayout" Target="../slideLayouts/slideLayout1456.xml"/><Relationship Id="rId35" Type="http://schemas.openxmlformats.org/officeDocument/2006/relationships/slideLayout" Target="../slideLayouts/slideLayout1461.xml"/><Relationship Id="rId43" Type="http://schemas.openxmlformats.org/officeDocument/2006/relationships/slideLayout" Target="../slideLayouts/slideLayout1469.xml"/><Relationship Id="rId48" Type="http://schemas.openxmlformats.org/officeDocument/2006/relationships/theme" Target="../theme/theme35.xml"/><Relationship Id="rId8" Type="http://schemas.openxmlformats.org/officeDocument/2006/relationships/slideLayout" Target="../slideLayouts/slideLayout1434.xml"/><Relationship Id="rId51" Type="http://schemas.openxmlformats.org/officeDocument/2006/relationships/tags" Target="../tags/tag86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1.xml"/><Relationship Id="rId13" Type="http://schemas.openxmlformats.org/officeDocument/2006/relationships/theme" Target="../theme/theme3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76.xml"/><Relationship Id="rId7" Type="http://schemas.openxmlformats.org/officeDocument/2006/relationships/slideLayout" Target="../slideLayouts/slideLayout1480.xml"/><Relationship Id="rId12" Type="http://schemas.openxmlformats.org/officeDocument/2006/relationships/slideLayout" Target="../slideLayouts/slideLayout1485.xml"/><Relationship Id="rId17" Type="http://schemas.openxmlformats.org/officeDocument/2006/relationships/oleObject" Target="../embeddings/oleObject57.bin"/><Relationship Id="rId2" Type="http://schemas.openxmlformats.org/officeDocument/2006/relationships/slideLayout" Target="../slideLayouts/slideLayout1475.xml"/><Relationship Id="rId16" Type="http://schemas.openxmlformats.org/officeDocument/2006/relationships/tags" Target="../tags/tag89.xml"/><Relationship Id="rId1" Type="http://schemas.openxmlformats.org/officeDocument/2006/relationships/slideLayout" Target="../slideLayouts/slideLayout1474.xml"/><Relationship Id="rId6" Type="http://schemas.openxmlformats.org/officeDocument/2006/relationships/slideLayout" Target="../slideLayouts/slideLayout1479.xml"/><Relationship Id="rId11" Type="http://schemas.openxmlformats.org/officeDocument/2006/relationships/slideLayout" Target="../slideLayouts/slideLayout1484.xml"/><Relationship Id="rId5" Type="http://schemas.openxmlformats.org/officeDocument/2006/relationships/slideLayout" Target="../slideLayouts/slideLayout1478.xml"/><Relationship Id="rId15" Type="http://schemas.openxmlformats.org/officeDocument/2006/relationships/tags" Target="../tags/tag88.xml"/><Relationship Id="rId10" Type="http://schemas.openxmlformats.org/officeDocument/2006/relationships/slideLayout" Target="../slideLayouts/slideLayout1483.xml"/><Relationship Id="rId4" Type="http://schemas.openxmlformats.org/officeDocument/2006/relationships/slideLayout" Target="../slideLayouts/slideLayout1477.xml"/><Relationship Id="rId9" Type="http://schemas.openxmlformats.org/officeDocument/2006/relationships/slideLayout" Target="../slideLayouts/slideLayout1482.xml"/><Relationship Id="rId14" Type="http://schemas.openxmlformats.org/officeDocument/2006/relationships/vmlDrawing" Target="../drawings/vmlDrawing57.vml"/></Relationships>
</file>

<file path=ppt/slideMasters/_rels/slideMaster3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98.xml"/><Relationship Id="rId18" Type="http://schemas.openxmlformats.org/officeDocument/2006/relationships/slideLayout" Target="../slideLayouts/slideLayout1503.xml"/><Relationship Id="rId26" Type="http://schemas.openxmlformats.org/officeDocument/2006/relationships/slideLayout" Target="../slideLayouts/slideLayout1511.xml"/><Relationship Id="rId39" Type="http://schemas.openxmlformats.org/officeDocument/2006/relationships/slideLayout" Target="../slideLayouts/slideLayout1524.xml"/><Relationship Id="rId3" Type="http://schemas.openxmlformats.org/officeDocument/2006/relationships/slideLayout" Target="../slideLayouts/slideLayout1488.xml"/><Relationship Id="rId21" Type="http://schemas.openxmlformats.org/officeDocument/2006/relationships/slideLayout" Target="../slideLayouts/slideLayout1506.xml"/><Relationship Id="rId34" Type="http://schemas.openxmlformats.org/officeDocument/2006/relationships/slideLayout" Target="../slideLayouts/slideLayout1519.xml"/><Relationship Id="rId42" Type="http://schemas.openxmlformats.org/officeDocument/2006/relationships/slideLayout" Target="../slideLayouts/slideLayout1527.xml"/><Relationship Id="rId47" Type="http://schemas.openxmlformats.org/officeDocument/2006/relationships/slideLayout" Target="../slideLayouts/slideLayout1532.xml"/><Relationship Id="rId50" Type="http://schemas.openxmlformats.org/officeDocument/2006/relationships/tags" Target="../tags/tag90.xml"/><Relationship Id="rId7" Type="http://schemas.openxmlformats.org/officeDocument/2006/relationships/slideLayout" Target="../slideLayouts/slideLayout1492.xml"/><Relationship Id="rId12" Type="http://schemas.openxmlformats.org/officeDocument/2006/relationships/slideLayout" Target="../slideLayouts/slideLayout1497.xml"/><Relationship Id="rId17" Type="http://schemas.openxmlformats.org/officeDocument/2006/relationships/slideLayout" Target="../slideLayouts/slideLayout1502.xml"/><Relationship Id="rId25" Type="http://schemas.openxmlformats.org/officeDocument/2006/relationships/slideLayout" Target="../slideLayouts/slideLayout1510.xml"/><Relationship Id="rId33" Type="http://schemas.openxmlformats.org/officeDocument/2006/relationships/slideLayout" Target="../slideLayouts/slideLayout1518.xml"/><Relationship Id="rId38" Type="http://schemas.openxmlformats.org/officeDocument/2006/relationships/slideLayout" Target="../slideLayouts/slideLayout1523.xml"/><Relationship Id="rId46" Type="http://schemas.openxmlformats.org/officeDocument/2006/relationships/slideLayout" Target="../slideLayouts/slideLayout1531.xml"/><Relationship Id="rId2" Type="http://schemas.openxmlformats.org/officeDocument/2006/relationships/slideLayout" Target="../slideLayouts/slideLayout1487.xml"/><Relationship Id="rId16" Type="http://schemas.openxmlformats.org/officeDocument/2006/relationships/slideLayout" Target="../slideLayouts/slideLayout1501.xml"/><Relationship Id="rId20" Type="http://schemas.openxmlformats.org/officeDocument/2006/relationships/slideLayout" Target="../slideLayouts/slideLayout1505.xml"/><Relationship Id="rId29" Type="http://schemas.openxmlformats.org/officeDocument/2006/relationships/slideLayout" Target="../slideLayouts/slideLayout1514.xml"/><Relationship Id="rId41" Type="http://schemas.openxmlformats.org/officeDocument/2006/relationships/slideLayout" Target="../slideLayouts/slideLayout1526.xml"/><Relationship Id="rId1" Type="http://schemas.openxmlformats.org/officeDocument/2006/relationships/slideLayout" Target="../slideLayouts/slideLayout1486.xml"/><Relationship Id="rId6" Type="http://schemas.openxmlformats.org/officeDocument/2006/relationships/slideLayout" Target="../slideLayouts/slideLayout1491.xml"/><Relationship Id="rId11" Type="http://schemas.openxmlformats.org/officeDocument/2006/relationships/slideLayout" Target="../slideLayouts/slideLayout1496.xml"/><Relationship Id="rId24" Type="http://schemas.openxmlformats.org/officeDocument/2006/relationships/slideLayout" Target="../slideLayouts/slideLayout1509.xml"/><Relationship Id="rId32" Type="http://schemas.openxmlformats.org/officeDocument/2006/relationships/slideLayout" Target="../slideLayouts/slideLayout1517.xml"/><Relationship Id="rId37" Type="http://schemas.openxmlformats.org/officeDocument/2006/relationships/slideLayout" Target="../slideLayouts/slideLayout1522.xml"/><Relationship Id="rId40" Type="http://schemas.openxmlformats.org/officeDocument/2006/relationships/slideLayout" Target="../slideLayouts/slideLayout1525.xml"/><Relationship Id="rId45" Type="http://schemas.openxmlformats.org/officeDocument/2006/relationships/slideLayout" Target="../slideLayouts/slideLayout1530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490.xml"/><Relationship Id="rId15" Type="http://schemas.openxmlformats.org/officeDocument/2006/relationships/slideLayout" Target="../slideLayouts/slideLayout1500.xml"/><Relationship Id="rId23" Type="http://schemas.openxmlformats.org/officeDocument/2006/relationships/slideLayout" Target="../slideLayouts/slideLayout1508.xml"/><Relationship Id="rId28" Type="http://schemas.openxmlformats.org/officeDocument/2006/relationships/slideLayout" Target="../slideLayouts/slideLayout1513.xml"/><Relationship Id="rId36" Type="http://schemas.openxmlformats.org/officeDocument/2006/relationships/slideLayout" Target="../slideLayouts/slideLayout1521.xml"/><Relationship Id="rId49" Type="http://schemas.openxmlformats.org/officeDocument/2006/relationships/vmlDrawing" Target="../drawings/vmlDrawing58.vml"/><Relationship Id="rId10" Type="http://schemas.openxmlformats.org/officeDocument/2006/relationships/slideLayout" Target="../slideLayouts/slideLayout1495.xml"/><Relationship Id="rId19" Type="http://schemas.openxmlformats.org/officeDocument/2006/relationships/slideLayout" Target="../slideLayouts/slideLayout1504.xml"/><Relationship Id="rId31" Type="http://schemas.openxmlformats.org/officeDocument/2006/relationships/slideLayout" Target="../slideLayouts/slideLayout1516.xml"/><Relationship Id="rId44" Type="http://schemas.openxmlformats.org/officeDocument/2006/relationships/slideLayout" Target="../slideLayouts/slideLayout1529.xml"/><Relationship Id="rId52" Type="http://schemas.openxmlformats.org/officeDocument/2006/relationships/oleObject" Target="../embeddings/oleObject58.bin"/><Relationship Id="rId4" Type="http://schemas.openxmlformats.org/officeDocument/2006/relationships/slideLayout" Target="../slideLayouts/slideLayout1489.xml"/><Relationship Id="rId9" Type="http://schemas.openxmlformats.org/officeDocument/2006/relationships/slideLayout" Target="../slideLayouts/slideLayout1494.xml"/><Relationship Id="rId14" Type="http://schemas.openxmlformats.org/officeDocument/2006/relationships/slideLayout" Target="../slideLayouts/slideLayout1499.xml"/><Relationship Id="rId22" Type="http://schemas.openxmlformats.org/officeDocument/2006/relationships/slideLayout" Target="../slideLayouts/slideLayout1507.xml"/><Relationship Id="rId27" Type="http://schemas.openxmlformats.org/officeDocument/2006/relationships/slideLayout" Target="../slideLayouts/slideLayout1512.xml"/><Relationship Id="rId30" Type="http://schemas.openxmlformats.org/officeDocument/2006/relationships/slideLayout" Target="../slideLayouts/slideLayout1515.xml"/><Relationship Id="rId35" Type="http://schemas.openxmlformats.org/officeDocument/2006/relationships/slideLayout" Target="../slideLayouts/slideLayout1520.xml"/><Relationship Id="rId43" Type="http://schemas.openxmlformats.org/officeDocument/2006/relationships/slideLayout" Target="../slideLayouts/slideLayout1528.xml"/><Relationship Id="rId48" Type="http://schemas.openxmlformats.org/officeDocument/2006/relationships/theme" Target="../theme/theme37.xml"/><Relationship Id="rId8" Type="http://schemas.openxmlformats.org/officeDocument/2006/relationships/slideLayout" Target="../slideLayouts/slideLayout1493.xml"/><Relationship Id="rId51" Type="http://schemas.openxmlformats.org/officeDocument/2006/relationships/tags" Target="../tags/tag91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0.xml"/><Relationship Id="rId13" Type="http://schemas.openxmlformats.org/officeDocument/2006/relationships/slideLayout" Target="../slideLayouts/slideLayout1545.xml"/><Relationship Id="rId3" Type="http://schemas.openxmlformats.org/officeDocument/2006/relationships/slideLayout" Target="../slideLayouts/slideLayout1535.xml"/><Relationship Id="rId7" Type="http://schemas.openxmlformats.org/officeDocument/2006/relationships/slideLayout" Target="../slideLayouts/slideLayout1539.xml"/><Relationship Id="rId12" Type="http://schemas.openxmlformats.org/officeDocument/2006/relationships/slideLayout" Target="../slideLayouts/slideLayout1544.xml"/><Relationship Id="rId2" Type="http://schemas.openxmlformats.org/officeDocument/2006/relationships/slideLayout" Target="../slideLayouts/slideLayout1534.xml"/><Relationship Id="rId1" Type="http://schemas.openxmlformats.org/officeDocument/2006/relationships/slideLayout" Target="../slideLayouts/slideLayout1533.xml"/><Relationship Id="rId6" Type="http://schemas.openxmlformats.org/officeDocument/2006/relationships/slideLayout" Target="../slideLayouts/slideLayout1538.xml"/><Relationship Id="rId11" Type="http://schemas.openxmlformats.org/officeDocument/2006/relationships/slideLayout" Target="../slideLayouts/slideLayout1543.xml"/><Relationship Id="rId5" Type="http://schemas.openxmlformats.org/officeDocument/2006/relationships/slideLayout" Target="../slideLayouts/slideLayout1537.xml"/><Relationship Id="rId10" Type="http://schemas.openxmlformats.org/officeDocument/2006/relationships/slideLayout" Target="../slideLayouts/slideLayout1542.xml"/><Relationship Id="rId4" Type="http://schemas.openxmlformats.org/officeDocument/2006/relationships/slideLayout" Target="../slideLayouts/slideLayout1536.xml"/><Relationship Id="rId9" Type="http://schemas.openxmlformats.org/officeDocument/2006/relationships/slideLayout" Target="../slideLayouts/slideLayout1541.xml"/><Relationship Id="rId14" Type="http://schemas.openxmlformats.org/officeDocument/2006/relationships/theme" Target="../theme/theme3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3.xml"/><Relationship Id="rId3" Type="http://schemas.openxmlformats.org/officeDocument/2006/relationships/slideLayout" Target="../slideLayouts/slideLayout1548.xml"/><Relationship Id="rId7" Type="http://schemas.openxmlformats.org/officeDocument/2006/relationships/slideLayout" Target="../slideLayouts/slideLayout1552.xml"/><Relationship Id="rId2" Type="http://schemas.openxmlformats.org/officeDocument/2006/relationships/slideLayout" Target="../slideLayouts/slideLayout1547.xml"/><Relationship Id="rId1" Type="http://schemas.openxmlformats.org/officeDocument/2006/relationships/slideLayout" Target="../slideLayouts/slideLayout1546.xml"/><Relationship Id="rId6" Type="http://schemas.openxmlformats.org/officeDocument/2006/relationships/slideLayout" Target="../slideLayouts/slideLayout1551.xml"/><Relationship Id="rId5" Type="http://schemas.openxmlformats.org/officeDocument/2006/relationships/slideLayout" Target="../slideLayouts/slideLayout1550.xml"/><Relationship Id="rId10" Type="http://schemas.openxmlformats.org/officeDocument/2006/relationships/theme" Target="../theme/theme39.xml"/><Relationship Id="rId4" Type="http://schemas.openxmlformats.org/officeDocument/2006/relationships/slideLayout" Target="../slideLayouts/slideLayout1549.xml"/><Relationship Id="rId9" Type="http://schemas.openxmlformats.org/officeDocument/2006/relationships/slideLayout" Target="../slideLayouts/slideLayout155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slideLayout" Target="../slideLayouts/slideLayout129.xml"/><Relationship Id="rId39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34" Type="http://schemas.openxmlformats.org/officeDocument/2006/relationships/slideLayout" Target="../slideLayouts/slideLayout137.xml"/><Relationship Id="rId42" Type="http://schemas.openxmlformats.org/officeDocument/2006/relationships/tags" Target="../tags/tag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slideLayout" Target="../slideLayouts/slideLayout128.xml"/><Relationship Id="rId33" Type="http://schemas.openxmlformats.org/officeDocument/2006/relationships/slideLayout" Target="../slideLayouts/slideLayout136.xml"/><Relationship Id="rId38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29" Type="http://schemas.openxmlformats.org/officeDocument/2006/relationships/slideLayout" Target="../slideLayouts/slideLayout132.xml"/><Relationship Id="rId41" Type="http://schemas.openxmlformats.org/officeDocument/2006/relationships/vmlDrawing" Target="../drawings/vmlDrawing4.v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27.xml"/><Relationship Id="rId32" Type="http://schemas.openxmlformats.org/officeDocument/2006/relationships/slideLayout" Target="../slideLayouts/slideLayout135.xml"/><Relationship Id="rId37" Type="http://schemas.openxmlformats.org/officeDocument/2006/relationships/slideLayout" Target="../slideLayouts/slideLayout140.xml"/><Relationship Id="rId40" Type="http://schemas.openxmlformats.org/officeDocument/2006/relationships/theme" Target="../theme/theme4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28" Type="http://schemas.openxmlformats.org/officeDocument/2006/relationships/slideLayout" Target="../slideLayouts/slideLayout131.xml"/><Relationship Id="rId36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31" Type="http://schemas.openxmlformats.org/officeDocument/2006/relationships/slideLayout" Target="../slideLayouts/slideLayout134.xml"/><Relationship Id="rId44" Type="http://schemas.openxmlformats.org/officeDocument/2006/relationships/oleObject" Target="../embeddings/oleObject4.bin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slideLayout" Target="../slideLayouts/slideLayout130.xml"/><Relationship Id="rId30" Type="http://schemas.openxmlformats.org/officeDocument/2006/relationships/slideLayout" Target="../slideLayouts/slideLayout133.xml"/><Relationship Id="rId35" Type="http://schemas.openxmlformats.org/officeDocument/2006/relationships/slideLayout" Target="../slideLayouts/slideLayout138.xml"/><Relationship Id="rId43" Type="http://schemas.openxmlformats.org/officeDocument/2006/relationships/tags" Target="../tags/tag7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2.xml"/><Relationship Id="rId13" Type="http://schemas.openxmlformats.org/officeDocument/2006/relationships/slideLayout" Target="../slideLayouts/slideLayout1567.xml"/><Relationship Id="rId18" Type="http://schemas.openxmlformats.org/officeDocument/2006/relationships/slideLayout" Target="../slideLayouts/slideLayout1572.xml"/><Relationship Id="rId26" Type="http://schemas.openxmlformats.org/officeDocument/2006/relationships/slideLayout" Target="../slideLayouts/slideLayout1580.xml"/><Relationship Id="rId39" Type="http://schemas.openxmlformats.org/officeDocument/2006/relationships/image" Target="../media/image2.png"/><Relationship Id="rId3" Type="http://schemas.openxmlformats.org/officeDocument/2006/relationships/slideLayout" Target="../slideLayouts/slideLayout1557.xml"/><Relationship Id="rId21" Type="http://schemas.openxmlformats.org/officeDocument/2006/relationships/slideLayout" Target="../slideLayouts/slideLayout1575.xml"/><Relationship Id="rId34" Type="http://schemas.openxmlformats.org/officeDocument/2006/relationships/slideLayout" Target="../slideLayouts/slideLayout1588.xml"/><Relationship Id="rId7" Type="http://schemas.openxmlformats.org/officeDocument/2006/relationships/slideLayout" Target="../slideLayouts/slideLayout1561.xml"/><Relationship Id="rId12" Type="http://schemas.openxmlformats.org/officeDocument/2006/relationships/slideLayout" Target="../slideLayouts/slideLayout1566.xml"/><Relationship Id="rId17" Type="http://schemas.openxmlformats.org/officeDocument/2006/relationships/slideLayout" Target="../slideLayouts/slideLayout1571.xml"/><Relationship Id="rId25" Type="http://schemas.openxmlformats.org/officeDocument/2006/relationships/slideLayout" Target="../slideLayouts/slideLayout1579.xml"/><Relationship Id="rId33" Type="http://schemas.openxmlformats.org/officeDocument/2006/relationships/slideLayout" Target="../slideLayouts/slideLayout1587.xml"/><Relationship Id="rId38" Type="http://schemas.openxmlformats.org/officeDocument/2006/relationships/theme" Target="../theme/theme40.xml"/><Relationship Id="rId2" Type="http://schemas.openxmlformats.org/officeDocument/2006/relationships/slideLayout" Target="../slideLayouts/slideLayout1556.xml"/><Relationship Id="rId16" Type="http://schemas.openxmlformats.org/officeDocument/2006/relationships/slideLayout" Target="../slideLayouts/slideLayout1570.xml"/><Relationship Id="rId20" Type="http://schemas.openxmlformats.org/officeDocument/2006/relationships/slideLayout" Target="../slideLayouts/slideLayout1574.xml"/><Relationship Id="rId29" Type="http://schemas.openxmlformats.org/officeDocument/2006/relationships/slideLayout" Target="../slideLayouts/slideLayout1583.xml"/><Relationship Id="rId1" Type="http://schemas.openxmlformats.org/officeDocument/2006/relationships/slideLayout" Target="../slideLayouts/slideLayout1555.xml"/><Relationship Id="rId6" Type="http://schemas.openxmlformats.org/officeDocument/2006/relationships/slideLayout" Target="../slideLayouts/slideLayout1560.xml"/><Relationship Id="rId11" Type="http://schemas.openxmlformats.org/officeDocument/2006/relationships/slideLayout" Target="../slideLayouts/slideLayout1565.xml"/><Relationship Id="rId24" Type="http://schemas.openxmlformats.org/officeDocument/2006/relationships/slideLayout" Target="../slideLayouts/slideLayout1578.xml"/><Relationship Id="rId32" Type="http://schemas.openxmlformats.org/officeDocument/2006/relationships/slideLayout" Target="../slideLayouts/slideLayout1586.xml"/><Relationship Id="rId37" Type="http://schemas.openxmlformats.org/officeDocument/2006/relationships/slideLayout" Target="../slideLayouts/slideLayout1591.xml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1559.xml"/><Relationship Id="rId15" Type="http://schemas.openxmlformats.org/officeDocument/2006/relationships/slideLayout" Target="../slideLayouts/slideLayout1569.xml"/><Relationship Id="rId23" Type="http://schemas.openxmlformats.org/officeDocument/2006/relationships/slideLayout" Target="../slideLayouts/slideLayout1577.xml"/><Relationship Id="rId28" Type="http://schemas.openxmlformats.org/officeDocument/2006/relationships/slideLayout" Target="../slideLayouts/slideLayout1582.xml"/><Relationship Id="rId36" Type="http://schemas.openxmlformats.org/officeDocument/2006/relationships/slideLayout" Target="../slideLayouts/slideLayout1590.xml"/><Relationship Id="rId10" Type="http://schemas.openxmlformats.org/officeDocument/2006/relationships/slideLayout" Target="../slideLayouts/slideLayout1564.xml"/><Relationship Id="rId19" Type="http://schemas.openxmlformats.org/officeDocument/2006/relationships/slideLayout" Target="../slideLayouts/slideLayout1573.xml"/><Relationship Id="rId31" Type="http://schemas.openxmlformats.org/officeDocument/2006/relationships/slideLayout" Target="../slideLayouts/slideLayout1585.xml"/><Relationship Id="rId4" Type="http://schemas.openxmlformats.org/officeDocument/2006/relationships/slideLayout" Target="../slideLayouts/slideLayout1558.xml"/><Relationship Id="rId9" Type="http://schemas.openxmlformats.org/officeDocument/2006/relationships/slideLayout" Target="../slideLayouts/slideLayout1563.xml"/><Relationship Id="rId14" Type="http://schemas.openxmlformats.org/officeDocument/2006/relationships/slideLayout" Target="../slideLayouts/slideLayout1568.xml"/><Relationship Id="rId22" Type="http://schemas.openxmlformats.org/officeDocument/2006/relationships/slideLayout" Target="../slideLayouts/slideLayout1576.xml"/><Relationship Id="rId27" Type="http://schemas.openxmlformats.org/officeDocument/2006/relationships/slideLayout" Target="../slideLayouts/slideLayout1581.xml"/><Relationship Id="rId30" Type="http://schemas.openxmlformats.org/officeDocument/2006/relationships/slideLayout" Target="../slideLayouts/slideLayout1584.xml"/><Relationship Id="rId35" Type="http://schemas.openxmlformats.org/officeDocument/2006/relationships/slideLayout" Target="../slideLayouts/slideLayout1589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9.xml"/><Relationship Id="rId13" Type="http://schemas.openxmlformats.org/officeDocument/2006/relationships/slideLayout" Target="../slideLayouts/slideLayout1604.xml"/><Relationship Id="rId18" Type="http://schemas.openxmlformats.org/officeDocument/2006/relationships/slideLayout" Target="../slideLayouts/slideLayout1609.xml"/><Relationship Id="rId3" Type="http://schemas.openxmlformats.org/officeDocument/2006/relationships/slideLayout" Target="../slideLayouts/slideLayout1594.xml"/><Relationship Id="rId21" Type="http://schemas.openxmlformats.org/officeDocument/2006/relationships/slideLayout" Target="../slideLayouts/slideLayout1612.xml"/><Relationship Id="rId7" Type="http://schemas.openxmlformats.org/officeDocument/2006/relationships/slideLayout" Target="../slideLayouts/slideLayout1598.xml"/><Relationship Id="rId12" Type="http://schemas.openxmlformats.org/officeDocument/2006/relationships/slideLayout" Target="../slideLayouts/slideLayout1603.xml"/><Relationship Id="rId17" Type="http://schemas.openxmlformats.org/officeDocument/2006/relationships/slideLayout" Target="../slideLayouts/slideLayout1608.xml"/><Relationship Id="rId2" Type="http://schemas.openxmlformats.org/officeDocument/2006/relationships/slideLayout" Target="../slideLayouts/slideLayout1593.xml"/><Relationship Id="rId16" Type="http://schemas.openxmlformats.org/officeDocument/2006/relationships/slideLayout" Target="../slideLayouts/slideLayout1607.xml"/><Relationship Id="rId20" Type="http://schemas.openxmlformats.org/officeDocument/2006/relationships/slideLayout" Target="../slideLayouts/slideLayout1611.xml"/><Relationship Id="rId1" Type="http://schemas.openxmlformats.org/officeDocument/2006/relationships/slideLayout" Target="../slideLayouts/slideLayout1592.xml"/><Relationship Id="rId6" Type="http://schemas.openxmlformats.org/officeDocument/2006/relationships/slideLayout" Target="../slideLayouts/slideLayout1597.xml"/><Relationship Id="rId11" Type="http://schemas.openxmlformats.org/officeDocument/2006/relationships/slideLayout" Target="../slideLayouts/slideLayout1602.xml"/><Relationship Id="rId24" Type="http://schemas.openxmlformats.org/officeDocument/2006/relationships/theme" Target="../theme/theme41.xml"/><Relationship Id="rId5" Type="http://schemas.openxmlformats.org/officeDocument/2006/relationships/slideLayout" Target="../slideLayouts/slideLayout1596.xml"/><Relationship Id="rId15" Type="http://schemas.openxmlformats.org/officeDocument/2006/relationships/slideLayout" Target="../slideLayouts/slideLayout1606.xml"/><Relationship Id="rId23" Type="http://schemas.openxmlformats.org/officeDocument/2006/relationships/slideLayout" Target="../slideLayouts/slideLayout1614.xml"/><Relationship Id="rId10" Type="http://schemas.openxmlformats.org/officeDocument/2006/relationships/slideLayout" Target="../slideLayouts/slideLayout1601.xml"/><Relationship Id="rId19" Type="http://schemas.openxmlformats.org/officeDocument/2006/relationships/slideLayout" Target="../slideLayouts/slideLayout1610.xml"/><Relationship Id="rId4" Type="http://schemas.openxmlformats.org/officeDocument/2006/relationships/slideLayout" Target="../slideLayouts/slideLayout1595.xml"/><Relationship Id="rId9" Type="http://schemas.openxmlformats.org/officeDocument/2006/relationships/slideLayout" Target="../slideLayouts/slideLayout1600.xml"/><Relationship Id="rId14" Type="http://schemas.openxmlformats.org/officeDocument/2006/relationships/slideLayout" Target="../slideLayouts/slideLayout1605.xml"/><Relationship Id="rId22" Type="http://schemas.openxmlformats.org/officeDocument/2006/relationships/slideLayout" Target="../slideLayouts/slideLayout1613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2.xml"/><Relationship Id="rId13" Type="http://schemas.openxmlformats.org/officeDocument/2006/relationships/theme" Target="../theme/theme4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17.xml"/><Relationship Id="rId7" Type="http://schemas.openxmlformats.org/officeDocument/2006/relationships/slideLayout" Target="../slideLayouts/slideLayout1621.xml"/><Relationship Id="rId12" Type="http://schemas.openxmlformats.org/officeDocument/2006/relationships/slideLayout" Target="../slideLayouts/slideLayout1626.xml"/><Relationship Id="rId17" Type="http://schemas.openxmlformats.org/officeDocument/2006/relationships/oleObject" Target="../embeddings/oleObject60.bin"/><Relationship Id="rId2" Type="http://schemas.openxmlformats.org/officeDocument/2006/relationships/slideLayout" Target="../slideLayouts/slideLayout1616.xml"/><Relationship Id="rId16" Type="http://schemas.openxmlformats.org/officeDocument/2006/relationships/tags" Target="../tags/tag94.xml"/><Relationship Id="rId1" Type="http://schemas.openxmlformats.org/officeDocument/2006/relationships/slideLayout" Target="../slideLayouts/slideLayout1615.xml"/><Relationship Id="rId6" Type="http://schemas.openxmlformats.org/officeDocument/2006/relationships/slideLayout" Target="../slideLayouts/slideLayout1620.xml"/><Relationship Id="rId11" Type="http://schemas.openxmlformats.org/officeDocument/2006/relationships/slideLayout" Target="../slideLayouts/slideLayout1625.xml"/><Relationship Id="rId5" Type="http://schemas.openxmlformats.org/officeDocument/2006/relationships/slideLayout" Target="../slideLayouts/slideLayout1619.xml"/><Relationship Id="rId15" Type="http://schemas.openxmlformats.org/officeDocument/2006/relationships/tags" Target="../tags/tag93.xml"/><Relationship Id="rId10" Type="http://schemas.openxmlformats.org/officeDocument/2006/relationships/slideLayout" Target="../slideLayouts/slideLayout1624.xml"/><Relationship Id="rId4" Type="http://schemas.openxmlformats.org/officeDocument/2006/relationships/slideLayout" Target="../slideLayouts/slideLayout1618.xml"/><Relationship Id="rId9" Type="http://schemas.openxmlformats.org/officeDocument/2006/relationships/slideLayout" Target="../slideLayouts/slideLayout1623.xml"/><Relationship Id="rId14" Type="http://schemas.openxmlformats.org/officeDocument/2006/relationships/vmlDrawing" Target="../drawings/vmlDrawing60.v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slideLayout" Target="../slideLayouts/slideLayout168.xml"/><Relationship Id="rId39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63.xml"/><Relationship Id="rId34" Type="http://schemas.openxmlformats.org/officeDocument/2006/relationships/slideLayout" Target="../slideLayouts/slideLayout176.xml"/><Relationship Id="rId42" Type="http://schemas.openxmlformats.org/officeDocument/2006/relationships/slideLayout" Target="../slideLayouts/slideLayout184.xml"/><Relationship Id="rId47" Type="http://schemas.openxmlformats.org/officeDocument/2006/relationships/slideLayout" Target="../slideLayouts/slideLayout189.xml"/><Relationship Id="rId50" Type="http://schemas.openxmlformats.org/officeDocument/2006/relationships/tags" Target="../tags/tag8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slideLayout" Target="../slideLayouts/slideLayout167.xml"/><Relationship Id="rId33" Type="http://schemas.openxmlformats.org/officeDocument/2006/relationships/slideLayout" Target="../slideLayouts/slideLayout175.xml"/><Relationship Id="rId38" Type="http://schemas.openxmlformats.org/officeDocument/2006/relationships/slideLayout" Target="../slideLayouts/slideLayout180.xml"/><Relationship Id="rId46" Type="http://schemas.openxmlformats.org/officeDocument/2006/relationships/slideLayout" Target="../slideLayouts/slideLayout188.xml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71.xml"/><Relationship Id="rId41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32" Type="http://schemas.openxmlformats.org/officeDocument/2006/relationships/slideLayout" Target="../slideLayouts/slideLayout174.xml"/><Relationship Id="rId37" Type="http://schemas.openxmlformats.org/officeDocument/2006/relationships/slideLayout" Target="../slideLayouts/slideLayout179.xml"/><Relationship Id="rId40" Type="http://schemas.openxmlformats.org/officeDocument/2006/relationships/slideLayout" Target="../slideLayouts/slideLayout182.xml"/><Relationship Id="rId45" Type="http://schemas.openxmlformats.org/officeDocument/2006/relationships/slideLayout" Target="../slideLayouts/slideLayout187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28" Type="http://schemas.openxmlformats.org/officeDocument/2006/relationships/slideLayout" Target="../slideLayouts/slideLayout170.xml"/><Relationship Id="rId36" Type="http://schemas.openxmlformats.org/officeDocument/2006/relationships/slideLayout" Target="../slideLayouts/slideLayout178.xml"/><Relationship Id="rId49" Type="http://schemas.openxmlformats.org/officeDocument/2006/relationships/vmlDrawing" Target="../drawings/vmlDrawing5.v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31" Type="http://schemas.openxmlformats.org/officeDocument/2006/relationships/slideLayout" Target="../slideLayouts/slideLayout173.xml"/><Relationship Id="rId44" Type="http://schemas.openxmlformats.org/officeDocument/2006/relationships/slideLayout" Target="../slideLayouts/slideLayout186.xml"/><Relationship Id="rId52" Type="http://schemas.openxmlformats.org/officeDocument/2006/relationships/oleObject" Target="../embeddings/oleObject5.bin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Relationship Id="rId27" Type="http://schemas.openxmlformats.org/officeDocument/2006/relationships/slideLayout" Target="../slideLayouts/slideLayout169.xml"/><Relationship Id="rId30" Type="http://schemas.openxmlformats.org/officeDocument/2006/relationships/slideLayout" Target="../slideLayouts/slideLayout172.xml"/><Relationship Id="rId35" Type="http://schemas.openxmlformats.org/officeDocument/2006/relationships/slideLayout" Target="../slideLayouts/slideLayout177.xml"/><Relationship Id="rId43" Type="http://schemas.openxmlformats.org/officeDocument/2006/relationships/slideLayout" Target="../slideLayouts/slideLayout185.xml"/><Relationship Id="rId48" Type="http://schemas.openxmlformats.org/officeDocument/2006/relationships/theme" Target="../theme/theme5.xml"/><Relationship Id="rId8" Type="http://schemas.openxmlformats.org/officeDocument/2006/relationships/slideLayout" Target="../slideLayouts/slideLayout150.xml"/><Relationship Id="rId51" Type="http://schemas.openxmlformats.org/officeDocument/2006/relationships/tags" Target="../tags/tag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26" Type="http://schemas.openxmlformats.org/officeDocument/2006/relationships/slideLayout" Target="../slideLayouts/slideLayout215.xml"/><Relationship Id="rId39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192.xml"/><Relationship Id="rId21" Type="http://schemas.openxmlformats.org/officeDocument/2006/relationships/slideLayout" Target="../slideLayouts/slideLayout210.xml"/><Relationship Id="rId34" Type="http://schemas.openxmlformats.org/officeDocument/2006/relationships/slideLayout" Target="../slideLayouts/slideLayout223.xml"/><Relationship Id="rId42" Type="http://schemas.openxmlformats.org/officeDocument/2006/relationships/slideLayout" Target="../slideLayouts/slideLayout231.xml"/><Relationship Id="rId47" Type="http://schemas.openxmlformats.org/officeDocument/2006/relationships/slideLayout" Target="../slideLayouts/slideLayout236.xml"/><Relationship Id="rId50" Type="http://schemas.openxmlformats.org/officeDocument/2006/relationships/tags" Target="../tags/tag11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slideLayout" Target="../slideLayouts/slideLayout214.xml"/><Relationship Id="rId33" Type="http://schemas.openxmlformats.org/officeDocument/2006/relationships/slideLayout" Target="../slideLayouts/slideLayout222.xml"/><Relationship Id="rId38" Type="http://schemas.openxmlformats.org/officeDocument/2006/relationships/slideLayout" Target="../slideLayouts/slideLayout227.xml"/><Relationship Id="rId46" Type="http://schemas.openxmlformats.org/officeDocument/2006/relationships/slideLayout" Target="../slideLayouts/slideLayout235.xml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slideLayout" Target="../slideLayouts/slideLayout209.xml"/><Relationship Id="rId29" Type="http://schemas.openxmlformats.org/officeDocument/2006/relationships/slideLayout" Target="../slideLayouts/slideLayout218.xml"/><Relationship Id="rId41" Type="http://schemas.openxmlformats.org/officeDocument/2006/relationships/slideLayout" Target="../slideLayouts/slideLayout230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slideLayout" Target="../slideLayouts/slideLayout213.xml"/><Relationship Id="rId32" Type="http://schemas.openxmlformats.org/officeDocument/2006/relationships/slideLayout" Target="../slideLayouts/slideLayout221.xml"/><Relationship Id="rId37" Type="http://schemas.openxmlformats.org/officeDocument/2006/relationships/slideLayout" Target="../slideLayouts/slideLayout226.xml"/><Relationship Id="rId40" Type="http://schemas.openxmlformats.org/officeDocument/2006/relationships/slideLayout" Target="../slideLayouts/slideLayout229.xml"/><Relationship Id="rId45" Type="http://schemas.openxmlformats.org/officeDocument/2006/relationships/slideLayout" Target="../slideLayouts/slideLayout234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17.xml"/><Relationship Id="rId36" Type="http://schemas.openxmlformats.org/officeDocument/2006/relationships/slideLayout" Target="../slideLayouts/slideLayout225.xml"/><Relationship Id="rId49" Type="http://schemas.openxmlformats.org/officeDocument/2006/relationships/vmlDrawing" Target="../drawings/vmlDrawing7.vml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31" Type="http://schemas.openxmlformats.org/officeDocument/2006/relationships/slideLayout" Target="../slideLayouts/slideLayout220.xml"/><Relationship Id="rId44" Type="http://schemas.openxmlformats.org/officeDocument/2006/relationships/slideLayout" Target="../slideLayouts/slideLayout233.xml"/><Relationship Id="rId52" Type="http://schemas.openxmlformats.org/officeDocument/2006/relationships/oleObject" Target="../embeddings/oleObject7.bin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16.xml"/><Relationship Id="rId30" Type="http://schemas.openxmlformats.org/officeDocument/2006/relationships/slideLayout" Target="../slideLayouts/slideLayout219.xml"/><Relationship Id="rId35" Type="http://schemas.openxmlformats.org/officeDocument/2006/relationships/slideLayout" Target="../slideLayouts/slideLayout224.xml"/><Relationship Id="rId43" Type="http://schemas.openxmlformats.org/officeDocument/2006/relationships/slideLayout" Target="../slideLayouts/slideLayout232.xml"/><Relationship Id="rId48" Type="http://schemas.openxmlformats.org/officeDocument/2006/relationships/theme" Target="../theme/theme6.xml"/><Relationship Id="rId8" Type="http://schemas.openxmlformats.org/officeDocument/2006/relationships/slideLayout" Target="../slideLayouts/slideLayout197.xml"/><Relationship Id="rId51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13" Type="http://schemas.openxmlformats.org/officeDocument/2006/relationships/slideLayout" Target="../slideLayouts/slideLayout249.xml"/><Relationship Id="rId18" Type="http://schemas.openxmlformats.org/officeDocument/2006/relationships/slideLayout" Target="../slideLayouts/slideLayout254.xml"/><Relationship Id="rId26" Type="http://schemas.openxmlformats.org/officeDocument/2006/relationships/slideLayout" Target="../slideLayouts/slideLayout262.xml"/><Relationship Id="rId39" Type="http://schemas.openxmlformats.org/officeDocument/2006/relationships/slideLayout" Target="../slideLayouts/slideLayout275.xml"/><Relationship Id="rId3" Type="http://schemas.openxmlformats.org/officeDocument/2006/relationships/slideLayout" Target="../slideLayouts/slideLayout239.xml"/><Relationship Id="rId21" Type="http://schemas.openxmlformats.org/officeDocument/2006/relationships/slideLayout" Target="../slideLayouts/slideLayout257.xml"/><Relationship Id="rId34" Type="http://schemas.openxmlformats.org/officeDocument/2006/relationships/slideLayout" Target="../slideLayouts/slideLayout270.xml"/><Relationship Id="rId42" Type="http://schemas.openxmlformats.org/officeDocument/2006/relationships/tags" Target="../tags/tag14.xml"/><Relationship Id="rId7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48.xml"/><Relationship Id="rId17" Type="http://schemas.openxmlformats.org/officeDocument/2006/relationships/slideLayout" Target="../slideLayouts/slideLayout253.xml"/><Relationship Id="rId25" Type="http://schemas.openxmlformats.org/officeDocument/2006/relationships/slideLayout" Target="../slideLayouts/slideLayout261.xml"/><Relationship Id="rId33" Type="http://schemas.openxmlformats.org/officeDocument/2006/relationships/slideLayout" Target="../slideLayouts/slideLayout269.xml"/><Relationship Id="rId38" Type="http://schemas.openxmlformats.org/officeDocument/2006/relationships/slideLayout" Target="../slideLayouts/slideLayout274.xml"/><Relationship Id="rId2" Type="http://schemas.openxmlformats.org/officeDocument/2006/relationships/slideLayout" Target="../slideLayouts/slideLayout238.xml"/><Relationship Id="rId16" Type="http://schemas.openxmlformats.org/officeDocument/2006/relationships/slideLayout" Target="../slideLayouts/slideLayout252.xml"/><Relationship Id="rId20" Type="http://schemas.openxmlformats.org/officeDocument/2006/relationships/slideLayout" Target="../slideLayouts/slideLayout256.xml"/><Relationship Id="rId29" Type="http://schemas.openxmlformats.org/officeDocument/2006/relationships/slideLayout" Target="../slideLayouts/slideLayout265.xml"/><Relationship Id="rId41" Type="http://schemas.openxmlformats.org/officeDocument/2006/relationships/vmlDrawing" Target="../drawings/vmlDrawing9.v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24" Type="http://schemas.openxmlformats.org/officeDocument/2006/relationships/slideLayout" Target="../slideLayouts/slideLayout260.xml"/><Relationship Id="rId32" Type="http://schemas.openxmlformats.org/officeDocument/2006/relationships/slideLayout" Target="../slideLayouts/slideLayout268.xml"/><Relationship Id="rId37" Type="http://schemas.openxmlformats.org/officeDocument/2006/relationships/slideLayout" Target="../slideLayouts/slideLayout273.xml"/><Relationship Id="rId40" Type="http://schemas.openxmlformats.org/officeDocument/2006/relationships/theme" Target="../theme/theme7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251.xml"/><Relationship Id="rId23" Type="http://schemas.openxmlformats.org/officeDocument/2006/relationships/slideLayout" Target="../slideLayouts/slideLayout259.xml"/><Relationship Id="rId28" Type="http://schemas.openxmlformats.org/officeDocument/2006/relationships/slideLayout" Target="../slideLayouts/slideLayout264.xml"/><Relationship Id="rId36" Type="http://schemas.openxmlformats.org/officeDocument/2006/relationships/slideLayout" Target="../slideLayouts/slideLayout272.xml"/><Relationship Id="rId10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55.xml"/><Relationship Id="rId31" Type="http://schemas.openxmlformats.org/officeDocument/2006/relationships/slideLayout" Target="../slideLayouts/slideLayout267.xml"/><Relationship Id="rId44" Type="http://schemas.openxmlformats.org/officeDocument/2006/relationships/oleObject" Target="../embeddings/oleObject9.bin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4" Type="http://schemas.openxmlformats.org/officeDocument/2006/relationships/slideLayout" Target="../slideLayouts/slideLayout250.xml"/><Relationship Id="rId22" Type="http://schemas.openxmlformats.org/officeDocument/2006/relationships/slideLayout" Target="../slideLayouts/slideLayout258.xml"/><Relationship Id="rId27" Type="http://schemas.openxmlformats.org/officeDocument/2006/relationships/slideLayout" Target="../slideLayouts/slideLayout263.xml"/><Relationship Id="rId30" Type="http://schemas.openxmlformats.org/officeDocument/2006/relationships/slideLayout" Target="../slideLayouts/slideLayout266.xml"/><Relationship Id="rId35" Type="http://schemas.openxmlformats.org/officeDocument/2006/relationships/slideLayout" Target="../slideLayouts/slideLayout271.xml"/><Relationship Id="rId43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3.xml"/><Relationship Id="rId13" Type="http://schemas.openxmlformats.org/officeDocument/2006/relationships/slideLayout" Target="../slideLayouts/slideLayout288.xml"/><Relationship Id="rId18" Type="http://schemas.openxmlformats.org/officeDocument/2006/relationships/slideLayout" Target="../slideLayouts/slideLayout293.xml"/><Relationship Id="rId26" Type="http://schemas.openxmlformats.org/officeDocument/2006/relationships/slideLayout" Target="../slideLayouts/slideLayout301.xml"/><Relationship Id="rId39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278.xml"/><Relationship Id="rId21" Type="http://schemas.openxmlformats.org/officeDocument/2006/relationships/slideLayout" Target="../slideLayouts/slideLayout296.xml"/><Relationship Id="rId34" Type="http://schemas.openxmlformats.org/officeDocument/2006/relationships/slideLayout" Target="../slideLayouts/slideLayout309.xml"/><Relationship Id="rId42" Type="http://schemas.openxmlformats.org/officeDocument/2006/relationships/tags" Target="../tags/tag16.xml"/><Relationship Id="rId7" Type="http://schemas.openxmlformats.org/officeDocument/2006/relationships/slideLayout" Target="../slideLayouts/slideLayout282.xml"/><Relationship Id="rId12" Type="http://schemas.openxmlformats.org/officeDocument/2006/relationships/slideLayout" Target="../slideLayouts/slideLayout287.xml"/><Relationship Id="rId17" Type="http://schemas.openxmlformats.org/officeDocument/2006/relationships/slideLayout" Target="../slideLayouts/slideLayout292.xml"/><Relationship Id="rId25" Type="http://schemas.openxmlformats.org/officeDocument/2006/relationships/slideLayout" Target="../slideLayouts/slideLayout300.xml"/><Relationship Id="rId33" Type="http://schemas.openxmlformats.org/officeDocument/2006/relationships/slideLayout" Target="../slideLayouts/slideLayout308.xml"/><Relationship Id="rId38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277.xml"/><Relationship Id="rId16" Type="http://schemas.openxmlformats.org/officeDocument/2006/relationships/slideLayout" Target="../slideLayouts/slideLayout291.xml"/><Relationship Id="rId20" Type="http://schemas.openxmlformats.org/officeDocument/2006/relationships/slideLayout" Target="../slideLayouts/slideLayout295.xml"/><Relationship Id="rId29" Type="http://schemas.openxmlformats.org/officeDocument/2006/relationships/slideLayout" Target="../slideLayouts/slideLayout304.xml"/><Relationship Id="rId41" Type="http://schemas.openxmlformats.org/officeDocument/2006/relationships/vmlDrawing" Target="../drawings/vmlDrawing10.vml"/><Relationship Id="rId1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81.xml"/><Relationship Id="rId11" Type="http://schemas.openxmlformats.org/officeDocument/2006/relationships/slideLayout" Target="../slideLayouts/slideLayout286.xml"/><Relationship Id="rId24" Type="http://schemas.openxmlformats.org/officeDocument/2006/relationships/slideLayout" Target="../slideLayouts/slideLayout299.xml"/><Relationship Id="rId32" Type="http://schemas.openxmlformats.org/officeDocument/2006/relationships/slideLayout" Target="../slideLayouts/slideLayout307.xml"/><Relationship Id="rId37" Type="http://schemas.openxmlformats.org/officeDocument/2006/relationships/slideLayout" Target="../slideLayouts/slideLayout312.xml"/><Relationship Id="rId40" Type="http://schemas.openxmlformats.org/officeDocument/2006/relationships/theme" Target="../theme/theme8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280.xml"/><Relationship Id="rId15" Type="http://schemas.openxmlformats.org/officeDocument/2006/relationships/slideLayout" Target="../slideLayouts/slideLayout290.xml"/><Relationship Id="rId23" Type="http://schemas.openxmlformats.org/officeDocument/2006/relationships/slideLayout" Target="../slideLayouts/slideLayout298.xml"/><Relationship Id="rId28" Type="http://schemas.openxmlformats.org/officeDocument/2006/relationships/slideLayout" Target="../slideLayouts/slideLayout303.xml"/><Relationship Id="rId36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285.xml"/><Relationship Id="rId19" Type="http://schemas.openxmlformats.org/officeDocument/2006/relationships/slideLayout" Target="../slideLayouts/slideLayout294.xml"/><Relationship Id="rId31" Type="http://schemas.openxmlformats.org/officeDocument/2006/relationships/slideLayout" Target="../slideLayouts/slideLayout306.xml"/><Relationship Id="rId44" Type="http://schemas.openxmlformats.org/officeDocument/2006/relationships/oleObject" Target="../embeddings/oleObject10.bin"/><Relationship Id="rId4" Type="http://schemas.openxmlformats.org/officeDocument/2006/relationships/slideLayout" Target="../slideLayouts/slideLayout279.xml"/><Relationship Id="rId9" Type="http://schemas.openxmlformats.org/officeDocument/2006/relationships/slideLayout" Target="../slideLayouts/slideLayout284.xml"/><Relationship Id="rId14" Type="http://schemas.openxmlformats.org/officeDocument/2006/relationships/slideLayout" Target="../slideLayouts/slideLayout289.xml"/><Relationship Id="rId22" Type="http://schemas.openxmlformats.org/officeDocument/2006/relationships/slideLayout" Target="../slideLayouts/slideLayout297.xml"/><Relationship Id="rId27" Type="http://schemas.openxmlformats.org/officeDocument/2006/relationships/slideLayout" Target="../slideLayouts/slideLayout302.xml"/><Relationship Id="rId30" Type="http://schemas.openxmlformats.org/officeDocument/2006/relationships/slideLayout" Target="../slideLayouts/slideLayout305.xml"/><Relationship Id="rId35" Type="http://schemas.openxmlformats.org/officeDocument/2006/relationships/slideLayout" Target="../slideLayouts/slideLayout310.xml"/><Relationship Id="rId43" Type="http://schemas.openxmlformats.org/officeDocument/2006/relationships/tags" Target="../tags/tag17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7.xml"/><Relationship Id="rId18" Type="http://schemas.openxmlformats.org/officeDocument/2006/relationships/slideLayout" Target="../slideLayouts/slideLayout332.xml"/><Relationship Id="rId26" Type="http://schemas.openxmlformats.org/officeDocument/2006/relationships/slideLayout" Target="../slideLayouts/slideLayout340.xml"/><Relationship Id="rId39" Type="http://schemas.openxmlformats.org/officeDocument/2006/relationships/slideLayout" Target="../slideLayouts/slideLayout353.xml"/><Relationship Id="rId3" Type="http://schemas.openxmlformats.org/officeDocument/2006/relationships/slideLayout" Target="../slideLayouts/slideLayout317.xml"/><Relationship Id="rId21" Type="http://schemas.openxmlformats.org/officeDocument/2006/relationships/slideLayout" Target="../slideLayouts/slideLayout335.xml"/><Relationship Id="rId34" Type="http://schemas.openxmlformats.org/officeDocument/2006/relationships/slideLayout" Target="../slideLayouts/slideLayout348.xml"/><Relationship Id="rId42" Type="http://schemas.openxmlformats.org/officeDocument/2006/relationships/slideLayout" Target="../slideLayouts/slideLayout356.xml"/><Relationship Id="rId47" Type="http://schemas.openxmlformats.org/officeDocument/2006/relationships/slideLayout" Target="../slideLayouts/slideLayout361.xml"/><Relationship Id="rId50" Type="http://schemas.openxmlformats.org/officeDocument/2006/relationships/tags" Target="../tags/tag18.xml"/><Relationship Id="rId7" Type="http://schemas.openxmlformats.org/officeDocument/2006/relationships/slideLayout" Target="../slideLayouts/slideLayout321.xml"/><Relationship Id="rId12" Type="http://schemas.openxmlformats.org/officeDocument/2006/relationships/slideLayout" Target="../slideLayouts/slideLayout326.xml"/><Relationship Id="rId17" Type="http://schemas.openxmlformats.org/officeDocument/2006/relationships/slideLayout" Target="../slideLayouts/slideLayout331.xml"/><Relationship Id="rId25" Type="http://schemas.openxmlformats.org/officeDocument/2006/relationships/slideLayout" Target="../slideLayouts/slideLayout339.xml"/><Relationship Id="rId33" Type="http://schemas.openxmlformats.org/officeDocument/2006/relationships/slideLayout" Target="../slideLayouts/slideLayout347.xml"/><Relationship Id="rId38" Type="http://schemas.openxmlformats.org/officeDocument/2006/relationships/slideLayout" Target="../slideLayouts/slideLayout352.xml"/><Relationship Id="rId46" Type="http://schemas.openxmlformats.org/officeDocument/2006/relationships/slideLayout" Target="../slideLayouts/slideLayout360.xml"/><Relationship Id="rId2" Type="http://schemas.openxmlformats.org/officeDocument/2006/relationships/slideLayout" Target="../slideLayouts/slideLayout316.xml"/><Relationship Id="rId16" Type="http://schemas.openxmlformats.org/officeDocument/2006/relationships/slideLayout" Target="../slideLayouts/slideLayout330.xml"/><Relationship Id="rId20" Type="http://schemas.openxmlformats.org/officeDocument/2006/relationships/slideLayout" Target="../slideLayouts/slideLayout334.xml"/><Relationship Id="rId29" Type="http://schemas.openxmlformats.org/officeDocument/2006/relationships/slideLayout" Target="../slideLayouts/slideLayout343.xml"/><Relationship Id="rId41" Type="http://schemas.openxmlformats.org/officeDocument/2006/relationships/slideLayout" Target="../slideLayouts/slideLayout355.xml"/><Relationship Id="rId1" Type="http://schemas.openxmlformats.org/officeDocument/2006/relationships/slideLayout" Target="../slideLayouts/slideLayout315.xml"/><Relationship Id="rId6" Type="http://schemas.openxmlformats.org/officeDocument/2006/relationships/slideLayout" Target="../slideLayouts/slideLayout320.xml"/><Relationship Id="rId11" Type="http://schemas.openxmlformats.org/officeDocument/2006/relationships/slideLayout" Target="../slideLayouts/slideLayout325.xml"/><Relationship Id="rId24" Type="http://schemas.openxmlformats.org/officeDocument/2006/relationships/slideLayout" Target="../slideLayouts/slideLayout338.xml"/><Relationship Id="rId32" Type="http://schemas.openxmlformats.org/officeDocument/2006/relationships/slideLayout" Target="../slideLayouts/slideLayout346.xml"/><Relationship Id="rId37" Type="http://schemas.openxmlformats.org/officeDocument/2006/relationships/slideLayout" Target="../slideLayouts/slideLayout351.xml"/><Relationship Id="rId40" Type="http://schemas.openxmlformats.org/officeDocument/2006/relationships/slideLayout" Target="../slideLayouts/slideLayout354.xml"/><Relationship Id="rId45" Type="http://schemas.openxmlformats.org/officeDocument/2006/relationships/slideLayout" Target="../slideLayouts/slideLayout359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319.xml"/><Relationship Id="rId15" Type="http://schemas.openxmlformats.org/officeDocument/2006/relationships/slideLayout" Target="../slideLayouts/slideLayout329.xml"/><Relationship Id="rId23" Type="http://schemas.openxmlformats.org/officeDocument/2006/relationships/slideLayout" Target="../slideLayouts/slideLayout337.xml"/><Relationship Id="rId28" Type="http://schemas.openxmlformats.org/officeDocument/2006/relationships/slideLayout" Target="../slideLayouts/slideLayout342.xml"/><Relationship Id="rId36" Type="http://schemas.openxmlformats.org/officeDocument/2006/relationships/slideLayout" Target="../slideLayouts/slideLayout350.xml"/><Relationship Id="rId49" Type="http://schemas.openxmlformats.org/officeDocument/2006/relationships/vmlDrawing" Target="../drawings/vmlDrawing11.vml"/><Relationship Id="rId10" Type="http://schemas.openxmlformats.org/officeDocument/2006/relationships/slideLayout" Target="../slideLayouts/slideLayout324.xml"/><Relationship Id="rId19" Type="http://schemas.openxmlformats.org/officeDocument/2006/relationships/slideLayout" Target="../slideLayouts/slideLayout333.xml"/><Relationship Id="rId31" Type="http://schemas.openxmlformats.org/officeDocument/2006/relationships/slideLayout" Target="../slideLayouts/slideLayout345.xml"/><Relationship Id="rId44" Type="http://schemas.openxmlformats.org/officeDocument/2006/relationships/slideLayout" Target="../slideLayouts/slideLayout358.xml"/><Relationship Id="rId52" Type="http://schemas.openxmlformats.org/officeDocument/2006/relationships/oleObject" Target="../embeddings/oleObject11.bin"/><Relationship Id="rId4" Type="http://schemas.openxmlformats.org/officeDocument/2006/relationships/slideLayout" Target="../slideLayouts/slideLayout318.xml"/><Relationship Id="rId9" Type="http://schemas.openxmlformats.org/officeDocument/2006/relationships/slideLayout" Target="../slideLayouts/slideLayout323.xml"/><Relationship Id="rId14" Type="http://schemas.openxmlformats.org/officeDocument/2006/relationships/slideLayout" Target="../slideLayouts/slideLayout328.xml"/><Relationship Id="rId22" Type="http://schemas.openxmlformats.org/officeDocument/2006/relationships/slideLayout" Target="../slideLayouts/slideLayout336.xml"/><Relationship Id="rId27" Type="http://schemas.openxmlformats.org/officeDocument/2006/relationships/slideLayout" Target="../slideLayouts/slideLayout341.xml"/><Relationship Id="rId30" Type="http://schemas.openxmlformats.org/officeDocument/2006/relationships/slideLayout" Target="../slideLayouts/slideLayout344.xml"/><Relationship Id="rId35" Type="http://schemas.openxmlformats.org/officeDocument/2006/relationships/slideLayout" Target="../slideLayouts/slideLayout349.xml"/><Relationship Id="rId43" Type="http://schemas.openxmlformats.org/officeDocument/2006/relationships/slideLayout" Target="../slideLayouts/slideLayout357.xml"/><Relationship Id="rId48" Type="http://schemas.openxmlformats.org/officeDocument/2006/relationships/theme" Target="../theme/theme9.xml"/><Relationship Id="rId8" Type="http://schemas.openxmlformats.org/officeDocument/2006/relationships/slideLayout" Target="../slideLayouts/slideLayout322.xml"/><Relationship Id="rId51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21174036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Слайд think-cell" r:id="rId17" imgW="359" imgH="360" progId="TCLayout.ActiveDocument.1">
                  <p:embed/>
                </p:oleObj>
              </mc:Choice>
              <mc:Fallback>
                <p:oleObj name="Слайд think-cell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23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57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577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57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49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94168934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569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  <p:sldLayoutId id="2147484043" r:id="rId13"/>
    <p:sldLayoutId id="2147484044" r:id="rId14"/>
    <p:sldLayoutId id="2147484045" r:id="rId15"/>
    <p:sldLayoutId id="2147484046" r:id="rId16"/>
    <p:sldLayoutId id="2147484047" r:id="rId17"/>
    <p:sldLayoutId id="2147484048" r:id="rId18"/>
    <p:sldLayoutId id="2147484049" r:id="rId19"/>
    <p:sldLayoutId id="2147484050" r:id="rId20"/>
    <p:sldLayoutId id="2147484051" r:id="rId21"/>
    <p:sldLayoutId id="2147484052" r:id="rId22"/>
    <p:sldLayoutId id="2147484053" r:id="rId23"/>
    <p:sldLayoutId id="2147484054" r:id="rId24"/>
    <p:sldLayoutId id="2147484055" r:id="rId25"/>
    <p:sldLayoutId id="2147484056" r:id="rId26"/>
    <p:sldLayoutId id="2147484057" r:id="rId27"/>
    <p:sldLayoutId id="2147484058" r:id="rId28"/>
    <p:sldLayoutId id="2147484059" r:id="rId29"/>
    <p:sldLayoutId id="2147484060" r:id="rId30"/>
    <p:sldLayoutId id="2147484061" r:id="rId31"/>
    <p:sldLayoutId id="2147484062" r:id="rId32"/>
    <p:sldLayoutId id="2147484063" r:id="rId33"/>
    <p:sldLayoutId id="2147484064" r:id="rId34"/>
    <p:sldLayoutId id="2147484065" r:id="rId35"/>
    <p:sldLayoutId id="2147484066" r:id="rId36"/>
    <p:sldLayoutId id="2147484067" r:id="rId37"/>
    <p:sldLayoutId id="2147484068" r:id="rId38"/>
    <p:sldLayoutId id="2147484069" r:id="rId39"/>
    <p:sldLayoutId id="2147484070" r:id="rId40"/>
    <p:sldLayoutId id="2147484071" r:id="rId41"/>
    <p:sldLayoutId id="2147484072" r:id="rId42"/>
    <p:sldLayoutId id="2147484073" r:id="rId43"/>
    <p:sldLayoutId id="2147484074" r:id="rId44"/>
    <p:sldLayoutId id="2147484075" r:id="rId45"/>
    <p:sldLayoutId id="2147484076" r:id="rId46"/>
    <p:sldLayoutId id="2147484077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92782759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059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  <p:sldLayoutId id="2147484087" r:id="rId9"/>
    <p:sldLayoutId id="2147484088" r:id="rId10"/>
    <p:sldLayoutId id="2147484089" r:id="rId11"/>
    <p:sldLayoutId id="2147484090" r:id="rId12"/>
    <p:sldLayoutId id="2147484091" r:id="rId13"/>
    <p:sldLayoutId id="2147484092" r:id="rId14"/>
    <p:sldLayoutId id="2147484093" r:id="rId15"/>
    <p:sldLayoutId id="2147484094" r:id="rId16"/>
    <p:sldLayoutId id="2147484095" r:id="rId17"/>
    <p:sldLayoutId id="2147484096" r:id="rId18"/>
    <p:sldLayoutId id="2147484097" r:id="rId19"/>
    <p:sldLayoutId id="2147484098" r:id="rId20"/>
    <p:sldLayoutId id="2147484099" r:id="rId21"/>
    <p:sldLayoutId id="2147484100" r:id="rId22"/>
    <p:sldLayoutId id="2147484101" r:id="rId23"/>
    <p:sldLayoutId id="2147484102" r:id="rId24"/>
    <p:sldLayoutId id="2147484103" r:id="rId25"/>
    <p:sldLayoutId id="2147484104" r:id="rId26"/>
    <p:sldLayoutId id="2147484105" r:id="rId27"/>
    <p:sldLayoutId id="2147484106" r:id="rId28"/>
    <p:sldLayoutId id="2147484107" r:id="rId29"/>
    <p:sldLayoutId id="2147484108" r:id="rId30"/>
    <p:sldLayoutId id="2147484109" r:id="rId31"/>
    <p:sldLayoutId id="2147484110" r:id="rId32"/>
    <p:sldLayoutId id="2147484111" r:id="rId33"/>
    <p:sldLayoutId id="2147484112" r:id="rId34"/>
    <p:sldLayoutId id="2147484113" r:id="rId35"/>
    <p:sldLayoutId id="2147484114" r:id="rId36"/>
    <p:sldLayoutId id="2147484115" r:id="rId37"/>
    <p:sldLayoutId id="2147484116" r:id="rId38"/>
    <p:sldLayoutId id="2147484117" r:id="rId39"/>
    <p:sldLayoutId id="2147484118" r:id="rId40"/>
    <p:sldLayoutId id="2147484119" r:id="rId41"/>
    <p:sldLayoutId id="2147484120" r:id="rId42"/>
    <p:sldLayoutId id="2147484121" r:id="rId43"/>
    <p:sldLayoutId id="2147484122" r:id="rId44"/>
    <p:sldLayoutId id="2147484123" r:id="rId45"/>
    <p:sldLayoutId id="2147484124" r:id="rId46"/>
    <p:sldLayoutId id="2147484125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7350" y="132532"/>
            <a:ext cx="7886700" cy="8174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5400" spc="-40" dirty="0" smtClean="0">
                <a:solidFill>
                  <a:srgbClr val="294790"/>
                </a:solidFill>
                <a:cs typeface="Arial" pitchFamily="34" charset="0"/>
              </a:rPr>
              <a:t>ОБРАЗЕЦ ЗАГОЛОВКА</a:t>
            </a:r>
            <a:endParaRPr lang="ru-RU" sz="4400" spc="-40" dirty="0">
              <a:solidFill>
                <a:srgbClr val="294790"/>
              </a:solidFill>
              <a:cs typeface="Arial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737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3B2D3575-5E27-4EB2-8A63-C67EAA6AC944}" type="datetime1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09.09.2019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7377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737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srgbClr val="E7E6E6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E7E6E6">
                  <a:lumMod val="50000"/>
                </a:srgb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253341" y="891636"/>
            <a:ext cx="8676359" cy="0"/>
          </a:xfrm>
          <a:prstGeom prst="line">
            <a:avLst/>
          </a:prstGeom>
          <a:ln w="19050"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 userDrawn="1"/>
        </p:nvSpPr>
        <p:spPr>
          <a:xfrm>
            <a:off x="253329" y="0"/>
            <a:ext cx="1375446" cy="891636"/>
          </a:xfrm>
          <a:prstGeom prst="rect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akladova\Desktop\logo_prosveschenie-01.png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27" y="229525"/>
            <a:ext cx="1085850" cy="59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4364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8" r:id="rId2"/>
    <p:sldLayoutId id="2147484129" r:id="rId3"/>
    <p:sldLayoutId id="2147484130" r:id="rId4"/>
    <p:sldLayoutId id="2147484131" r:id="rId5"/>
    <p:sldLayoutId id="2147484132" r:id="rId6"/>
    <p:sldLayoutId id="2147484133" r:id="rId7"/>
    <p:sldLayoutId id="2147484134" r:id="rId8"/>
    <p:sldLayoutId id="2147484135" r:id="rId9"/>
    <p:sldLayoutId id="2147484136" r:id="rId10"/>
    <p:sldLayoutId id="2147484137" r:id="rId11"/>
    <p:sldLayoutId id="2147484138" r:id="rId12"/>
    <p:sldLayoutId id="2147484139" r:id="rId13"/>
    <p:sldLayoutId id="2147484140" r:id="rId14"/>
    <p:sldLayoutId id="2147484141" r:id="rId15"/>
    <p:sldLayoutId id="2147484142" r:id="rId16"/>
    <p:sldLayoutId id="2147484143" r:id="rId17"/>
    <p:sldLayoutId id="2147484144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kern="1200">
          <a:solidFill>
            <a:srgbClr val="955E4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rgbClr val="955E4B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1" kern="1200">
          <a:solidFill>
            <a:srgbClr val="955E4B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955E4B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955E4B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010084373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8190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  <p:sldLayoutId id="2147484151" r:id="rId6"/>
    <p:sldLayoutId id="2147484152" r:id="rId7"/>
    <p:sldLayoutId id="2147484153" r:id="rId8"/>
    <p:sldLayoutId id="2147484154" r:id="rId9"/>
    <p:sldLayoutId id="2147484155" r:id="rId10"/>
    <p:sldLayoutId id="2147484156" r:id="rId11"/>
    <p:sldLayoutId id="2147484157" r:id="rId12"/>
    <p:sldLayoutId id="2147484158" r:id="rId13"/>
    <p:sldLayoutId id="2147484159" r:id="rId14"/>
    <p:sldLayoutId id="2147484160" r:id="rId15"/>
    <p:sldLayoutId id="2147484161" r:id="rId16"/>
    <p:sldLayoutId id="2147484162" r:id="rId17"/>
    <p:sldLayoutId id="2147484163" r:id="rId18"/>
    <p:sldLayoutId id="2147484164" r:id="rId19"/>
    <p:sldLayoutId id="2147484165" r:id="rId20"/>
    <p:sldLayoutId id="2147484166" r:id="rId21"/>
    <p:sldLayoutId id="2147484167" r:id="rId22"/>
    <p:sldLayoutId id="2147484168" r:id="rId23"/>
    <p:sldLayoutId id="2147484169" r:id="rId24"/>
    <p:sldLayoutId id="2147484170" r:id="rId25"/>
    <p:sldLayoutId id="2147484171" r:id="rId26"/>
    <p:sldLayoutId id="2147484172" r:id="rId27"/>
    <p:sldLayoutId id="2147484173" r:id="rId28"/>
    <p:sldLayoutId id="2147484174" r:id="rId29"/>
    <p:sldLayoutId id="2147484175" r:id="rId30"/>
    <p:sldLayoutId id="2147484176" r:id="rId31"/>
    <p:sldLayoutId id="2147484177" r:id="rId32"/>
    <p:sldLayoutId id="2147484178" r:id="rId33"/>
    <p:sldLayoutId id="2147484179" r:id="rId34"/>
    <p:sldLayoutId id="2147484180" r:id="rId35"/>
    <p:sldLayoutId id="2147484181" r:id="rId36"/>
    <p:sldLayoutId id="2147484182" r:id="rId37"/>
    <p:sldLayoutId id="2147484183" r:id="rId38"/>
    <p:sldLayoutId id="2147484184" r:id="rId39"/>
    <p:sldLayoutId id="2147484185" r:id="rId40"/>
    <p:sldLayoutId id="2147484186" r:id="rId41"/>
    <p:sldLayoutId id="2147484187" r:id="rId42"/>
    <p:sldLayoutId id="2147484188" r:id="rId43"/>
    <p:sldLayoutId id="2147484189" r:id="rId44"/>
    <p:sldLayoutId id="2147484190" r:id="rId45"/>
    <p:sldLayoutId id="2147484191" r:id="rId46"/>
    <p:sldLayoutId id="2147484192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3995122897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Слайд think-cell" r:id="rId59" imgW="359" imgH="360" progId="TCLayout.ActiveDocument.1">
                  <p:embed/>
                </p:oleObj>
              </mc:Choice>
              <mc:Fallback>
                <p:oleObj name="Слайд think-cell" r:id="rId59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0750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4" r:id="rId1"/>
    <p:sldLayoutId id="2147484195" r:id="rId2"/>
    <p:sldLayoutId id="2147484196" r:id="rId3"/>
    <p:sldLayoutId id="2147484197" r:id="rId4"/>
    <p:sldLayoutId id="2147484198" r:id="rId5"/>
    <p:sldLayoutId id="2147484199" r:id="rId6"/>
    <p:sldLayoutId id="2147484200" r:id="rId7"/>
    <p:sldLayoutId id="2147484201" r:id="rId8"/>
    <p:sldLayoutId id="2147484202" r:id="rId9"/>
    <p:sldLayoutId id="2147484203" r:id="rId10"/>
    <p:sldLayoutId id="2147484204" r:id="rId11"/>
    <p:sldLayoutId id="2147484205" r:id="rId12"/>
    <p:sldLayoutId id="2147484206" r:id="rId13"/>
    <p:sldLayoutId id="2147484207" r:id="rId14"/>
    <p:sldLayoutId id="2147484208" r:id="rId15"/>
    <p:sldLayoutId id="2147484209" r:id="rId16"/>
    <p:sldLayoutId id="2147484210" r:id="rId17"/>
    <p:sldLayoutId id="2147484211" r:id="rId18"/>
    <p:sldLayoutId id="2147484212" r:id="rId19"/>
    <p:sldLayoutId id="2147484213" r:id="rId20"/>
    <p:sldLayoutId id="2147484214" r:id="rId21"/>
    <p:sldLayoutId id="2147484215" r:id="rId22"/>
    <p:sldLayoutId id="2147484216" r:id="rId23"/>
    <p:sldLayoutId id="2147484217" r:id="rId24"/>
    <p:sldLayoutId id="2147484218" r:id="rId25"/>
    <p:sldLayoutId id="2147484219" r:id="rId26"/>
    <p:sldLayoutId id="2147484220" r:id="rId27"/>
    <p:sldLayoutId id="2147484221" r:id="rId28"/>
    <p:sldLayoutId id="2147484222" r:id="rId29"/>
    <p:sldLayoutId id="2147484223" r:id="rId30"/>
    <p:sldLayoutId id="2147484224" r:id="rId31"/>
    <p:sldLayoutId id="2147484225" r:id="rId32"/>
    <p:sldLayoutId id="2147484226" r:id="rId33"/>
    <p:sldLayoutId id="2147484227" r:id="rId34"/>
    <p:sldLayoutId id="2147484228" r:id="rId35"/>
    <p:sldLayoutId id="2147484229" r:id="rId36"/>
    <p:sldLayoutId id="2147484230" r:id="rId37"/>
    <p:sldLayoutId id="2147484231" r:id="rId38"/>
    <p:sldLayoutId id="2147484232" r:id="rId39"/>
    <p:sldLayoutId id="2147484233" r:id="rId40"/>
    <p:sldLayoutId id="2147484234" r:id="rId41"/>
    <p:sldLayoutId id="2147484235" r:id="rId42"/>
    <p:sldLayoutId id="2147484236" r:id="rId43"/>
    <p:sldLayoutId id="2147484237" r:id="rId44"/>
    <p:sldLayoutId id="2147484238" r:id="rId45"/>
    <p:sldLayoutId id="2147484239" r:id="rId46"/>
    <p:sldLayoutId id="2147484240" r:id="rId47"/>
    <p:sldLayoutId id="2147484332" r:id="rId48"/>
    <p:sldLayoutId id="2147484333" r:id="rId49"/>
    <p:sldLayoutId id="2147484334" r:id="rId50"/>
    <p:sldLayoutId id="2147484335" r:id="rId51"/>
    <p:sldLayoutId id="2147484336" r:id="rId52"/>
    <p:sldLayoutId id="2147484337" r:id="rId53"/>
    <p:sldLayoutId id="2147484338" r:id="rId54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948843555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2" name="Слайд think-cell" r:id="rId44" imgW="359" imgH="360" progId="TCLayout.ActiveDocument.1">
                  <p:embed/>
                </p:oleObj>
              </mc:Choice>
              <mc:Fallback>
                <p:oleObj name="Слайд think-cell" r:id="rId4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943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2" r:id="rId1"/>
    <p:sldLayoutId id="2147484243" r:id="rId2"/>
    <p:sldLayoutId id="2147484244" r:id="rId3"/>
    <p:sldLayoutId id="2147484245" r:id="rId4"/>
    <p:sldLayoutId id="2147484246" r:id="rId5"/>
    <p:sldLayoutId id="2147484247" r:id="rId6"/>
    <p:sldLayoutId id="2147484248" r:id="rId7"/>
    <p:sldLayoutId id="2147484249" r:id="rId8"/>
    <p:sldLayoutId id="2147484250" r:id="rId9"/>
    <p:sldLayoutId id="2147484251" r:id="rId10"/>
    <p:sldLayoutId id="2147484252" r:id="rId11"/>
    <p:sldLayoutId id="2147484253" r:id="rId12"/>
    <p:sldLayoutId id="2147484254" r:id="rId13"/>
    <p:sldLayoutId id="2147484255" r:id="rId14"/>
    <p:sldLayoutId id="2147484256" r:id="rId15"/>
    <p:sldLayoutId id="2147484257" r:id="rId16"/>
    <p:sldLayoutId id="2147484258" r:id="rId17"/>
    <p:sldLayoutId id="2147484259" r:id="rId18"/>
    <p:sldLayoutId id="2147484260" r:id="rId19"/>
    <p:sldLayoutId id="2147484261" r:id="rId20"/>
    <p:sldLayoutId id="2147484262" r:id="rId21"/>
    <p:sldLayoutId id="2147484263" r:id="rId22"/>
    <p:sldLayoutId id="2147484264" r:id="rId23"/>
    <p:sldLayoutId id="2147484265" r:id="rId24"/>
    <p:sldLayoutId id="2147484266" r:id="rId25"/>
    <p:sldLayoutId id="2147484267" r:id="rId26"/>
    <p:sldLayoutId id="2147484268" r:id="rId27"/>
    <p:sldLayoutId id="2147484269" r:id="rId28"/>
    <p:sldLayoutId id="2147484270" r:id="rId29"/>
    <p:sldLayoutId id="2147484271" r:id="rId30"/>
    <p:sldLayoutId id="2147484272" r:id="rId31"/>
    <p:sldLayoutId id="2147484273" r:id="rId32"/>
    <p:sldLayoutId id="2147484274" r:id="rId33"/>
    <p:sldLayoutId id="2147484275" r:id="rId34"/>
    <p:sldLayoutId id="2147484276" r:id="rId35"/>
    <p:sldLayoutId id="2147484277" r:id="rId36"/>
    <p:sldLayoutId id="2147484278" r:id="rId37"/>
    <p:sldLayoutId id="2147484279" r:id="rId38"/>
    <p:sldLayoutId id="2147484280" r:id="rId39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73381820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2285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2" r:id="rId1"/>
    <p:sldLayoutId id="2147484283" r:id="rId2"/>
    <p:sldLayoutId id="2147484284" r:id="rId3"/>
    <p:sldLayoutId id="2147484285" r:id="rId4"/>
    <p:sldLayoutId id="2147484286" r:id="rId5"/>
    <p:sldLayoutId id="2147484287" r:id="rId6"/>
    <p:sldLayoutId id="2147484288" r:id="rId7"/>
    <p:sldLayoutId id="2147484289" r:id="rId8"/>
    <p:sldLayoutId id="2147484290" r:id="rId9"/>
    <p:sldLayoutId id="2147484291" r:id="rId10"/>
    <p:sldLayoutId id="2147484292" r:id="rId11"/>
    <p:sldLayoutId id="2147484293" r:id="rId12"/>
    <p:sldLayoutId id="2147484294" r:id="rId13"/>
    <p:sldLayoutId id="2147484295" r:id="rId14"/>
    <p:sldLayoutId id="2147484296" r:id="rId15"/>
    <p:sldLayoutId id="2147484297" r:id="rId16"/>
    <p:sldLayoutId id="2147484298" r:id="rId17"/>
    <p:sldLayoutId id="2147484299" r:id="rId18"/>
    <p:sldLayoutId id="2147484300" r:id="rId19"/>
    <p:sldLayoutId id="2147484301" r:id="rId20"/>
    <p:sldLayoutId id="2147484302" r:id="rId21"/>
    <p:sldLayoutId id="2147484303" r:id="rId22"/>
    <p:sldLayoutId id="2147484304" r:id="rId23"/>
    <p:sldLayoutId id="2147484305" r:id="rId24"/>
    <p:sldLayoutId id="2147484306" r:id="rId25"/>
    <p:sldLayoutId id="2147484307" r:id="rId26"/>
    <p:sldLayoutId id="2147484308" r:id="rId27"/>
    <p:sldLayoutId id="2147484309" r:id="rId28"/>
    <p:sldLayoutId id="2147484310" r:id="rId29"/>
    <p:sldLayoutId id="2147484311" r:id="rId30"/>
    <p:sldLayoutId id="2147484312" r:id="rId31"/>
    <p:sldLayoutId id="2147484313" r:id="rId32"/>
    <p:sldLayoutId id="2147484314" r:id="rId33"/>
    <p:sldLayoutId id="2147484315" r:id="rId34"/>
    <p:sldLayoutId id="2147484316" r:id="rId35"/>
    <p:sldLayoutId id="2147484317" r:id="rId36"/>
    <p:sldLayoutId id="2147484318" r:id="rId37"/>
    <p:sldLayoutId id="2147484319" r:id="rId38"/>
    <p:sldLayoutId id="2147484320" r:id="rId39"/>
    <p:sldLayoutId id="2147484321" r:id="rId40"/>
    <p:sldLayoutId id="2147484322" r:id="rId41"/>
    <p:sldLayoutId id="2147484323" r:id="rId42"/>
    <p:sldLayoutId id="2147484324" r:id="rId43"/>
    <p:sldLayoutId id="2147484325" r:id="rId44"/>
    <p:sldLayoutId id="2147484326" r:id="rId45"/>
    <p:sldLayoutId id="2147484327" r:id="rId46"/>
    <p:sldLayoutId id="2147484328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034232502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466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9" r:id="rId1"/>
    <p:sldLayoutId id="2147484350" r:id="rId2"/>
    <p:sldLayoutId id="2147484351" r:id="rId3"/>
    <p:sldLayoutId id="2147484352" r:id="rId4"/>
    <p:sldLayoutId id="2147484353" r:id="rId5"/>
    <p:sldLayoutId id="2147484354" r:id="rId6"/>
    <p:sldLayoutId id="2147484355" r:id="rId7"/>
    <p:sldLayoutId id="2147484356" r:id="rId8"/>
    <p:sldLayoutId id="2147484357" r:id="rId9"/>
    <p:sldLayoutId id="2147484358" r:id="rId10"/>
    <p:sldLayoutId id="2147484359" r:id="rId11"/>
    <p:sldLayoutId id="2147484360" r:id="rId12"/>
    <p:sldLayoutId id="2147484361" r:id="rId13"/>
    <p:sldLayoutId id="2147484362" r:id="rId14"/>
    <p:sldLayoutId id="2147484363" r:id="rId15"/>
    <p:sldLayoutId id="2147484364" r:id="rId16"/>
    <p:sldLayoutId id="2147484365" r:id="rId17"/>
    <p:sldLayoutId id="2147484366" r:id="rId18"/>
    <p:sldLayoutId id="2147484367" r:id="rId19"/>
    <p:sldLayoutId id="2147484368" r:id="rId20"/>
    <p:sldLayoutId id="2147484369" r:id="rId21"/>
    <p:sldLayoutId id="2147484370" r:id="rId22"/>
    <p:sldLayoutId id="2147484371" r:id="rId23"/>
    <p:sldLayoutId id="2147484372" r:id="rId24"/>
    <p:sldLayoutId id="2147484373" r:id="rId25"/>
    <p:sldLayoutId id="2147484374" r:id="rId26"/>
    <p:sldLayoutId id="2147484375" r:id="rId27"/>
    <p:sldLayoutId id="2147484376" r:id="rId28"/>
    <p:sldLayoutId id="2147484377" r:id="rId29"/>
    <p:sldLayoutId id="2147484378" r:id="rId30"/>
    <p:sldLayoutId id="2147484379" r:id="rId31"/>
    <p:sldLayoutId id="2147484380" r:id="rId32"/>
    <p:sldLayoutId id="2147484381" r:id="rId33"/>
    <p:sldLayoutId id="2147484382" r:id="rId34"/>
    <p:sldLayoutId id="2147484383" r:id="rId35"/>
    <p:sldLayoutId id="2147484384" r:id="rId36"/>
    <p:sldLayoutId id="2147484385" r:id="rId37"/>
    <p:sldLayoutId id="2147484386" r:id="rId38"/>
    <p:sldLayoutId id="2147484387" r:id="rId39"/>
    <p:sldLayoutId id="2147484388" r:id="rId40"/>
    <p:sldLayoutId id="2147484389" r:id="rId41"/>
    <p:sldLayoutId id="2147484390" r:id="rId42"/>
    <p:sldLayoutId id="2147484391" r:id="rId43"/>
    <p:sldLayoutId id="2147484392" r:id="rId44"/>
    <p:sldLayoutId id="2147484393" r:id="rId45"/>
    <p:sldLayoutId id="2147484394" r:id="rId46"/>
    <p:sldLayoutId id="2147484395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669256750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781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7" r:id="rId1"/>
    <p:sldLayoutId id="2147484398" r:id="rId2"/>
    <p:sldLayoutId id="2147484399" r:id="rId3"/>
    <p:sldLayoutId id="2147484400" r:id="rId4"/>
    <p:sldLayoutId id="2147484401" r:id="rId5"/>
    <p:sldLayoutId id="2147484402" r:id="rId6"/>
    <p:sldLayoutId id="2147484403" r:id="rId7"/>
    <p:sldLayoutId id="2147484404" r:id="rId8"/>
    <p:sldLayoutId id="2147484405" r:id="rId9"/>
    <p:sldLayoutId id="2147484406" r:id="rId10"/>
    <p:sldLayoutId id="2147484407" r:id="rId11"/>
    <p:sldLayoutId id="2147484408" r:id="rId12"/>
    <p:sldLayoutId id="2147484409" r:id="rId13"/>
    <p:sldLayoutId id="2147484410" r:id="rId14"/>
    <p:sldLayoutId id="2147484411" r:id="rId15"/>
    <p:sldLayoutId id="2147484412" r:id="rId16"/>
    <p:sldLayoutId id="2147484413" r:id="rId17"/>
    <p:sldLayoutId id="2147484414" r:id="rId18"/>
    <p:sldLayoutId id="2147484415" r:id="rId19"/>
    <p:sldLayoutId id="2147484416" r:id="rId20"/>
    <p:sldLayoutId id="2147484417" r:id="rId21"/>
    <p:sldLayoutId id="2147484418" r:id="rId22"/>
    <p:sldLayoutId id="2147484419" r:id="rId23"/>
    <p:sldLayoutId id="2147484420" r:id="rId24"/>
    <p:sldLayoutId id="2147484421" r:id="rId25"/>
    <p:sldLayoutId id="2147484422" r:id="rId26"/>
    <p:sldLayoutId id="2147484423" r:id="rId27"/>
    <p:sldLayoutId id="2147484424" r:id="rId28"/>
    <p:sldLayoutId id="2147484425" r:id="rId29"/>
    <p:sldLayoutId id="2147484426" r:id="rId30"/>
    <p:sldLayoutId id="2147484427" r:id="rId31"/>
    <p:sldLayoutId id="2147484428" r:id="rId32"/>
    <p:sldLayoutId id="2147484429" r:id="rId33"/>
    <p:sldLayoutId id="2147484430" r:id="rId34"/>
    <p:sldLayoutId id="2147484431" r:id="rId35"/>
    <p:sldLayoutId id="2147484432" r:id="rId36"/>
    <p:sldLayoutId id="2147484433" r:id="rId37"/>
    <p:sldLayoutId id="2147484434" r:id="rId38"/>
    <p:sldLayoutId id="2147484435" r:id="rId39"/>
    <p:sldLayoutId id="2147484436" r:id="rId40"/>
    <p:sldLayoutId id="2147484437" r:id="rId41"/>
    <p:sldLayoutId id="2147484438" r:id="rId42"/>
    <p:sldLayoutId id="2147484439" r:id="rId43"/>
    <p:sldLayoutId id="2147484440" r:id="rId44"/>
    <p:sldLayoutId id="2147484441" r:id="rId45"/>
    <p:sldLayoutId id="2147484442" r:id="rId46"/>
    <p:sldLayoutId id="2147484443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395252783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754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5" r:id="rId1"/>
    <p:sldLayoutId id="2147484446" r:id="rId2"/>
    <p:sldLayoutId id="2147484447" r:id="rId3"/>
    <p:sldLayoutId id="2147484448" r:id="rId4"/>
    <p:sldLayoutId id="2147484449" r:id="rId5"/>
    <p:sldLayoutId id="2147484450" r:id="rId6"/>
    <p:sldLayoutId id="2147484451" r:id="rId7"/>
    <p:sldLayoutId id="2147484452" r:id="rId8"/>
    <p:sldLayoutId id="2147484453" r:id="rId9"/>
    <p:sldLayoutId id="2147484454" r:id="rId10"/>
    <p:sldLayoutId id="2147484455" r:id="rId11"/>
    <p:sldLayoutId id="2147484456" r:id="rId12"/>
    <p:sldLayoutId id="2147484457" r:id="rId13"/>
    <p:sldLayoutId id="2147484458" r:id="rId14"/>
    <p:sldLayoutId id="2147484459" r:id="rId15"/>
    <p:sldLayoutId id="2147484460" r:id="rId16"/>
    <p:sldLayoutId id="2147484461" r:id="rId17"/>
    <p:sldLayoutId id="2147484462" r:id="rId18"/>
    <p:sldLayoutId id="2147484463" r:id="rId19"/>
    <p:sldLayoutId id="2147484464" r:id="rId20"/>
    <p:sldLayoutId id="2147484465" r:id="rId21"/>
    <p:sldLayoutId id="2147484466" r:id="rId22"/>
    <p:sldLayoutId id="2147484467" r:id="rId23"/>
    <p:sldLayoutId id="2147484468" r:id="rId24"/>
    <p:sldLayoutId id="2147484469" r:id="rId25"/>
    <p:sldLayoutId id="2147484470" r:id="rId26"/>
    <p:sldLayoutId id="2147484471" r:id="rId27"/>
    <p:sldLayoutId id="2147484472" r:id="rId28"/>
    <p:sldLayoutId id="2147484473" r:id="rId29"/>
    <p:sldLayoutId id="2147484474" r:id="rId30"/>
    <p:sldLayoutId id="2147484475" r:id="rId31"/>
    <p:sldLayoutId id="2147484476" r:id="rId32"/>
    <p:sldLayoutId id="2147484477" r:id="rId33"/>
    <p:sldLayoutId id="2147484478" r:id="rId34"/>
    <p:sldLayoutId id="2147484479" r:id="rId35"/>
    <p:sldLayoutId id="2147484480" r:id="rId36"/>
    <p:sldLayoutId id="2147484481" r:id="rId37"/>
    <p:sldLayoutId id="2147484482" r:id="rId38"/>
    <p:sldLayoutId id="2147484483" r:id="rId39"/>
    <p:sldLayoutId id="2147484484" r:id="rId40"/>
    <p:sldLayoutId id="2147484485" r:id="rId41"/>
    <p:sldLayoutId id="2147484486" r:id="rId42"/>
    <p:sldLayoutId id="2147484487" r:id="rId43"/>
    <p:sldLayoutId id="2147484488" r:id="rId44"/>
    <p:sldLayoutId id="2147484489" r:id="rId45"/>
    <p:sldLayoutId id="2147484490" r:id="rId46"/>
    <p:sldLayoutId id="2147484491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1.png"/>
          <p:cNvPicPr>
            <a:picLocks noChangeAspect="1"/>
          </p:cNvPicPr>
          <p:nvPr/>
        </p:nvPicPr>
        <p:blipFill>
          <a:blip r:embed="rId46" cstate="print">
            <a:extLst/>
          </a:blip>
          <a:stretch>
            <a:fillRect/>
          </a:stretch>
        </p:blipFill>
        <p:spPr>
          <a:xfrm>
            <a:off x="-3" y="6227077"/>
            <a:ext cx="9144004" cy="455669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image2.png"/>
          <p:cNvPicPr>
            <a:picLocks noChangeAspect="1"/>
          </p:cNvPicPr>
          <p:nvPr/>
        </p:nvPicPr>
        <p:blipFill>
          <a:blip r:embed="rId47" cstate="print">
            <a:extLst/>
          </a:blip>
          <a:stretch>
            <a:fillRect/>
          </a:stretch>
        </p:blipFill>
        <p:spPr>
          <a:xfrm>
            <a:off x="8252421" y="6272347"/>
            <a:ext cx="500064" cy="36512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457200" y="274669"/>
            <a:ext cx="8229600" cy="1143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" name="Shape 6"/>
          <p:cNvSpPr>
            <a:spLocks noGrp="1"/>
          </p:cNvSpPr>
          <p:nvPr>
            <p:ph type="sldNum" sz="quarter" idx="2"/>
          </p:nvPr>
        </p:nvSpPr>
        <p:spPr>
          <a:xfrm>
            <a:off x="8328444" y="6305821"/>
            <a:ext cx="332779" cy="338550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1600">
                <a:solidFill>
                  <a:srgbClr val="005493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pPr hangingPunct="0"/>
            <a:fld id="{86CB4B4D-7CA3-9044-876B-883B54F8677D}" type="slidenum">
              <a:rPr kern="0"/>
              <a:pPr hangingPunct="0"/>
              <a:t>‹#›</a:t>
            </a:fld>
            <a:endParaRPr kern="0"/>
          </a:p>
        </p:txBody>
      </p:sp>
    </p:spTree>
    <p:extLst>
      <p:ext uri="{BB962C8B-B14F-4D97-AF65-F5344CB8AC3E}">
        <p14:creationId xmlns:p14="http://schemas.microsoft.com/office/powerpoint/2010/main" val="3511477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  <p:sldLayoutId id="2147483715" r:id="rId42"/>
    <p:sldLayoutId id="2147483716" r:id="rId43"/>
    <p:sldLayoutId id="2147483717" r:id="rId44"/>
  </p:sldLayoutIdLst>
  <p:transition spd="med"/>
  <p:txStyles>
    <p:title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342900" marR="0" indent="-3429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783771" marR="0" indent="-326571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219200" marR="0" indent="-3048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7373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1945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6517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1089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661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233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45958488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7329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3" r:id="rId1"/>
    <p:sldLayoutId id="2147484494" r:id="rId2"/>
    <p:sldLayoutId id="2147484495" r:id="rId3"/>
    <p:sldLayoutId id="2147484496" r:id="rId4"/>
    <p:sldLayoutId id="2147484497" r:id="rId5"/>
    <p:sldLayoutId id="2147484498" r:id="rId6"/>
    <p:sldLayoutId id="2147484499" r:id="rId7"/>
    <p:sldLayoutId id="2147484500" r:id="rId8"/>
    <p:sldLayoutId id="2147484501" r:id="rId9"/>
    <p:sldLayoutId id="2147484502" r:id="rId10"/>
    <p:sldLayoutId id="2147484503" r:id="rId11"/>
    <p:sldLayoutId id="2147484504" r:id="rId12"/>
    <p:sldLayoutId id="2147484505" r:id="rId13"/>
    <p:sldLayoutId id="2147484506" r:id="rId14"/>
    <p:sldLayoutId id="2147484507" r:id="rId15"/>
    <p:sldLayoutId id="2147484508" r:id="rId16"/>
    <p:sldLayoutId id="2147484509" r:id="rId17"/>
    <p:sldLayoutId id="2147484510" r:id="rId18"/>
    <p:sldLayoutId id="2147484511" r:id="rId19"/>
    <p:sldLayoutId id="2147484512" r:id="rId20"/>
    <p:sldLayoutId id="2147484513" r:id="rId21"/>
    <p:sldLayoutId id="2147484514" r:id="rId22"/>
    <p:sldLayoutId id="2147484515" r:id="rId23"/>
    <p:sldLayoutId id="2147484516" r:id="rId24"/>
    <p:sldLayoutId id="2147484517" r:id="rId25"/>
    <p:sldLayoutId id="2147484518" r:id="rId26"/>
    <p:sldLayoutId id="2147484519" r:id="rId27"/>
    <p:sldLayoutId id="2147484520" r:id="rId28"/>
    <p:sldLayoutId id="2147484521" r:id="rId29"/>
    <p:sldLayoutId id="2147484522" r:id="rId30"/>
    <p:sldLayoutId id="2147484523" r:id="rId31"/>
    <p:sldLayoutId id="2147484524" r:id="rId32"/>
    <p:sldLayoutId id="2147484525" r:id="rId33"/>
    <p:sldLayoutId id="2147484526" r:id="rId34"/>
    <p:sldLayoutId id="2147484527" r:id="rId35"/>
    <p:sldLayoutId id="2147484528" r:id="rId36"/>
    <p:sldLayoutId id="2147484529" r:id="rId37"/>
    <p:sldLayoutId id="2147484530" r:id="rId38"/>
    <p:sldLayoutId id="2147484531" r:id="rId39"/>
    <p:sldLayoutId id="2147484532" r:id="rId40"/>
    <p:sldLayoutId id="2147484533" r:id="rId41"/>
    <p:sldLayoutId id="2147484534" r:id="rId42"/>
    <p:sldLayoutId id="2147484535" r:id="rId43"/>
    <p:sldLayoutId id="2147484536" r:id="rId44"/>
    <p:sldLayoutId id="2147484537" r:id="rId45"/>
    <p:sldLayoutId id="2147484538" r:id="rId46"/>
    <p:sldLayoutId id="2147484539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559867601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9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7742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1" r:id="rId1"/>
    <p:sldLayoutId id="2147484542" r:id="rId2"/>
    <p:sldLayoutId id="2147484543" r:id="rId3"/>
    <p:sldLayoutId id="2147484544" r:id="rId4"/>
    <p:sldLayoutId id="2147484545" r:id="rId5"/>
    <p:sldLayoutId id="2147484546" r:id="rId6"/>
    <p:sldLayoutId id="2147484547" r:id="rId7"/>
    <p:sldLayoutId id="2147484548" r:id="rId8"/>
    <p:sldLayoutId id="2147484549" r:id="rId9"/>
    <p:sldLayoutId id="2147484550" r:id="rId10"/>
    <p:sldLayoutId id="2147484551" r:id="rId11"/>
    <p:sldLayoutId id="2147484552" r:id="rId12"/>
    <p:sldLayoutId id="2147484553" r:id="rId13"/>
    <p:sldLayoutId id="2147484554" r:id="rId14"/>
    <p:sldLayoutId id="2147484555" r:id="rId15"/>
    <p:sldLayoutId id="2147484556" r:id="rId16"/>
    <p:sldLayoutId id="2147484557" r:id="rId17"/>
    <p:sldLayoutId id="2147484558" r:id="rId18"/>
    <p:sldLayoutId id="2147484559" r:id="rId19"/>
    <p:sldLayoutId id="2147484560" r:id="rId20"/>
    <p:sldLayoutId id="2147484561" r:id="rId21"/>
    <p:sldLayoutId id="2147484562" r:id="rId22"/>
    <p:sldLayoutId id="2147484563" r:id="rId23"/>
    <p:sldLayoutId id="2147484564" r:id="rId24"/>
    <p:sldLayoutId id="2147484565" r:id="rId25"/>
    <p:sldLayoutId id="2147484566" r:id="rId26"/>
    <p:sldLayoutId id="2147484567" r:id="rId27"/>
    <p:sldLayoutId id="2147484568" r:id="rId28"/>
    <p:sldLayoutId id="2147484569" r:id="rId29"/>
    <p:sldLayoutId id="2147484570" r:id="rId30"/>
    <p:sldLayoutId id="2147484571" r:id="rId31"/>
    <p:sldLayoutId id="2147484572" r:id="rId32"/>
    <p:sldLayoutId id="2147484573" r:id="rId33"/>
    <p:sldLayoutId id="2147484574" r:id="rId34"/>
    <p:sldLayoutId id="2147484575" r:id="rId35"/>
    <p:sldLayoutId id="2147484576" r:id="rId36"/>
    <p:sldLayoutId id="2147484577" r:id="rId37"/>
    <p:sldLayoutId id="2147484578" r:id="rId38"/>
    <p:sldLayoutId id="2147484579" r:id="rId39"/>
    <p:sldLayoutId id="2147484580" r:id="rId40"/>
    <p:sldLayoutId id="2147484581" r:id="rId41"/>
    <p:sldLayoutId id="2147484582" r:id="rId42"/>
    <p:sldLayoutId id="2147484583" r:id="rId43"/>
    <p:sldLayoutId id="2147484584" r:id="rId44"/>
    <p:sldLayoutId id="2147484585" r:id="rId45"/>
    <p:sldLayoutId id="2147484586" r:id="rId46"/>
    <p:sldLayoutId id="2147484587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568864478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7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0616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9" r:id="rId1"/>
    <p:sldLayoutId id="2147484590" r:id="rId2"/>
    <p:sldLayoutId id="2147484591" r:id="rId3"/>
    <p:sldLayoutId id="2147484592" r:id="rId4"/>
    <p:sldLayoutId id="2147484593" r:id="rId5"/>
    <p:sldLayoutId id="2147484594" r:id="rId6"/>
    <p:sldLayoutId id="2147484595" r:id="rId7"/>
    <p:sldLayoutId id="2147484596" r:id="rId8"/>
    <p:sldLayoutId id="2147484597" r:id="rId9"/>
    <p:sldLayoutId id="2147484598" r:id="rId10"/>
    <p:sldLayoutId id="2147484599" r:id="rId11"/>
    <p:sldLayoutId id="2147484600" r:id="rId12"/>
    <p:sldLayoutId id="2147484601" r:id="rId13"/>
    <p:sldLayoutId id="2147484602" r:id="rId14"/>
    <p:sldLayoutId id="2147484603" r:id="rId15"/>
    <p:sldLayoutId id="2147484604" r:id="rId16"/>
    <p:sldLayoutId id="2147484605" r:id="rId17"/>
    <p:sldLayoutId id="2147484606" r:id="rId18"/>
    <p:sldLayoutId id="2147484607" r:id="rId19"/>
    <p:sldLayoutId id="2147484608" r:id="rId20"/>
    <p:sldLayoutId id="2147484609" r:id="rId21"/>
    <p:sldLayoutId id="2147484610" r:id="rId22"/>
    <p:sldLayoutId id="2147484611" r:id="rId23"/>
    <p:sldLayoutId id="2147484612" r:id="rId24"/>
    <p:sldLayoutId id="2147484613" r:id="rId25"/>
    <p:sldLayoutId id="2147484614" r:id="rId26"/>
    <p:sldLayoutId id="2147484615" r:id="rId27"/>
    <p:sldLayoutId id="2147484616" r:id="rId28"/>
    <p:sldLayoutId id="2147484617" r:id="rId29"/>
    <p:sldLayoutId id="2147484618" r:id="rId30"/>
    <p:sldLayoutId id="2147484619" r:id="rId31"/>
    <p:sldLayoutId id="2147484620" r:id="rId32"/>
    <p:sldLayoutId id="2147484621" r:id="rId33"/>
    <p:sldLayoutId id="2147484622" r:id="rId34"/>
    <p:sldLayoutId id="2147484623" r:id="rId35"/>
    <p:sldLayoutId id="2147484624" r:id="rId36"/>
    <p:sldLayoutId id="2147484625" r:id="rId37"/>
    <p:sldLayoutId id="2147484626" r:id="rId38"/>
    <p:sldLayoutId id="2147484627" r:id="rId39"/>
    <p:sldLayoutId id="2147484628" r:id="rId40"/>
    <p:sldLayoutId id="2147484629" r:id="rId41"/>
    <p:sldLayoutId id="2147484630" r:id="rId42"/>
    <p:sldLayoutId id="2147484631" r:id="rId43"/>
    <p:sldLayoutId id="2147484632" r:id="rId44"/>
    <p:sldLayoutId id="2147484633" r:id="rId45"/>
    <p:sldLayoutId id="2147484634" r:id="rId46"/>
    <p:sldLayoutId id="2147484635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951614752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5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25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7" r:id="rId1"/>
    <p:sldLayoutId id="2147484638" r:id="rId2"/>
    <p:sldLayoutId id="2147484639" r:id="rId3"/>
    <p:sldLayoutId id="2147484640" r:id="rId4"/>
    <p:sldLayoutId id="2147484641" r:id="rId5"/>
    <p:sldLayoutId id="2147484642" r:id="rId6"/>
    <p:sldLayoutId id="2147484643" r:id="rId7"/>
    <p:sldLayoutId id="2147484644" r:id="rId8"/>
    <p:sldLayoutId id="2147484645" r:id="rId9"/>
    <p:sldLayoutId id="2147484646" r:id="rId10"/>
    <p:sldLayoutId id="2147484647" r:id="rId11"/>
    <p:sldLayoutId id="2147484648" r:id="rId12"/>
    <p:sldLayoutId id="2147484649" r:id="rId13"/>
    <p:sldLayoutId id="2147484650" r:id="rId14"/>
    <p:sldLayoutId id="2147484651" r:id="rId15"/>
    <p:sldLayoutId id="2147484652" r:id="rId16"/>
    <p:sldLayoutId id="2147484653" r:id="rId17"/>
    <p:sldLayoutId id="2147484654" r:id="rId18"/>
    <p:sldLayoutId id="2147484655" r:id="rId19"/>
    <p:sldLayoutId id="2147484656" r:id="rId20"/>
    <p:sldLayoutId id="2147484657" r:id="rId21"/>
    <p:sldLayoutId id="2147484658" r:id="rId22"/>
    <p:sldLayoutId id="2147484659" r:id="rId23"/>
    <p:sldLayoutId id="2147484660" r:id="rId24"/>
    <p:sldLayoutId id="2147484661" r:id="rId25"/>
    <p:sldLayoutId id="2147484662" r:id="rId26"/>
    <p:sldLayoutId id="2147484663" r:id="rId27"/>
    <p:sldLayoutId id="2147484664" r:id="rId28"/>
    <p:sldLayoutId id="2147484665" r:id="rId29"/>
    <p:sldLayoutId id="2147484666" r:id="rId30"/>
    <p:sldLayoutId id="2147484667" r:id="rId31"/>
    <p:sldLayoutId id="2147484668" r:id="rId32"/>
    <p:sldLayoutId id="2147484669" r:id="rId33"/>
    <p:sldLayoutId id="2147484670" r:id="rId34"/>
    <p:sldLayoutId id="2147484671" r:id="rId35"/>
    <p:sldLayoutId id="2147484672" r:id="rId36"/>
    <p:sldLayoutId id="2147484673" r:id="rId37"/>
    <p:sldLayoutId id="2147484674" r:id="rId38"/>
    <p:sldLayoutId id="2147484675" r:id="rId39"/>
    <p:sldLayoutId id="2147484676" r:id="rId40"/>
    <p:sldLayoutId id="2147484677" r:id="rId41"/>
    <p:sldLayoutId id="2147484678" r:id="rId42"/>
    <p:sldLayoutId id="2147484679" r:id="rId43"/>
    <p:sldLayoutId id="2147484680" r:id="rId44"/>
    <p:sldLayoutId id="2147484681" r:id="rId45"/>
    <p:sldLayoutId id="2147484682" r:id="rId46"/>
    <p:sldLayoutId id="2147484683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417451234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3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36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5" r:id="rId1"/>
    <p:sldLayoutId id="2147484686" r:id="rId2"/>
    <p:sldLayoutId id="2147484687" r:id="rId3"/>
    <p:sldLayoutId id="2147484688" r:id="rId4"/>
    <p:sldLayoutId id="2147484689" r:id="rId5"/>
    <p:sldLayoutId id="2147484690" r:id="rId6"/>
    <p:sldLayoutId id="2147484691" r:id="rId7"/>
    <p:sldLayoutId id="2147484692" r:id="rId8"/>
    <p:sldLayoutId id="2147484693" r:id="rId9"/>
    <p:sldLayoutId id="2147484694" r:id="rId10"/>
    <p:sldLayoutId id="2147484695" r:id="rId11"/>
    <p:sldLayoutId id="2147484696" r:id="rId12"/>
    <p:sldLayoutId id="2147484697" r:id="rId13"/>
    <p:sldLayoutId id="2147484698" r:id="rId14"/>
    <p:sldLayoutId id="2147484699" r:id="rId15"/>
    <p:sldLayoutId id="2147484700" r:id="rId16"/>
    <p:sldLayoutId id="2147484701" r:id="rId17"/>
    <p:sldLayoutId id="2147484702" r:id="rId18"/>
    <p:sldLayoutId id="2147484703" r:id="rId19"/>
    <p:sldLayoutId id="2147484704" r:id="rId20"/>
    <p:sldLayoutId id="2147484705" r:id="rId21"/>
    <p:sldLayoutId id="2147484706" r:id="rId22"/>
    <p:sldLayoutId id="2147484707" r:id="rId23"/>
    <p:sldLayoutId id="2147484708" r:id="rId24"/>
    <p:sldLayoutId id="2147484709" r:id="rId25"/>
    <p:sldLayoutId id="2147484710" r:id="rId26"/>
    <p:sldLayoutId id="2147484711" r:id="rId27"/>
    <p:sldLayoutId id="2147484712" r:id="rId28"/>
    <p:sldLayoutId id="2147484713" r:id="rId29"/>
    <p:sldLayoutId id="2147484714" r:id="rId30"/>
    <p:sldLayoutId id="2147484715" r:id="rId31"/>
    <p:sldLayoutId id="2147484716" r:id="rId32"/>
    <p:sldLayoutId id="2147484717" r:id="rId33"/>
    <p:sldLayoutId id="2147484718" r:id="rId34"/>
    <p:sldLayoutId id="2147484719" r:id="rId35"/>
    <p:sldLayoutId id="2147484720" r:id="rId36"/>
    <p:sldLayoutId id="2147484721" r:id="rId37"/>
    <p:sldLayoutId id="2147484722" r:id="rId38"/>
    <p:sldLayoutId id="2147484723" r:id="rId39"/>
    <p:sldLayoutId id="2147484724" r:id="rId40"/>
    <p:sldLayoutId id="2147484725" r:id="rId41"/>
    <p:sldLayoutId id="2147484726" r:id="rId42"/>
    <p:sldLayoutId id="2147484727" r:id="rId43"/>
    <p:sldLayoutId id="2147484728" r:id="rId44"/>
    <p:sldLayoutId id="2147484729" r:id="rId45"/>
    <p:sldLayoutId id="2147484730" r:id="rId46"/>
    <p:sldLayoutId id="2147484731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06439100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1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970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3" r:id="rId1"/>
    <p:sldLayoutId id="2147484734" r:id="rId2"/>
    <p:sldLayoutId id="2147484735" r:id="rId3"/>
    <p:sldLayoutId id="2147484736" r:id="rId4"/>
    <p:sldLayoutId id="2147484737" r:id="rId5"/>
    <p:sldLayoutId id="2147484738" r:id="rId6"/>
    <p:sldLayoutId id="2147484739" r:id="rId7"/>
    <p:sldLayoutId id="2147484740" r:id="rId8"/>
    <p:sldLayoutId id="2147484741" r:id="rId9"/>
    <p:sldLayoutId id="2147484742" r:id="rId10"/>
    <p:sldLayoutId id="2147484743" r:id="rId11"/>
    <p:sldLayoutId id="2147484744" r:id="rId12"/>
    <p:sldLayoutId id="2147484745" r:id="rId13"/>
    <p:sldLayoutId id="2147484746" r:id="rId14"/>
    <p:sldLayoutId id="2147484747" r:id="rId15"/>
    <p:sldLayoutId id="2147484748" r:id="rId16"/>
    <p:sldLayoutId id="2147484749" r:id="rId17"/>
    <p:sldLayoutId id="2147484750" r:id="rId18"/>
    <p:sldLayoutId id="2147484751" r:id="rId19"/>
    <p:sldLayoutId id="2147484752" r:id="rId20"/>
    <p:sldLayoutId id="2147484753" r:id="rId21"/>
    <p:sldLayoutId id="2147484754" r:id="rId22"/>
    <p:sldLayoutId id="2147484755" r:id="rId23"/>
    <p:sldLayoutId id="2147484756" r:id="rId24"/>
    <p:sldLayoutId id="2147484757" r:id="rId25"/>
    <p:sldLayoutId id="2147484758" r:id="rId26"/>
    <p:sldLayoutId id="2147484759" r:id="rId27"/>
    <p:sldLayoutId id="2147484760" r:id="rId28"/>
    <p:sldLayoutId id="2147484761" r:id="rId29"/>
    <p:sldLayoutId id="2147484762" r:id="rId30"/>
    <p:sldLayoutId id="2147484763" r:id="rId31"/>
    <p:sldLayoutId id="2147484764" r:id="rId32"/>
    <p:sldLayoutId id="2147484765" r:id="rId33"/>
    <p:sldLayoutId id="2147484766" r:id="rId34"/>
    <p:sldLayoutId id="2147484767" r:id="rId35"/>
    <p:sldLayoutId id="2147484768" r:id="rId36"/>
    <p:sldLayoutId id="2147484769" r:id="rId37"/>
    <p:sldLayoutId id="2147484770" r:id="rId38"/>
    <p:sldLayoutId id="2147484771" r:id="rId39"/>
    <p:sldLayoutId id="2147484772" r:id="rId40"/>
    <p:sldLayoutId id="2147484773" r:id="rId41"/>
    <p:sldLayoutId id="2147484774" r:id="rId42"/>
    <p:sldLayoutId id="2147484775" r:id="rId43"/>
    <p:sldLayoutId id="2147484776" r:id="rId44"/>
    <p:sldLayoutId id="2147484777" r:id="rId45"/>
    <p:sldLayoutId id="2147484778" r:id="rId46"/>
    <p:sldLayoutId id="2147484779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636713161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9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7492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1" r:id="rId1"/>
    <p:sldLayoutId id="2147484782" r:id="rId2"/>
    <p:sldLayoutId id="2147484783" r:id="rId3"/>
    <p:sldLayoutId id="2147484784" r:id="rId4"/>
    <p:sldLayoutId id="2147484785" r:id="rId5"/>
    <p:sldLayoutId id="2147484786" r:id="rId6"/>
    <p:sldLayoutId id="2147484787" r:id="rId7"/>
    <p:sldLayoutId id="2147484788" r:id="rId8"/>
    <p:sldLayoutId id="2147484789" r:id="rId9"/>
    <p:sldLayoutId id="2147484790" r:id="rId10"/>
    <p:sldLayoutId id="2147484791" r:id="rId11"/>
    <p:sldLayoutId id="2147484792" r:id="rId12"/>
    <p:sldLayoutId id="2147484793" r:id="rId13"/>
    <p:sldLayoutId id="2147484794" r:id="rId14"/>
    <p:sldLayoutId id="2147484795" r:id="rId15"/>
    <p:sldLayoutId id="2147484796" r:id="rId16"/>
    <p:sldLayoutId id="2147484797" r:id="rId17"/>
    <p:sldLayoutId id="2147484798" r:id="rId18"/>
    <p:sldLayoutId id="2147484799" r:id="rId19"/>
    <p:sldLayoutId id="2147484800" r:id="rId20"/>
    <p:sldLayoutId id="2147484801" r:id="rId21"/>
    <p:sldLayoutId id="2147484802" r:id="rId22"/>
    <p:sldLayoutId id="2147484803" r:id="rId23"/>
    <p:sldLayoutId id="2147484804" r:id="rId24"/>
    <p:sldLayoutId id="2147484805" r:id="rId25"/>
    <p:sldLayoutId id="2147484806" r:id="rId26"/>
    <p:sldLayoutId id="2147484807" r:id="rId27"/>
    <p:sldLayoutId id="2147484808" r:id="rId28"/>
    <p:sldLayoutId id="2147484809" r:id="rId29"/>
    <p:sldLayoutId id="2147484810" r:id="rId30"/>
    <p:sldLayoutId id="2147484811" r:id="rId31"/>
    <p:sldLayoutId id="2147484812" r:id="rId32"/>
    <p:sldLayoutId id="2147484813" r:id="rId33"/>
    <p:sldLayoutId id="2147484814" r:id="rId34"/>
    <p:sldLayoutId id="2147484815" r:id="rId35"/>
    <p:sldLayoutId id="2147484816" r:id="rId36"/>
    <p:sldLayoutId id="2147484817" r:id="rId37"/>
    <p:sldLayoutId id="2147484818" r:id="rId38"/>
    <p:sldLayoutId id="2147484819" r:id="rId39"/>
    <p:sldLayoutId id="2147484820" r:id="rId40"/>
    <p:sldLayoutId id="2147484821" r:id="rId41"/>
    <p:sldLayoutId id="2147484822" r:id="rId42"/>
    <p:sldLayoutId id="2147484823" r:id="rId43"/>
    <p:sldLayoutId id="2147484824" r:id="rId44"/>
    <p:sldLayoutId id="2147484825" r:id="rId45"/>
    <p:sldLayoutId id="2147484826" r:id="rId46"/>
    <p:sldLayoutId id="2147484827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4972318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7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223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9" r:id="rId1"/>
    <p:sldLayoutId id="2147484830" r:id="rId2"/>
    <p:sldLayoutId id="2147484831" r:id="rId3"/>
    <p:sldLayoutId id="2147484832" r:id="rId4"/>
    <p:sldLayoutId id="2147484833" r:id="rId5"/>
    <p:sldLayoutId id="2147484834" r:id="rId6"/>
    <p:sldLayoutId id="2147484835" r:id="rId7"/>
    <p:sldLayoutId id="2147484836" r:id="rId8"/>
    <p:sldLayoutId id="2147484837" r:id="rId9"/>
    <p:sldLayoutId id="2147484838" r:id="rId10"/>
    <p:sldLayoutId id="2147484839" r:id="rId11"/>
    <p:sldLayoutId id="2147484840" r:id="rId12"/>
    <p:sldLayoutId id="2147484841" r:id="rId13"/>
    <p:sldLayoutId id="2147484842" r:id="rId14"/>
    <p:sldLayoutId id="2147484843" r:id="rId15"/>
    <p:sldLayoutId id="2147484844" r:id="rId16"/>
    <p:sldLayoutId id="2147484845" r:id="rId17"/>
    <p:sldLayoutId id="2147484846" r:id="rId18"/>
    <p:sldLayoutId id="2147484847" r:id="rId19"/>
    <p:sldLayoutId id="2147484848" r:id="rId20"/>
    <p:sldLayoutId id="2147484849" r:id="rId21"/>
    <p:sldLayoutId id="2147484850" r:id="rId22"/>
    <p:sldLayoutId id="2147484851" r:id="rId23"/>
    <p:sldLayoutId id="2147484852" r:id="rId24"/>
    <p:sldLayoutId id="2147484853" r:id="rId25"/>
    <p:sldLayoutId id="2147484854" r:id="rId26"/>
    <p:sldLayoutId id="2147484855" r:id="rId27"/>
    <p:sldLayoutId id="2147484856" r:id="rId28"/>
    <p:sldLayoutId id="2147484857" r:id="rId29"/>
    <p:sldLayoutId id="2147484858" r:id="rId30"/>
    <p:sldLayoutId id="2147484859" r:id="rId31"/>
    <p:sldLayoutId id="2147484860" r:id="rId32"/>
    <p:sldLayoutId id="2147484861" r:id="rId33"/>
    <p:sldLayoutId id="2147484862" r:id="rId34"/>
    <p:sldLayoutId id="2147484863" r:id="rId35"/>
    <p:sldLayoutId id="2147484864" r:id="rId36"/>
    <p:sldLayoutId id="2147484865" r:id="rId37"/>
    <p:sldLayoutId id="2147484866" r:id="rId38"/>
    <p:sldLayoutId id="2147484867" r:id="rId39"/>
    <p:sldLayoutId id="2147484868" r:id="rId40"/>
    <p:sldLayoutId id="2147484869" r:id="rId41"/>
    <p:sldLayoutId id="2147484870" r:id="rId42"/>
    <p:sldLayoutId id="2147484871" r:id="rId43"/>
    <p:sldLayoutId id="2147484872" r:id="rId44"/>
    <p:sldLayoutId id="2147484873" r:id="rId45"/>
    <p:sldLayoutId id="2147484874" r:id="rId46"/>
    <p:sldLayoutId id="2147484875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4078919141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5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240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5" r:id="rId1"/>
    <p:sldLayoutId id="2147484916" r:id="rId2"/>
    <p:sldLayoutId id="2147484917" r:id="rId3"/>
    <p:sldLayoutId id="2147484918" r:id="rId4"/>
    <p:sldLayoutId id="2147484919" r:id="rId5"/>
    <p:sldLayoutId id="2147484920" r:id="rId6"/>
    <p:sldLayoutId id="2147484921" r:id="rId7"/>
    <p:sldLayoutId id="2147484922" r:id="rId8"/>
    <p:sldLayoutId id="2147484923" r:id="rId9"/>
    <p:sldLayoutId id="2147484924" r:id="rId10"/>
    <p:sldLayoutId id="2147484925" r:id="rId11"/>
    <p:sldLayoutId id="2147484926" r:id="rId12"/>
    <p:sldLayoutId id="2147484927" r:id="rId13"/>
    <p:sldLayoutId id="2147484928" r:id="rId14"/>
    <p:sldLayoutId id="2147484929" r:id="rId15"/>
    <p:sldLayoutId id="2147484930" r:id="rId16"/>
    <p:sldLayoutId id="2147484931" r:id="rId17"/>
    <p:sldLayoutId id="2147484932" r:id="rId18"/>
    <p:sldLayoutId id="2147484933" r:id="rId19"/>
    <p:sldLayoutId id="2147484934" r:id="rId20"/>
    <p:sldLayoutId id="2147484935" r:id="rId21"/>
    <p:sldLayoutId id="2147484936" r:id="rId22"/>
    <p:sldLayoutId id="2147484937" r:id="rId23"/>
    <p:sldLayoutId id="2147484938" r:id="rId24"/>
    <p:sldLayoutId id="2147484939" r:id="rId25"/>
    <p:sldLayoutId id="2147484940" r:id="rId26"/>
    <p:sldLayoutId id="2147484941" r:id="rId27"/>
    <p:sldLayoutId id="2147484942" r:id="rId28"/>
    <p:sldLayoutId id="2147484943" r:id="rId29"/>
    <p:sldLayoutId id="2147484944" r:id="rId30"/>
    <p:sldLayoutId id="2147484945" r:id="rId31"/>
    <p:sldLayoutId id="2147484946" r:id="rId32"/>
    <p:sldLayoutId id="2147484947" r:id="rId33"/>
    <p:sldLayoutId id="2147484948" r:id="rId34"/>
    <p:sldLayoutId id="2147484949" r:id="rId35"/>
    <p:sldLayoutId id="2147484950" r:id="rId36"/>
    <p:sldLayoutId id="2147484951" r:id="rId37"/>
    <p:sldLayoutId id="2147484952" r:id="rId38"/>
    <p:sldLayoutId id="2147484953" r:id="rId39"/>
    <p:sldLayoutId id="2147484954" r:id="rId40"/>
    <p:sldLayoutId id="2147484955" r:id="rId41"/>
    <p:sldLayoutId id="2147484956" r:id="rId42"/>
    <p:sldLayoutId id="2147484957" r:id="rId43"/>
    <p:sldLayoutId id="2147484958" r:id="rId44"/>
    <p:sldLayoutId id="2147484959" r:id="rId45"/>
    <p:sldLayoutId id="2147484960" r:id="rId46"/>
    <p:sldLayoutId id="2147484961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4233319847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1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8232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3" r:id="rId1"/>
    <p:sldLayoutId id="2147484964" r:id="rId2"/>
    <p:sldLayoutId id="2147484965" r:id="rId3"/>
    <p:sldLayoutId id="2147484966" r:id="rId4"/>
    <p:sldLayoutId id="2147484967" r:id="rId5"/>
    <p:sldLayoutId id="2147484968" r:id="rId6"/>
    <p:sldLayoutId id="2147484969" r:id="rId7"/>
    <p:sldLayoutId id="2147484970" r:id="rId8"/>
    <p:sldLayoutId id="2147484971" r:id="rId9"/>
    <p:sldLayoutId id="2147484972" r:id="rId10"/>
    <p:sldLayoutId id="2147484973" r:id="rId11"/>
    <p:sldLayoutId id="2147484974" r:id="rId12"/>
    <p:sldLayoutId id="2147484975" r:id="rId13"/>
    <p:sldLayoutId id="2147484976" r:id="rId14"/>
    <p:sldLayoutId id="2147484977" r:id="rId15"/>
    <p:sldLayoutId id="2147484978" r:id="rId16"/>
    <p:sldLayoutId id="2147484979" r:id="rId17"/>
    <p:sldLayoutId id="2147484980" r:id="rId18"/>
    <p:sldLayoutId id="2147484981" r:id="rId19"/>
    <p:sldLayoutId id="2147484982" r:id="rId20"/>
    <p:sldLayoutId id="2147484983" r:id="rId21"/>
    <p:sldLayoutId id="2147484984" r:id="rId22"/>
    <p:sldLayoutId id="2147484985" r:id="rId23"/>
    <p:sldLayoutId id="2147484986" r:id="rId24"/>
    <p:sldLayoutId id="2147484987" r:id="rId25"/>
    <p:sldLayoutId id="2147484988" r:id="rId26"/>
    <p:sldLayoutId id="2147484989" r:id="rId27"/>
    <p:sldLayoutId id="2147484990" r:id="rId28"/>
    <p:sldLayoutId id="2147484991" r:id="rId29"/>
    <p:sldLayoutId id="2147484992" r:id="rId30"/>
    <p:sldLayoutId id="2147484993" r:id="rId31"/>
    <p:sldLayoutId id="2147484994" r:id="rId32"/>
    <p:sldLayoutId id="2147484995" r:id="rId33"/>
    <p:sldLayoutId id="2147484996" r:id="rId34"/>
    <p:sldLayoutId id="2147484997" r:id="rId35"/>
    <p:sldLayoutId id="2147484998" r:id="rId36"/>
    <p:sldLayoutId id="2147484999" r:id="rId37"/>
    <p:sldLayoutId id="2147485000" r:id="rId38"/>
    <p:sldLayoutId id="2147485001" r:id="rId39"/>
    <p:sldLayoutId id="2147485002" r:id="rId40"/>
    <p:sldLayoutId id="2147485003" r:id="rId41"/>
    <p:sldLayoutId id="2147485004" r:id="rId42"/>
    <p:sldLayoutId id="2147485005" r:id="rId43"/>
    <p:sldLayoutId id="2147485006" r:id="rId44"/>
    <p:sldLayoutId id="2147485007" r:id="rId45"/>
    <p:sldLayoutId id="2147485008" r:id="rId46"/>
    <p:sldLayoutId id="2147485009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13178188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41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  <p:sldLayoutId id="2147483752" r:id="rId34"/>
    <p:sldLayoutId id="2147483753" r:id="rId35"/>
    <p:sldLayoutId id="2147483754" r:id="rId36"/>
    <p:sldLayoutId id="2147483755" r:id="rId37"/>
    <p:sldLayoutId id="2147483756" r:id="rId38"/>
    <p:sldLayoutId id="2147483757" r:id="rId39"/>
    <p:sldLayoutId id="2147483758" r:id="rId40"/>
    <p:sldLayoutId id="2147483759" r:id="rId41"/>
    <p:sldLayoutId id="2147483760" r:id="rId42"/>
    <p:sldLayoutId id="2147483761" r:id="rId43"/>
    <p:sldLayoutId id="2147483762" r:id="rId44"/>
    <p:sldLayoutId id="2147483763" r:id="rId45"/>
    <p:sldLayoutId id="2147483764" r:id="rId46"/>
    <p:sldLayoutId id="2147483765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709941003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9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17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1" r:id="rId1"/>
    <p:sldLayoutId id="2147485012" r:id="rId2"/>
    <p:sldLayoutId id="2147485013" r:id="rId3"/>
    <p:sldLayoutId id="2147485014" r:id="rId4"/>
    <p:sldLayoutId id="2147485015" r:id="rId5"/>
    <p:sldLayoutId id="2147485016" r:id="rId6"/>
    <p:sldLayoutId id="2147485017" r:id="rId7"/>
    <p:sldLayoutId id="2147485018" r:id="rId8"/>
    <p:sldLayoutId id="2147485019" r:id="rId9"/>
    <p:sldLayoutId id="2147485020" r:id="rId10"/>
    <p:sldLayoutId id="2147485021" r:id="rId11"/>
    <p:sldLayoutId id="2147485022" r:id="rId12"/>
    <p:sldLayoutId id="2147485023" r:id="rId13"/>
    <p:sldLayoutId id="2147485024" r:id="rId14"/>
    <p:sldLayoutId id="2147485025" r:id="rId15"/>
    <p:sldLayoutId id="2147485026" r:id="rId16"/>
    <p:sldLayoutId id="2147485027" r:id="rId17"/>
    <p:sldLayoutId id="2147485028" r:id="rId18"/>
    <p:sldLayoutId id="2147485029" r:id="rId19"/>
    <p:sldLayoutId id="2147485030" r:id="rId20"/>
    <p:sldLayoutId id="2147485031" r:id="rId21"/>
    <p:sldLayoutId id="2147485032" r:id="rId22"/>
    <p:sldLayoutId id="2147485033" r:id="rId23"/>
    <p:sldLayoutId id="2147485034" r:id="rId24"/>
    <p:sldLayoutId id="2147485035" r:id="rId25"/>
    <p:sldLayoutId id="2147485036" r:id="rId26"/>
    <p:sldLayoutId id="2147485037" r:id="rId27"/>
    <p:sldLayoutId id="2147485038" r:id="rId28"/>
    <p:sldLayoutId id="2147485039" r:id="rId29"/>
    <p:sldLayoutId id="2147485040" r:id="rId30"/>
    <p:sldLayoutId id="2147485041" r:id="rId31"/>
    <p:sldLayoutId id="2147485042" r:id="rId32"/>
    <p:sldLayoutId id="2147485043" r:id="rId33"/>
    <p:sldLayoutId id="2147485044" r:id="rId34"/>
    <p:sldLayoutId id="2147485045" r:id="rId35"/>
    <p:sldLayoutId id="2147485046" r:id="rId36"/>
    <p:sldLayoutId id="2147485047" r:id="rId37"/>
    <p:sldLayoutId id="2147485048" r:id="rId38"/>
    <p:sldLayoutId id="2147485049" r:id="rId39"/>
    <p:sldLayoutId id="2147485050" r:id="rId40"/>
    <p:sldLayoutId id="2147485051" r:id="rId41"/>
    <p:sldLayoutId id="2147485052" r:id="rId42"/>
    <p:sldLayoutId id="2147485053" r:id="rId43"/>
    <p:sldLayoutId id="2147485054" r:id="rId44"/>
    <p:sldLayoutId id="2147485055" r:id="rId45"/>
    <p:sldLayoutId id="2147485056" r:id="rId46"/>
    <p:sldLayoutId id="2147485057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990047304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7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806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9" r:id="rId1"/>
    <p:sldLayoutId id="2147485060" r:id="rId2"/>
    <p:sldLayoutId id="2147485061" r:id="rId3"/>
    <p:sldLayoutId id="2147485062" r:id="rId4"/>
    <p:sldLayoutId id="2147485063" r:id="rId5"/>
    <p:sldLayoutId id="2147485064" r:id="rId6"/>
    <p:sldLayoutId id="2147485065" r:id="rId7"/>
    <p:sldLayoutId id="2147485066" r:id="rId8"/>
    <p:sldLayoutId id="2147485067" r:id="rId9"/>
    <p:sldLayoutId id="2147485068" r:id="rId10"/>
    <p:sldLayoutId id="2147485069" r:id="rId11"/>
    <p:sldLayoutId id="2147485070" r:id="rId12"/>
    <p:sldLayoutId id="2147485071" r:id="rId13"/>
    <p:sldLayoutId id="2147485072" r:id="rId14"/>
    <p:sldLayoutId id="2147485073" r:id="rId15"/>
    <p:sldLayoutId id="2147485074" r:id="rId16"/>
    <p:sldLayoutId id="2147485075" r:id="rId17"/>
    <p:sldLayoutId id="2147485076" r:id="rId18"/>
    <p:sldLayoutId id="2147485077" r:id="rId19"/>
    <p:sldLayoutId id="2147485078" r:id="rId20"/>
    <p:sldLayoutId id="2147485079" r:id="rId21"/>
    <p:sldLayoutId id="2147485080" r:id="rId22"/>
    <p:sldLayoutId id="2147485081" r:id="rId23"/>
    <p:sldLayoutId id="2147485082" r:id="rId24"/>
    <p:sldLayoutId id="2147485083" r:id="rId25"/>
    <p:sldLayoutId id="2147485084" r:id="rId26"/>
    <p:sldLayoutId id="2147485085" r:id="rId27"/>
    <p:sldLayoutId id="2147485086" r:id="rId28"/>
    <p:sldLayoutId id="2147485087" r:id="rId29"/>
    <p:sldLayoutId id="2147485088" r:id="rId30"/>
    <p:sldLayoutId id="2147485089" r:id="rId31"/>
    <p:sldLayoutId id="2147485090" r:id="rId32"/>
    <p:sldLayoutId id="2147485091" r:id="rId33"/>
    <p:sldLayoutId id="2147485092" r:id="rId34"/>
    <p:sldLayoutId id="2147485093" r:id="rId35"/>
    <p:sldLayoutId id="2147485094" r:id="rId36"/>
    <p:sldLayoutId id="2147485095" r:id="rId37"/>
    <p:sldLayoutId id="2147485096" r:id="rId38"/>
    <p:sldLayoutId id="2147485097" r:id="rId39"/>
    <p:sldLayoutId id="2147485098" r:id="rId40"/>
    <p:sldLayoutId id="2147485099" r:id="rId41"/>
    <p:sldLayoutId id="2147485100" r:id="rId42"/>
    <p:sldLayoutId id="2147485101" r:id="rId43"/>
    <p:sldLayoutId id="2147485102" r:id="rId44"/>
    <p:sldLayoutId id="2147485103" r:id="rId45"/>
    <p:sldLayoutId id="2147485104" r:id="rId46"/>
    <p:sldLayoutId id="2147485105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338" tIns="45669" rIns="91338" bIns="45669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338" tIns="45669" rIns="91338" bIns="4566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437"/>
            <a:ext cx="2133600" cy="365125"/>
          </a:xfrm>
          <a:prstGeom prst="rect">
            <a:avLst/>
          </a:prstGeom>
        </p:spPr>
        <p:txBody>
          <a:bodyPr vert="horz" lIns="91338" tIns="45669" rIns="91338" bIns="4566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380"/>
            <a:fld id="{E782C1C6-F21B-4778-9597-86221EC4E52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3380"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437"/>
            <a:ext cx="2895600" cy="365125"/>
          </a:xfrm>
          <a:prstGeom prst="rect">
            <a:avLst/>
          </a:prstGeom>
        </p:spPr>
        <p:txBody>
          <a:bodyPr vert="horz" lIns="91338" tIns="45669" rIns="91338" bIns="4566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38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437"/>
            <a:ext cx="2133600" cy="365125"/>
          </a:xfrm>
          <a:prstGeom prst="rect">
            <a:avLst/>
          </a:prstGeom>
        </p:spPr>
        <p:txBody>
          <a:bodyPr vert="horz" lIns="91338" tIns="45669" rIns="91338" bIns="4566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3380"/>
            <a:fld id="{8D46A4BC-2738-4C80-BF2F-FBEFF3D6F56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338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03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7" r:id="rId1"/>
    <p:sldLayoutId id="2147485108" r:id="rId2"/>
    <p:sldLayoutId id="2147485109" r:id="rId3"/>
    <p:sldLayoutId id="2147485110" r:id="rId4"/>
    <p:sldLayoutId id="2147485111" r:id="rId5"/>
    <p:sldLayoutId id="2147485112" r:id="rId6"/>
    <p:sldLayoutId id="2147485113" r:id="rId7"/>
    <p:sldLayoutId id="2147485114" r:id="rId8"/>
    <p:sldLayoutId id="2147485115" r:id="rId9"/>
    <p:sldLayoutId id="2147485116" r:id="rId10"/>
    <p:sldLayoutId id="2147485117" r:id="rId11"/>
  </p:sldLayoutIdLst>
  <p:txStyles>
    <p:titleStyle>
      <a:lvl1pPr algn="ctr" defTabSz="91338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500" indent="-342500" algn="l" defTabSz="91338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126" indent="-285444" algn="l" defTabSz="91338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725" indent="-228345" algn="l" defTabSz="9133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415" indent="-228345" algn="l" defTabSz="91338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05" indent="-228345" algn="l" defTabSz="91338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794" indent="-228345" algn="l" defTabSz="9133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480" indent="-228345" algn="l" defTabSz="9133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147" indent="-228345" algn="l" defTabSz="9133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839" indent="-228345" algn="l" defTabSz="91338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3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90" algn="l" defTabSz="9133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80" algn="l" defTabSz="9133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70" algn="l" defTabSz="9133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60" algn="l" defTabSz="9133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50" algn="l" defTabSz="9133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139" algn="l" defTabSz="9133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827" algn="l" defTabSz="9133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504" algn="l" defTabSz="9133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8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7BB1E9-88C8-4A2D-9541-CC86CE44517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87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8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BD446-C5CF-41E7-A9B4-707F0B320C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84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9" r:id="rId1"/>
    <p:sldLayoutId id="2147485120" r:id="rId2"/>
    <p:sldLayoutId id="2147485121" r:id="rId3"/>
    <p:sldLayoutId id="2147485122" r:id="rId4"/>
    <p:sldLayoutId id="2147485123" r:id="rId5"/>
    <p:sldLayoutId id="2147485124" r:id="rId6"/>
    <p:sldLayoutId id="2147485125" r:id="rId7"/>
    <p:sldLayoutId id="2147485126" r:id="rId8"/>
    <p:sldLayoutId id="2147485127" r:id="rId9"/>
    <p:sldLayoutId id="2147485128" r:id="rId10"/>
    <p:sldLayoutId id="214748512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844350520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5" name="Слайд think-cell" r:id="rId44" imgW="359" imgH="360" progId="TCLayout.ActiveDocument.1">
                  <p:embed/>
                </p:oleObj>
              </mc:Choice>
              <mc:Fallback>
                <p:oleObj name="Слайд think-cell" r:id="rId4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486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1" r:id="rId1"/>
    <p:sldLayoutId id="2147485132" r:id="rId2"/>
    <p:sldLayoutId id="2147485133" r:id="rId3"/>
    <p:sldLayoutId id="2147485134" r:id="rId4"/>
    <p:sldLayoutId id="2147485135" r:id="rId5"/>
    <p:sldLayoutId id="2147485136" r:id="rId6"/>
    <p:sldLayoutId id="2147485137" r:id="rId7"/>
    <p:sldLayoutId id="2147485138" r:id="rId8"/>
    <p:sldLayoutId id="2147485139" r:id="rId9"/>
    <p:sldLayoutId id="2147485140" r:id="rId10"/>
    <p:sldLayoutId id="2147485141" r:id="rId11"/>
    <p:sldLayoutId id="2147485142" r:id="rId12"/>
    <p:sldLayoutId id="2147485143" r:id="rId13"/>
    <p:sldLayoutId id="2147485144" r:id="rId14"/>
    <p:sldLayoutId id="2147485145" r:id="rId15"/>
    <p:sldLayoutId id="2147485146" r:id="rId16"/>
    <p:sldLayoutId id="2147485147" r:id="rId17"/>
    <p:sldLayoutId id="2147485148" r:id="rId18"/>
    <p:sldLayoutId id="2147485149" r:id="rId19"/>
    <p:sldLayoutId id="2147485150" r:id="rId20"/>
    <p:sldLayoutId id="2147485151" r:id="rId21"/>
    <p:sldLayoutId id="2147485152" r:id="rId22"/>
    <p:sldLayoutId id="2147485153" r:id="rId23"/>
    <p:sldLayoutId id="2147485154" r:id="rId24"/>
    <p:sldLayoutId id="2147485155" r:id="rId25"/>
    <p:sldLayoutId id="2147485156" r:id="rId26"/>
    <p:sldLayoutId id="2147485157" r:id="rId27"/>
    <p:sldLayoutId id="2147485158" r:id="rId28"/>
    <p:sldLayoutId id="2147485159" r:id="rId29"/>
    <p:sldLayoutId id="2147485160" r:id="rId30"/>
    <p:sldLayoutId id="2147485161" r:id="rId31"/>
    <p:sldLayoutId id="2147485162" r:id="rId32"/>
    <p:sldLayoutId id="2147485163" r:id="rId33"/>
    <p:sldLayoutId id="2147485164" r:id="rId34"/>
    <p:sldLayoutId id="2147485165" r:id="rId35"/>
    <p:sldLayoutId id="2147485166" r:id="rId36"/>
    <p:sldLayoutId id="2147485167" r:id="rId37"/>
    <p:sldLayoutId id="2147485168" r:id="rId38"/>
    <p:sldLayoutId id="2147485169" r:id="rId39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500110998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8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6069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1" r:id="rId1"/>
    <p:sldLayoutId id="2147485172" r:id="rId2"/>
    <p:sldLayoutId id="2147485173" r:id="rId3"/>
    <p:sldLayoutId id="2147485174" r:id="rId4"/>
    <p:sldLayoutId id="2147485175" r:id="rId5"/>
    <p:sldLayoutId id="2147485176" r:id="rId6"/>
    <p:sldLayoutId id="2147485177" r:id="rId7"/>
    <p:sldLayoutId id="2147485178" r:id="rId8"/>
    <p:sldLayoutId id="2147485179" r:id="rId9"/>
    <p:sldLayoutId id="2147485180" r:id="rId10"/>
    <p:sldLayoutId id="2147485181" r:id="rId11"/>
    <p:sldLayoutId id="2147485182" r:id="rId12"/>
    <p:sldLayoutId id="2147485183" r:id="rId13"/>
    <p:sldLayoutId id="2147485184" r:id="rId14"/>
    <p:sldLayoutId id="2147485185" r:id="rId15"/>
    <p:sldLayoutId id="2147485186" r:id="rId16"/>
    <p:sldLayoutId id="2147485187" r:id="rId17"/>
    <p:sldLayoutId id="2147485188" r:id="rId18"/>
    <p:sldLayoutId id="2147485189" r:id="rId19"/>
    <p:sldLayoutId id="2147485190" r:id="rId20"/>
    <p:sldLayoutId id="2147485191" r:id="rId21"/>
    <p:sldLayoutId id="2147485192" r:id="rId22"/>
    <p:sldLayoutId id="2147485193" r:id="rId23"/>
    <p:sldLayoutId id="2147485194" r:id="rId24"/>
    <p:sldLayoutId id="2147485195" r:id="rId25"/>
    <p:sldLayoutId id="2147485196" r:id="rId26"/>
    <p:sldLayoutId id="2147485197" r:id="rId27"/>
    <p:sldLayoutId id="2147485198" r:id="rId28"/>
    <p:sldLayoutId id="2147485199" r:id="rId29"/>
    <p:sldLayoutId id="2147485200" r:id="rId30"/>
    <p:sldLayoutId id="2147485201" r:id="rId31"/>
    <p:sldLayoutId id="2147485202" r:id="rId32"/>
    <p:sldLayoutId id="2147485203" r:id="rId33"/>
    <p:sldLayoutId id="2147485204" r:id="rId34"/>
    <p:sldLayoutId id="2147485205" r:id="rId35"/>
    <p:sldLayoutId id="2147485206" r:id="rId36"/>
    <p:sldLayoutId id="2147485207" r:id="rId37"/>
    <p:sldLayoutId id="2147485208" r:id="rId38"/>
    <p:sldLayoutId id="2147485209" r:id="rId39"/>
    <p:sldLayoutId id="2147485210" r:id="rId40"/>
    <p:sldLayoutId id="2147485211" r:id="rId41"/>
    <p:sldLayoutId id="2147485212" r:id="rId42"/>
    <p:sldLayoutId id="2147485213" r:id="rId43"/>
    <p:sldLayoutId id="2147485214" r:id="rId44"/>
    <p:sldLayoutId id="2147485215" r:id="rId45"/>
    <p:sldLayoutId id="2147485216" r:id="rId46"/>
    <p:sldLayoutId id="2147485217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99368912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6" name="Слайд think-cell" r:id="rId17" imgW="359" imgH="360" progId="TCLayout.ActiveDocument.1">
                  <p:embed/>
                </p:oleObj>
              </mc:Choice>
              <mc:Fallback>
                <p:oleObj name="Слайд think-cell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1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5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56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5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356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9" r:id="rId1"/>
    <p:sldLayoutId id="2147485220" r:id="rId2"/>
    <p:sldLayoutId id="2147485221" r:id="rId3"/>
    <p:sldLayoutId id="2147485222" r:id="rId4"/>
    <p:sldLayoutId id="2147485223" r:id="rId5"/>
    <p:sldLayoutId id="2147485224" r:id="rId6"/>
    <p:sldLayoutId id="2147485225" r:id="rId7"/>
    <p:sldLayoutId id="2147485226" r:id="rId8"/>
    <p:sldLayoutId id="2147485227" r:id="rId9"/>
    <p:sldLayoutId id="2147485228" r:id="rId10"/>
    <p:sldLayoutId id="2147485229" r:id="rId11"/>
    <p:sldLayoutId id="214748523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507437098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8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4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2104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4" r:id="rId1"/>
    <p:sldLayoutId id="2147485245" r:id="rId2"/>
    <p:sldLayoutId id="2147485246" r:id="rId3"/>
    <p:sldLayoutId id="2147485247" r:id="rId4"/>
    <p:sldLayoutId id="2147485248" r:id="rId5"/>
    <p:sldLayoutId id="2147485249" r:id="rId6"/>
    <p:sldLayoutId id="2147485250" r:id="rId7"/>
    <p:sldLayoutId id="2147485251" r:id="rId8"/>
    <p:sldLayoutId id="2147485252" r:id="rId9"/>
    <p:sldLayoutId id="2147485253" r:id="rId10"/>
    <p:sldLayoutId id="2147485254" r:id="rId11"/>
    <p:sldLayoutId id="2147485255" r:id="rId12"/>
    <p:sldLayoutId id="2147485256" r:id="rId13"/>
    <p:sldLayoutId id="2147485257" r:id="rId14"/>
    <p:sldLayoutId id="2147485258" r:id="rId15"/>
    <p:sldLayoutId id="2147485259" r:id="rId16"/>
    <p:sldLayoutId id="2147485260" r:id="rId17"/>
    <p:sldLayoutId id="2147485261" r:id="rId18"/>
    <p:sldLayoutId id="2147485262" r:id="rId19"/>
    <p:sldLayoutId id="2147485263" r:id="rId20"/>
    <p:sldLayoutId id="2147485264" r:id="rId21"/>
    <p:sldLayoutId id="2147485265" r:id="rId22"/>
    <p:sldLayoutId id="2147485266" r:id="rId23"/>
    <p:sldLayoutId id="2147485267" r:id="rId24"/>
    <p:sldLayoutId id="2147485268" r:id="rId25"/>
    <p:sldLayoutId id="2147485269" r:id="rId26"/>
    <p:sldLayoutId id="2147485270" r:id="rId27"/>
    <p:sldLayoutId id="2147485271" r:id="rId28"/>
    <p:sldLayoutId id="2147485272" r:id="rId29"/>
    <p:sldLayoutId id="2147485273" r:id="rId30"/>
    <p:sldLayoutId id="2147485274" r:id="rId31"/>
    <p:sldLayoutId id="2147485275" r:id="rId32"/>
    <p:sldLayoutId id="2147485276" r:id="rId33"/>
    <p:sldLayoutId id="2147485277" r:id="rId34"/>
    <p:sldLayoutId id="2147485278" r:id="rId35"/>
    <p:sldLayoutId id="2147485279" r:id="rId36"/>
    <p:sldLayoutId id="2147485280" r:id="rId37"/>
    <p:sldLayoutId id="2147485281" r:id="rId38"/>
    <p:sldLayoutId id="2147485282" r:id="rId39"/>
    <p:sldLayoutId id="2147485283" r:id="rId40"/>
    <p:sldLayoutId id="2147485284" r:id="rId41"/>
    <p:sldLayoutId id="2147485285" r:id="rId42"/>
    <p:sldLayoutId id="2147485286" r:id="rId43"/>
    <p:sldLayoutId id="2147485287" r:id="rId44"/>
    <p:sldLayoutId id="2147485288" r:id="rId45"/>
    <p:sldLayoutId id="2147485289" r:id="rId46"/>
    <p:sldLayoutId id="2147485290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4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B6CE34-FFB6-4920-A92B-1FC63BC4C49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43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4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BCC9FA-36BD-4563-A140-9EBDB17AC4E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463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2" r:id="rId1"/>
    <p:sldLayoutId id="2147485293" r:id="rId2"/>
    <p:sldLayoutId id="2147485294" r:id="rId3"/>
    <p:sldLayoutId id="2147485295" r:id="rId4"/>
    <p:sldLayoutId id="2147485296" r:id="rId5"/>
    <p:sldLayoutId id="2147485297" r:id="rId6"/>
    <p:sldLayoutId id="2147485298" r:id="rId7"/>
    <p:sldLayoutId id="2147485299" r:id="rId8"/>
    <p:sldLayoutId id="2147485300" r:id="rId9"/>
    <p:sldLayoutId id="2147485301" r:id="rId10"/>
    <p:sldLayoutId id="2147485302" r:id="rId11"/>
    <p:sldLayoutId id="2147485303" r:id="rId12"/>
    <p:sldLayoutId id="2147485304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algn="r"/>
            <a:fld id="{00000000-1234-1234-1234-123412341234}" type="slidenum">
              <a:rPr lang="ru" sz="1000" kern="0">
                <a:solidFill>
                  <a:srgbClr val="595959"/>
                </a:solidFill>
                <a:cs typeface="Arial"/>
                <a:sym typeface="Arial"/>
              </a:rPr>
              <a:pPr algn="r"/>
              <a:t>‹#›</a:t>
            </a:fld>
            <a:endParaRPr sz="1000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615755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306" r:id="rId1"/>
    <p:sldLayoutId id="2147485307" r:id="rId2"/>
    <p:sldLayoutId id="2147485308" r:id="rId3"/>
    <p:sldLayoutId id="2147485309" r:id="rId4"/>
    <p:sldLayoutId id="2147485310" r:id="rId5"/>
    <p:sldLayoutId id="2147485311" r:id="rId6"/>
    <p:sldLayoutId id="2147485312" r:id="rId7"/>
    <p:sldLayoutId id="2147485313" r:id="rId8"/>
    <p:sldLayoutId id="2147485314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558712431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Слайд think-cell" r:id="rId44" imgW="359" imgH="360" progId="TCLayout.ActiveDocument.1">
                  <p:embed/>
                </p:oleObj>
              </mc:Choice>
              <mc:Fallback>
                <p:oleObj name="Слайд think-cell" r:id="rId4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310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  <p:sldLayoutId id="2147483782" r:id="rId16"/>
    <p:sldLayoutId id="2147483783" r:id="rId17"/>
    <p:sldLayoutId id="2147483784" r:id="rId18"/>
    <p:sldLayoutId id="2147483785" r:id="rId19"/>
    <p:sldLayoutId id="2147483786" r:id="rId20"/>
    <p:sldLayoutId id="2147483787" r:id="rId21"/>
    <p:sldLayoutId id="2147483788" r:id="rId22"/>
    <p:sldLayoutId id="2147483789" r:id="rId23"/>
    <p:sldLayoutId id="2147483790" r:id="rId24"/>
    <p:sldLayoutId id="2147483791" r:id="rId25"/>
    <p:sldLayoutId id="2147483792" r:id="rId26"/>
    <p:sldLayoutId id="2147483793" r:id="rId27"/>
    <p:sldLayoutId id="2147483794" r:id="rId28"/>
    <p:sldLayoutId id="2147483795" r:id="rId29"/>
    <p:sldLayoutId id="2147483796" r:id="rId30"/>
    <p:sldLayoutId id="2147483797" r:id="rId31"/>
    <p:sldLayoutId id="2147483798" r:id="rId32"/>
    <p:sldLayoutId id="2147483799" r:id="rId33"/>
    <p:sldLayoutId id="2147483800" r:id="rId34"/>
    <p:sldLayoutId id="2147483801" r:id="rId35"/>
    <p:sldLayoutId id="2147483802" r:id="rId36"/>
    <p:sldLayoutId id="2147483803" r:id="rId37"/>
    <p:sldLayoutId id="2147483804" r:id="rId38"/>
    <p:sldLayoutId id="2147483805" r:id="rId39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1.png"/>
          <p:cNvPicPr>
            <a:picLocks noChangeAspect="1"/>
          </p:cNvPicPr>
          <p:nvPr/>
        </p:nvPicPr>
        <p:blipFill>
          <a:blip r:embed="rId39" cstate="print">
            <a:extLst/>
          </a:blip>
          <a:stretch>
            <a:fillRect/>
          </a:stretch>
        </p:blipFill>
        <p:spPr>
          <a:xfrm>
            <a:off x="-3" y="6227355"/>
            <a:ext cx="9144004" cy="455669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image2.png"/>
          <p:cNvPicPr>
            <a:picLocks noChangeAspect="1"/>
          </p:cNvPicPr>
          <p:nvPr/>
        </p:nvPicPr>
        <p:blipFill>
          <a:blip r:embed="rId40" cstate="print">
            <a:extLst/>
          </a:blip>
          <a:stretch>
            <a:fillRect/>
          </a:stretch>
        </p:blipFill>
        <p:spPr>
          <a:xfrm>
            <a:off x="8252421" y="6272625"/>
            <a:ext cx="500064" cy="36512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" name="Shape 6"/>
          <p:cNvSpPr>
            <a:spLocks noGrp="1"/>
          </p:cNvSpPr>
          <p:nvPr>
            <p:ph type="sldNum" sz="quarter" idx="2"/>
          </p:nvPr>
        </p:nvSpPr>
        <p:spPr>
          <a:xfrm>
            <a:off x="8328583" y="6305821"/>
            <a:ext cx="332779" cy="338550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1600">
                <a:solidFill>
                  <a:srgbClr val="005493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pPr hangingPunct="0"/>
            <a:fld id="{86CB4B4D-7CA3-9044-876B-883B54F8677D}" type="slidenum">
              <a:rPr kern="0"/>
              <a:pPr hangingPunct="0"/>
              <a:t>‹#›</a:t>
            </a:fld>
            <a:endParaRPr kern="0"/>
          </a:p>
        </p:txBody>
      </p:sp>
    </p:spTree>
    <p:extLst>
      <p:ext uri="{BB962C8B-B14F-4D97-AF65-F5344CB8AC3E}">
        <p14:creationId xmlns:p14="http://schemas.microsoft.com/office/powerpoint/2010/main" val="3657271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6" r:id="rId1"/>
    <p:sldLayoutId id="2147485317" r:id="rId2"/>
    <p:sldLayoutId id="2147485318" r:id="rId3"/>
    <p:sldLayoutId id="2147485319" r:id="rId4"/>
    <p:sldLayoutId id="2147485320" r:id="rId5"/>
    <p:sldLayoutId id="2147485321" r:id="rId6"/>
    <p:sldLayoutId id="2147485322" r:id="rId7"/>
    <p:sldLayoutId id="2147485323" r:id="rId8"/>
    <p:sldLayoutId id="2147485324" r:id="rId9"/>
    <p:sldLayoutId id="2147485325" r:id="rId10"/>
    <p:sldLayoutId id="2147485326" r:id="rId11"/>
    <p:sldLayoutId id="2147485327" r:id="rId12"/>
    <p:sldLayoutId id="2147485328" r:id="rId13"/>
    <p:sldLayoutId id="2147485329" r:id="rId14"/>
    <p:sldLayoutId id="2147485330" r:id="rId15"/>
    <p:sldLayoutId id="2147485331" r:id="rId16"/>
    <p:sldLayoutId id="2147485332" r:id="rId17"/>
    <p:sldLayoutId id="2147485333" r:id="rId18"/>
    <p:sldLayoutId id="2147485334" r:id="rId19"/>
    <p:sldLayoutId id="2147485335" r:id="rId20"/>
    <p:sldLayoutId id="2147485336" r:id="rId21"/>
    <p:sldLayoutId id="2147485337" r:id="rId22"/>
    <p:sldLayoutId id="2147485338" r:id="rId23"/>
    <p:sldLayoutId id="2147485339" r:id="rId24"/>
    <p:sldLayoutId id="2147485340" r:id="rId25"/>
    <p:sldLayoutId id="2147485341" r:id="rId26"/>
    <p:sldLayoutId id="2147485342" r:id="rId27"/>
    <p:sldLayoutId id="2147485343" r:id="rId28"/>
    <p:sldLayoutId id="2147485344" r:id="rId29"/>
    <p:sldLayoutId id="2147485345" r:id="rId30"/>
    <p:sldLayoutId id="2147485346" r:id="rId31"/>
    <p:sldLayoutId id="2147485347" r:id="rId32"/>
    <p:sldLayoutId id="2147485348" r:id="rId33"/>
    <p:sldLayoutId id="2147485349" r:id="rId34"/>
    <p:sldLayoutId id="2147485350" r:id="rId35"/>
    <p:sldLayoutId id="2147485351" r:id="rId36"/>
    <p:sldLayoutId id="2147485352" r:id="rId37"/>
  </p:sldLayoutIdLst>
  <p:transition spd="med"/>
  <p:txStyles>
    <p:title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342900" marR="0" indent="-3429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783771" marR="0" indent="-326571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219200" marR="0" indent="-3048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7373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1945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6517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1089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661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233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388" tIns="38387" rIns="38388" bIns="38387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280730" y="6423211"/>
            <a:ext cx="234620" cy="231412"/>
          </a:xfrm>
          <a:prstGeom prst="rect">
            <a:avLst/>
          </a:prstGeom>
          <a:ln w="12700">
            <a:miter lim="400000"/>
          </a:ln>
        </p:spPr>
        <p:txBody>
          <a:bodyPr wrap="none" lIns="38388" tIns="38387" rIns="38388" bIns="38387" anchor="ctr">
            <a:spAutoFit/>
          </a:bodyPr>
          <a:lstStyle>
            <a:lvl1pPr algn="r" defTabSz="383911">
              <a:defRPr sz="1000">
                <a:solidFill>
                  <a:srgbClr val="888888"/>
                </a:solidFill>
                <a:latin typeface="Gilroy-Light"/>
                <a:ea typeface="Gilroy-Light"/>
                <a:cs typeface="Gilroy-Light"/>
                <a:sym typeface="Gilroy-Light"/>
              </a:defRPr>
            </a:lvl1pPr>
          </a:lstStyle>
          <a:p>
            <a:pPr hangingPunct="0"/>
            <a:fld id="{86CB4B4D-7CA3-9044-876B-883B54F8677D}" type="slidenum">
              <a:rPr kern="0"/>
              <a:pPr hangingPunct="0"/>
              <a:t>‹#›</a:t>
            </a:fld>
            <a:endParaRPr kern="0"/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388" tIns="38387" rIns="38388" bIns="38387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3233722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4" r:id="rId1"/>
    <p:sldLayoutId id="2147485355" r:id="rId2"/>
    <p:sldLayoutId id="2147485356" r:id="rId3"/>
    <p:sldLayoutId id="2147485357" r:id="rId4"/>
    <p:sldLayoutId id="2147485358" r:id="rId5"/>
    <p:sldLayoutId id="2147485359" r:id="rId6"/>
    <p:sldLayoutId id="2147485360" r:id="rId7"/>
    <p:sldLayoutId id="2147485361" r:id="rId8"/>
    <p:sldLayoutId id="2147485362" r:id="rId9"/>
    <p:sldLayoutId id="2147485363" r:id="rId10"/>
    <p:sldLayoutId id="2147485364" r:id="rId11"/>
    <p:sldLayoutId id="2147485365" r:id="rId12"/>
    <p:sldLayoutId id="2147485366" r:id="rId13"/>
    <p:sldLayoutId id="2147485367" r:id="rId14"/>
    <p:sldLayoutId id="2147485368" r:id="rId15"/>
    <p:sldLayoutId id="2147485369" r:id="rId16"/>
    <p:sldLayoutId id="2147485370" r:id="rId17"/>
    <p:sldLayoutId id="2147485371" r:id="rId18"/>
    <p:sldLayoutId id="2147485372" r:id="rId19"/>
    <p:sldLayoutId id="2147485373" r:id="rId20"/>
    <p:sldLayoutId id="2147485374" r:id="rId21"/>
    <p:sldLayoutId id="2147485375" r:id="rId22"/>
    <p:sldLayoutId id="2147485376" r:id="rId23"/>
  </p:sldLayoutIdLst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xStyles>
    <p:titleStyle>
      <a:lvl1pPr marL="0" marR="0" indent="0" algn="l" defTabSz="767807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1pPr>
      <a:lvl2pPr marL="0" marR="0" indent="0" algn="l" defTabSz="767807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2pPr>
      <a:lvl3pPr marL="0" marR="0" indent="0" algn="l" defTabSz="767807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3pPr>
      <a:lvl4pPr marL="0" marR="0" indent="0" algn="l" defTabSz="767807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4pPr>
      <a:lvl5pPr marL="0" marR="0" indent="0" algn="l" defTabSz="767807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5pPr>
      <a:lvl6pPr marL="0" marR="0" indent="0" algn="l" defTabSz="767807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6pPr>
      <a:lvl7pPr marL="0" marR="0" indent="0" algn="l" defTabSz="767807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7pPr>
      <a:lvl8pPr marL="0" marR="0" indent="0" algn="l" defTabSz="767807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8pPr>
      <a:lvl9pPr marL="0" marR="0" indent="0" algn="l" defTabSz="767807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7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9pPr>
    </p:titleStyle>
    <p:bodyStyle>
      <a:lvl1pPr marL="191956" marR="0" indent="-191956" algn="l" defTabSz="767807" latinLnBrk="0">
        <a:lnSpc>
          <a:spcPct val="90000"/>
        </a:lnSpc>
        <a:spcBef>
          <a:spcPts val="840"/>
        </a:spcBef>
        <a:spcAft>
          <a:spcPts val="0"/>
        </a:spcAft>
        <a:buClrTx/>
        <a:buSzPct val="100000"/>
        <a:buFont typeface="Gilroy-Light"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1pPr>
      <a:lvl2pPr marL="415899" marR="0" indent="-223943" algn="l" defTabSz="767807" latinLnBrk="0">
        <a:lnSpc>
          <a:spcPct val="90000"/>
        </a:lnSpc>
        <a:spcBef>
          <a:spcPts val="840"/>
        </a:spcBef>
        <a:spcAft>
          <a:spcPts val="0"/>
        </a:spcAft>
        <a:buClrTx/>
        <a:buSzPct val="100000"/>
        <a:buFont typeface="Gilroy-Light"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2pPr>
      <a:lvl3pPr marL="652642" marR="0" indent="-268731" algn="l" defTabSz="767807" latinLnBrk="0">
        <a:lnSpc>
          <a:spcPct val="90000"/>
        </a:lnSpc>
        <a:spcBef>
          <a:spcPts val="840"/>
        </a:spcBef>
        <a:spcAft>
          <a:spcPts val="0"/>
        </a:spcAft>
        <a:buClrTx/>
        <a:buSzPct val="100000"/>
        <a:buFont typeface="Gilroy-Light"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3pPr>
      <a:lvl4pPr marL="874453" marR="0" indent="-298594" algn="l" defTabSz="767807" latinLnBrk="0">
        <a:lnSpc>
          <a:spcPct val="90000"/>
        </a:lnSpc>
        <a:spcBef>
          <a:spcPts val="840"/>
        </a:spcBef>
        <a:spcAft>
          <a:spcPts val="0"/>
        </a:spcAft>
        <a:buClrTx/>
        <a:buSzPct val="100000"/>
        <a:buFont typeface="Gilroy-Light"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4pPr>
      <a:lvl5pPr marL="1066398" marR="0" indent="-298594" algn="l" defTabSz="767807" latinLnBrk="0">
        <a:lnSpc>
          <a:spcPct val="90000"/>
        </a:lnSpc>
        <a:spcBef>
          <a:spcPts val="840"/>
        </a:spcBef>
        <a:spcAft>
          <a:spcPts val="0"/>
        </a:spcAft>
        <a:buClrTx/>
        <a:buSzPct val="100000"/>
        <a:buFont typeface="Gilroy-Light"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5pPr>
      <a:lvl6pPr marL="1258348" marR="0" indent="-298594" algn="l" defTabSz="767807" latinLnBrk="0">
        <a:lnSpc>
          <a:spcPct val="90000"/>
        </a:lnSpc>
        <a:spcBef>
          <a:spcPts val="840"/>
        </a:spcBef>
        <a:spcAft>
          <a:spcPts val="0"/>
        </a:spcAft>
        <a:buClrTx/>
        <a:buSzPct val="100000"/>
        <a:buFont typeface="Gilroy-Light"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6pPr>
      <a:lvl7pPr marL="1450304" marR="0" indent="-298594" algn="l" defTabSz="767807" latinLnBrk="0">
        <a:lnSpc>
          <a:spcPct val="90000"/>
        </a:lnSpc>
        <a:spcBef>
          <a:spcPts val="840"/>
        </a:spcBef>
        <a:spcAft>
          <a:spcPts val="0"/>
        </a:spcAft>
        <a:buClrTx/>
        <a:buSzPct val="100000"/>
        <a:buFont typeface="Gilroy-Light"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7pPr>
      <a:lvl8pPr marL="1642260" marR="0" indent="-298594" algn="l" defTabSz="767807" latinLnBrk="0">
        <a:lnSpc>
          <a:spcPct val="90000"/>
        </a:lnSpc>
        <a:spcBef>
          <a:spcPts val="840"/>
        </a:spcBef>
        <a:spcAft>
          <a:spcPts val="0"/>
        </a:spcAft>
        <a:buClrTx/>
        <a:buSzPct val="100000"/>
        <a:buFont typeface="Gilroy-Light"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8pPr>
      <a:lvl9pPr marL="1834214" marR="0" indent="-298594" algn="l" defTabSz="767807" latinLnBrk="0">
        <a:lnSpc>
          <a:spcPct val="90000"/>
        </a:lnSpc>
        <a:spcBef>
          <a:spcPts val="840"/>
        </a:spcBef>
        <a:spcAft>
          <a:spcPts val="0"/>
        </a:spcAft>
        <a:buClrTx/>
        <a:buSzPct val="100000"/>
        <a:buFont typeface="Gilroy-Light"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9pPr>
    </p:bodyStyle>
    <p:otherStyle>
      <a:lvl1pPr marL="0" marR="0" indent="0" algn="r" defTabSz="38391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1pPr>
      <a:lvl2pPr marL="0" marR="0" indent="191956" algn="r" defTabSz="38391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2pPr>
      <a:lvl3pPr marL="0" marR="0" indent="383911" algn="r" defTabSz="38391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3pPr>
      <a:lvl4pPr marL="0" marR="0" indent="575852" algn="r" defTabSz="38391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4pPr>
      <a:lvl5pPr marL="0" marR="0" indent="767807" algn="r" defTabSz="38391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5pPr>
      <a:lvl6pPr marL="0" marR="0" indent="959763" algn="r" defTabSz="38391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6pPr>
      <a:lvl7pPr marL="0" marR="0" indent="1151717" algn="r" defTabSz="38391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7pPr>
      <a:lvl8pPr marL="0" marR="0" indent="1343669" algn="r" defTabSz="38391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8pPr>
      <a:lvl9pPr marL="0" marR="0" indent="1535614" algn="r" defTabSz="38391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004524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5" name="Слайд think-cell" r:id="rId17" imgW="359" imgH="360" progId="TCLayout.ActiveDocument.1">
                  <p:embed/>
                </p:oleObj>
              </mc:Choice>
              <mc:Fallback>
                <p:oleObj name="Слайд think-cell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937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8" r:id="rId1"/>
    <p:sldLayoutId id="2147485379" r:id="rId2"/>
    <p:sldLayoutId id="2147485380" r:id="rId3"/>
    <p:sldLayoutId id="2147485381" r:id="rId4"/>
    <p:sldLayoutId id="2147485382" r:id="rId5"/>
    <p:sldLayoutId id="2147485383" r:id="rId6"/>
    <p:sldLayoutId id="2147485384" r:id="rId7"/>
    <p:sldLayoutId id="2147485385" r:id="rId8"/>
    <p:sldLayoutId id="2147485386" r:id="rId9"/>
    <p:sldLayoutId id="2147485387" r:id="rId10"/>
    <p:sldLayoutId id="2147485388" r:id="rId11"/>
    <p:sldLayoutId id="214748538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194284136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915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  <p:sldLayoutId id="2147483832" r:id="rId26"/>
    <p:sldLayoutId id="2147483833" r:id="rId27"/>
    <p:sldLayoutId id="2147483834" r:id="rId28"/>
    <p:sldLayoutId id="2147483835" r:id="rId29"/>
    <p:sldLayoutId id="2147483836" r:id="rId30"/>
    <p:sldLayoutId id="2147483837" r:id="rId31"/>
    <p:sldLayoutId id="2147483838" r:id="rId32"/>
    <p:sldLayoutId id="2147483839" r:id="rId33"/>
    <p:sldLayoutId id="2147483840" r:id="rId34"/>
    <p:sldLayoutId id="2147483841" r:id="rId35"/>
    <p:sldLayoutId id="2147483842" r:id="rId36"/>
    <p:sldLayoutId id="2147483843" r:id="rId37"/>
    <p:sldLayoutId id="2147483844" r:id="rId38"/>
    <p:sldLayoutId id="2147483845" r:id="rId39"/>
    <p:sldLayoutId id="2147483846" r:id="rId40"/>
    <p:sldLayoutId id="2147483847" r:id="rId41"/>
    <p:sldLayoutId id="2147483848" r:id="rId42"/>
    <p:sldLayoutId id="2147483849" r:id="rId43"/>
    <p:sldLayoutId id="2147483850" r:id="rId44"/>
    <p:sldLayoutId id="2147483851" r:id="rId45"/>
    <p:sldLayoutId id="2147483852" r:id="rId46"/>
    <p:sldLayoutId id="2147483853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106877872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959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295874331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Слайд think-cell" r:id="rId44" imgW="359" imgH="360" progId="TCLayout.ActiveDocument.1">
                  <p:embed/>
                </p:oleObj>
              </mc:Choice>
              <mc:Fallback>
                <p:oleObj name="Слайд think-cell" r:id="rId4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19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  <p:sldLayoutId id="2147483914" r:id="rId12"/>
    <p:sldLayoutId id="2147483915" r:id="rId13"/>
    <p:sldLayoutId id="2147483916" r:id="rId14"/>
    <p:sldLayoutId id="2147483917" r:id="rId15"/>
    <p:sldLayoutId id="2147483918" r:id="rId16"/>
    <p:sldLayoutId id="2147483919" r:id="rId17"/>
    <p:sldLayoutId id="2147483920" r:id="rId18"/>
    <p:sldLayoutId id="2147483921" r:id="rId19"/>
    <p:sldLayoutId id="2147483922" r:id="rId20"/>
    <p:sldLayoutId id="2147483923" r:id="rId21"/>
    <p:sldLayoutId id="2147483924" r:id="rId22"/>
    <p:sldLayoutId id="2147483925" r:id="rId23"/>
    <p:sldLayoutId id="2147483926" r:id="rId24"/>
    <p:sldLayoutId id="2147483927" r:id="rId25"/>
    <p:sldLayoutId id="2147483928" r:id="rId26"/>
    <p:sldLayoutId id="2147483929" r:id="rId27"/>
    <p:sldLayoutId id="2147483930" r:id="rId28"/>
    <p:sldLayoutId id="2147483931" r:id="rId29"/>
    <p:sldLayoutId id="2147483932" r:id="rId30"/>
    <p:sldLayoutId id="2147483933" r:id="rId31"/>
    <p:sldLayoutId id="2147483934" r:id="rId32"/>
    <p:sldLayoutId id="2147483935" r:id="rId33"/>
    <p:sldLayoutId id="2147483936" r:id="rId34"/>
    <p:sldLayoutId id="2147483937" r:id="rId35"/>
    <p:sldLayoutId id="2147483938" r:id="rId36"/>
    <p:sldLayoutId id="2147483939" r:id="rId37"/>
    <p:sldLayoutId id="2147483940" r:id="rId38"/>
    <p:sldLayoutId id="2147483941" r:id="rId39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937796134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Слайд think-cell" r:id="rId44" imgW="359" imgH="360" progId="TCLayout.ActiveDocument.1">
                  <p:embed/>
                </p:oleObj>
              </mc:Choice>
              <mc:Fallback>
                <p:oleObj name="Слайд think-cell" r:id="rId4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536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  <p:sldLayoutId id="2147483961" r:id="rId19"/>
    <p:sldLayoutId id="2147483962" r:id="rId20"/>
    <p:sldLayoutId id="2147483963" r:id="rId21"/>
    <p:sldLayoutId id="2147483964" r:id="rId22"/>
    <p:sldLayoutId id="2147483965" r:id="rId23"/>
    <p:sldLayoutId id="2147483966" r:id="rId24"/>
    <p:sldLayoutId id="2147483967" r:id="rId25"/>
    <p:sldLayoutId id="2147483968" r:id="rId26"/>
    <p:sldLayoutId id="2147483969" r:id="rId27"/>
    <p:sldLayoutId id="2147483970" r:id="rId28"/>
    <p:sldLayoutId id="2147483971" r:id="rId29"/>
    <p:sldLayoutId id="2147483972" r:id="rId30"/>
    <p:sldLayoutId id="2147483973" r:id="rId31"/>
    <p:sldLayoutId id="2147483974" r:id="rId32"/>
    <p:sldLayoutId id="2147483975" r:id="rId33"/>
    <p:sldLayoutId id="2147483976" r:id="rId34"/>
    <p:sldLayoutId id="2147483977" r:id="rId35"/>
    <p:sldLayoutId id="2147483978" r:id="rId36"/>
    <p:sldLayoutId id="2147483979" r:id="rId37"/>
    <p:sldLayoutId id="2147483980" r:id="rId38"/>
    <p:sldLayoutId id="2147483981" r:id="rId39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5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818" y="21106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84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BD9EBC3-1554-42AE-B388-EFCB1C77785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9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1297767446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Слайд think-cell" r:id="rId52" imgW="359" imgH="360" progId="TCLayout.ActiveDocument.1">
                  <p:embed/>
                </p:oleObj>
              </mc:Choice>
              <mc:Fallback>
                <p:oleObj name="Слайд think-cell" r:id="rId52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8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6040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  <p:sldLayoutId id="2147484011" r:id="rId29"/>
    <p:sldLayoutId id="2147484012" r:id="rId30"/>
    <p:sldLayoutId id="2147484013" r:id="rId31"/>
    <p:sldLayoutId id="2147484014" r:id="rId32"/>
    <p:sldLayoutId id="2147484015" r:id="rId33"/>
    <p:sldLayoutId id="2147484016" r:id="rId34"/>
    <p:sldLayoutId id="2147484017" r:id="rId35"/>
    <p:sldLayoutId id="2147484018" r:id="rId36"/>
    <p:sldLayoutId id="2147484019" r:id="rId37"/>
    <p:sldLayoutId id="2147484020" r:id="rId38"/>
    <p:sldLayoutId id="2147484021" r:id="rId39"/>
    <p:sldLayoutId id="2147484022" r:id="rId40"/>
    <p:sldLayoutId id="2147484023" r:id="rId41"/>
    <p:sldLayoutId id="2147484024" r:id="rId42"/>
    <p:sldLayoutId id="2147484025" r:id="rId43"/>
    <p:sldLayoutId id="2147484026" r:id="rId44"/>
    <p:sldLayoutId id="2147484027" r:id="rId45"/>
    <p:sldLayoutId id="2147484028" r:id="rId46"/>
    <p:sldLayoutId id="2147484029" r:id="rId47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96.xml"/><Relationship Id="rId7" Type="http://schemas.openxmlformats.org/officeDocument/2006/relationships/image" Target="../media/image1.emf"/><Relationship Id="rId2" Type="http://schemas.openxmlformats.org/officeDocument/2006/relationships/tags" Target="../tags/tag95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89.xml"/><Relationship Id="rId6" Type="http://schemas.openxmlformats.org/officeDocument/2006/relationships/image" Target="../media/image37.jpeg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3.xml"/><Relationship Id="rId5" Type="http://schemas.openxmlformats.org/officeDocument/2006/relationships/image" Target="../media/image38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7.xml"/><Relationship Id="rId4" Type="http://schemas.openxmlformats.org/officeDocument/2006/relationships/image" Target="../media/image4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75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7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7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6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75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615.xml"/><Relationship Id="rId7" Type="http://schemas.openxmlformats.org/officeDocument/2006/relationships/image" Target="../media/image56.png"/><Relationship Id="rId12" Type="http://schemas.openxmlformats.org/officeDocument/2006/relationships/image" Target="../media/image15.svg"/><Relationship Id="rId17" Type="http://schemas.openxmlformats.org/officeDocument/2006/relationships/image" Target="../media/image61.png"/><Relationship Id="rId2" Type="http://schemas.openxmlformats.org/officeDocument/2006/relationships/tags" Target="../tags/tag97.xml"/><Relationship Id="rId16" Type="http://schemas.openxmlformats.org/officeDocument/2006/relationships/image" Target="../media/image60.png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11" Type="http://schemas.openxmlformats.org/officeDocument/2006/relationships/image" Target="../media/image58.png"/><Relationship Id="rId5" Type="http://schemas.openxmlformats.org/officeDocument/2006/relationships/oleObject" Target="../embeddings/oleObject62.bin"/><Relationship Id="rId15" Type="http://schemas.openxmlformats.org/officeDocument/2006/relationships/image" Target="../media/image59.png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57.png"/><Relationship Id="rId14" Type="http://schemas.openxmlformats.org/officeDocument/2006/relationships/image" Target="../media/image17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56.xml"/><Relationship Id="rId6" Type="http://schemas.openxmlformats.org/officeDocument/2006/relationships/image" Target="../media/image66.png"/><Relationship Id="rId5" Type="http://schemas.openxmlformats.org/officeDocument/2006/relationships/image" Target="../media/image65.jpeg"/><Relationship Id="rId4" Type="http://schemas.openxmlformats.org/officeDocument/2006/relationships/image" Target="../media/image6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6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13" Type="http://schemas.openxmlformats.org/officeDocument/2006/relationships/image" Target="../media/image77.png"/><Relationship Id="rId18" Type="http://schemas.openxmlformats.org/officeDocument/2006/relationships/image" Target="../media/image82.png"/><Relationship Id="rId3" Type="http://schemas.openxmlformats.org/officeDocument/2006/relationships/image" Target="../media/image67.emf"/><Relationship Id="rId21" Type="http://schemas.openxmlformats.org/officeDocument/2006/relationships/image" Target="../media/image85.png"/><Relationship Id="rId7" Type="http://schemas.openxmlformats.org/officeDocument/2006/relationships/image" Target="../media/image71.png"/><Relationship Id="rId12" Type="http://schemas.openxmlformats.org/officeDocument/2006/relationships/image" Target="../media/image76.png"/><Relationship Id="rId17" Type="http://schemas.openxmlformats.org/officeDocument/2006/relationships/image" Target="../media/image81.png"/><Relationship Id="rId2" Type="http://schemas.openxmlformats.org/officeDocument/2006/relationships/image" Target="../media/image12.png"/><Relationship Id="rId16" Type="http://schemas.openxmlformats.org/officeDocument/2006/relationships/image" Target="../media/image80.png"/><Relationship Id="rId20" Type="http://schemas.openxmlformats.org/officeDocument/2006/relationships/image" Target="../media/image84.png"/><Relationship Id="rId1" Type="http://schemas.openxmlformats.org/officeDocument/2006/relationships/slideLayout" Target="../slideLayouts/slideLayout708.xml"/><Relationship Id="rId6" Type="http://schemas.openxmlformats.org/officeDocument/2006/relationships/image" Target="../media/image70.emf"/><Relationship Id="rId11" Type="http://schemas.openxmlformats.org/officeDocument/2006/relationships/image" Target="../media/image75.png"/><Relationship Id="rId24" Type="http://schemas.openxmlformats.org/officeDocument/2006/relationships/image" Target="../media/image88.png"/><Relationship Id="rId5" Type="http://schemas.openxmlformats.org/officeDocument/2006/relationships/image" Target="../media/image69.emf"/><Relationship Id="rId15" Type="http://schemas.openxmlformats.org/officeDocument/2006/relationships/image" Target="../media/image79.png"/><Relationship Id="rId23" Type="http://schemas.openxmlformats.org/officeDocument/2006/relationships/image" Target="../media/image87.png"/><Relationship Id="rId10" Type="http://schemas.openxmlformats.org/officeDocument/2006/relationships/image" Target="../media/image74.png"/><Relationship Id="rId19" Type="http://schemas.openxmlformats.org/officeDocument/2006/relationships/image" Target="../media/image83.png"/><Relationship Id="rId4" Type="http://schemas.openxmlformats.org/officeDocument/2006/relationships/image" Target="../media/image68.emf"/><Relationship Id="rId9" Type="http://schemas.openxmlformats.org/officeDocument/2006/relationships/image" Target="../media/image73.png"/><Relationship Id="rId14" Type="http://schemas.openxmlformats.org/officeDocument/2006/relationships/image" Target="../media/image78.png"/><Relationship Id="rId22" Type="http://schemas.openxmlformats.org/officeDocument/2006/relationships/image" Target="../media/image8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91.png"/><Relationship Id="rId3" Type="http://schemas.openxmlformats.org/officeDocument/2006/relationships/slideLayout" Target="../slideLayouts/slideLayout802.xml"/><Relationship Id="rId7" Type="http://schemas.openxmlformats.org/officeDocument/2006/relationships/oleObject" Target="../embeddings/oleObject63.bin"/><Relationship Id="rId12" Type="http://schemas.openxmlformats.org/officeDocument/2006/relationships/image" Target="../media/image55.png"/><Relationship Id="rId2" Type="http://schemas.openxmlformats.org/officeDocument/2006/relationships/tags" Target="../tags/tag98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90.png"/><Relationship Id="rId11" Type="http://schemas.openxmlformats.org/officeDocument/2006/relationships/image" Target="../media/image11.svg"/><Relationship Id="rId5" Type="http://schemas.openxmlformats.org/officeDocument/2006/relationships/image" Target="../media/image89.png"/><Relationship Id="rId15" Type="http://schemas.openxmlformats.org/officeDocument/2006/relationships/image" Target="../media/image93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6.png"/><Relationship Id="rId14" Type="http://schemas.openxmlformats.org/officeDocument/2006/relationships/image" Target="../media/image9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49.xml"/><Relationship Id="rId7" Type="http://schemas.openxmlformats.org/officeDocument/2006/relationships/image" Target="../media/image60.png"/><Relationship Id="rId17" Type="http://schemas.openxmlformats.org/officeDocument/2006/relationships/image" Target="../media/image67.emf"/><Relationship Id="rId2" Type="http://schemas.openxmlformats.org/officeDocument/2006/relationships/tags" Target="../tags/tag99.xml"/><Relationship Id="rId16" Type="http://schemas.openxmlformats.org/officeDocument/2006/relationships/image" Target="../media/image94.emf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15" Type="http://schemas.openxmlformats.org/officeDocument/2006/relationships/image" Target="../media/image55.png"/><Relationship Id="rId4" Type="http://schemas.openxmlformats.org/officeDocument/2006/relationships/notesSlide" Target="../notesSlides/notesSlide15.xml"/><Relationship Id="rId14" Type="http://schemas.openxmlformats.org/officeDocument/2006/relationships/image" Target="../media/image15.sv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896.xml"/><Relationship Id="rId7" Type="http://schemas.openxmlformats.org/officeDocument/2006/relationships/oleObject" Target="../embeddings/oleObject65.bin"/><Relationship Id="rId17" Type="http://schemas.openxmlformats.org/officeDocument/2006/relationships/image" Target="../media/image99.png"/><Relationship Id="rId2" Type="http://schemas.openxmlformats.org/officeDocument/2006/relationships/tags" Target="../tags/tag100.xml"/><Relationship Id="rId16" Type="http://schemas.openxmlformats.org/officeDocument/2006/relationships/image" Target="../media/image98.png"/><Relationship Id="rId1" Type="http://schemas.openxmlformats.org/officeDocument/2006/relationships/vmlDrawing" Target="../drawings/vmlDrawing65.v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15" Type="http://schemas.openxmlformats.org/officeDocument/2006/relationships/image" Target="../media/image55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97.png"/><Relationship Id="rId14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7.xml"/></Relationships>
</file>

<file path=ppt/slides/_rels/slide30.xml.rels><?xml version="1.0" encoding="UTF-8" standalone="yes"?>
<Relationships xmlns="http://schemas.openxmlformats.org/package/2006/relationships"><Relationship Id="rId18" Type="http://schemas.openxmlformats.org/officeDocument/2006/relationships/image" Target="../media/image101.emf"/><Relationship Id="rId3" Type="http://schemas.openxmlformats.org/officeDocument/2006/relationships/slideLayout" Target="../slideLayouts/slideLayout943.xml"/><Relationship Id="rId21" Type="http://schemas.openxmlformats.org/officeDocument/2006/relationships/image" Target="../media/image104.png"/><Relationship Id="rId7" Type="http://schemas.openxmlformats.org/officeDocument/2006/relationships/image" Target="../media/image58.png"/><Relationship Id="rId17" Type="http://schemas.openxmlformats.org/officeDocument/2006/relationships/image" Target="../media/image55.png"/><Relationship Id="rId2" Type="http://schemas.openxmlformats.org/officeDocument/2006/relationships/tags" Target="../tags/tag101.xml"/><Relationship Id="rId16" Type="http://schemas.openxmlformats.org/officeDocument/2006/relationships/image" Target="../media/image13.svg"/><Relationship Id="rId20" Type="http://schemas.openxmlformats.org/officeDocument/2006/relationships/image" Target="../media/image103.png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15" Type="http://schemas.openxmlformats.org/officeDocument/2006/relationships/image" Target="../media/image100.png"/><Relationship Id="rId19" Type="http://schemas.openxmlformats.org/officeDocument/2006/relationships/image" Target="../media/image102.emf"/><Relationship Id="rId4" Type="http://schemas.openxmlformats.org/officeDocument/2006/relationships/notesSlide" Target="../notesSlides/notesSlide17.xml"/><Relationship Id="rId14" Type="http://schemas.openxmlformats.org/officeDocument/2006/relationships/image" Target="../media/image17.svg"/><Relationship Id="rId22" Type="http://schemas.openxmlformats.org/officeDocument/2006/relationships/image" Target="../media/image10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8" Type="http://schemas.openxmlformats.org/officeDocument/2006/relationships/image" Target="../media/image108.png"/><Relationship Id="rId3" Type="http://schemas.openxmlformats.org/officeDocument/2006/relationships/slideLayout" Target="../slideLayouts/slideLayout990.xml"/><Relationship Id="rId7" Type="http://schemas.openxmlformats.org/officeDocument/2006/relationships/oleObject" Target="../embeddings/oleObject67.bin"/><Relationship Id="rId17" Type="http://schemas.openxmlformats.org/officeDocument/2006/relationships/image" Target="../media/image55.png"/><Relationship Id="rId2" Type="http://schemas.openxmlformats.org/officeDocument/2006/relationships/tags" Target="../tags/tag102.xml"/><Relationship Id="rId16" Type="http://schemas.openxmlformats.org/officeDocument/2006/relationships/image" Target="../media/image13.svg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100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slideLayout" Target="../slideLayouts/slideLayout1037.xml"/><Relationship Id="rId7" Type="http://schemas.openxmlformats.org/officeDocument/2006/relationships/image" Target="../media/image55.png"/><Relationship Id="rId12" Type="http://schemas.openxmlformats.org/officeDocument/2006/relationships/image" Target="../media/image57.png"/><Relationship Id="rId2" Type="http://schemas.openxmlformats.org/officeDocument/2006/relationships/tags" Target="../tags/tag103.xml"/><Relationship Id="rId16" Type="http://schemas.openxmlformats.org/officeDocument/2006/relationships/image" Target="../media/image13.svg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11" Type="http://schemas.openxmlformats.org/officeDocument/2006/relationships/image" Target="../media/image112.png"/><Relationship Id="rId5" Type="http://schemas.openxmlformats.org/officeDocument/2006/relationships/oleObject" Target="../embeddings/oleObject68.bin"/><Relationship Id="rId10" Type="http://schemas.openxmlformats.org/officeDocument/2006/relationships/image" Target="../media/image111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10.png"/></Relationships>
</file>

<file path=ppt/slides/_rels/slide33.xml.rels><?xml version="1.0" encoding="UTF-8" standalone="yes"?>
<Relationships xmlns="http://schemas.openxmlformats.org/package/2006/relationships"><Relationship Id="rId18" Type="http://schemas.openxmlformats.org/officeDocument/2006/relationships/image" Target="../media/image116.png"/><Relationship Id="rId3" Type="http://schemas.openxmlformats.org/officeDocument/2006/relationships/slideLayout" Target="../slideLayouts/slideLayout1084.xml"/><Relationship Id="rId7" Type="http://schemas.openxmlformats.org/officeDocument/2006/relationships/image" Target="../media/image113.png"/><Relationship Id="rId17" Type="http://schemas.openxmlformats.org/officeDocument/2006/relationships/image" Target="../media/image115.png"/><Relationship Id="rId2" Type="http://schemas.openxmlformats.org/officeDocument/2006/relationships/tags" Target="../tags/tag104.xml"/><Relationship Id="rId16" Type="http://schemas.openxmlformats.org/officeDocument/2006/relationships/image" Target="../media/image114.png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15" Type="http://schemas.openxmlformats.org/officeDocument/2006/relationships/image" Target="../media/image55.png"/><Relationship Id="rId4" Type="http://schemas.openxmlformats.org/officeDocument/2006/relationships/notesSlide" Target="../notesSlides/notesSlide20.xml"/><Relationship Id="rId14" Type="http://schemas.openxmlformats.org/officeDocument/2006/relationships/image" Target="../media/image17.sv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118.png"/><Relationship Id="rId7" Type="http://schemas.openxmlformats.org/officeDocument/2006/relationships/image" Target="../media/image122.emf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132.xml"/><Relationship Id="rId6" Type="http://schemas.openxmlformats.org/officeDocument/2006/relationships/image" Target="../media/image121.png"/><Relationship Id="rId5" Type="http://schemas.openxmlformats.org/officeDocument/2006/relationships/image" Target="../media/image120.png"/><Relationship Id="rId4" Type="http://schemas.openxmlformats.org/officeDocument/2006/relationships/image" Target="../media/image119.png"/><Relationship Id="rId9" Type="http://schemas.openxmlformats.org/officeDocument/2006/relationships/image" Target="../media/image124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png"/><Relationship Id="rId3" Type="http://schemas.openxmlformats.org/officeDocument/2006/relationships/image" Target="../media/image126.emf"/><Relationship Id="rId7" Type="http://schemas.openxmlformats.org/officeDocument/2006/relationships/image" Target="../media/image130.png"/><Relationship Id="rId2" Type="http://schemas.openxmlformats.org/officeDocument/2006/relationships/image" Target="../media/image125.emf"/><Relationship Id="rId1" Type="http://schemas.openxmlformats.org/officeDocument/2006/relationships/slideLayout" Target="../slideLayouts/slideLayout944.xml"/><Relationship Id="rId6" Type="http://schemas.openxmlformats.org/officeDocument/2006/relationships/image" Target="../media/image129.png"/><Relationship Id="rId5" Type="http://schemas.openxmlformats.org/officeDocument/2006/relationships/image" Target="../media/image128.emf"/><Relationship Id="rId10" Type="http://schemas.openxmlformats.org/officeDocument/2006/relationships/image" Target="../media/image133.png"/><Relationship Id="rId4" Type="http://schemas.openxmlformats.org/officeDocument/2006/relationships/image" Target="../media/image127.emf"/><Relationship Id="rId9" Type="http://schemas.openxmlformats.org/officeDocument/2006/relationships/image" Target="../media/image132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18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image" Target="../media/image135.jpeg"/><Relationship Id="rId1" Type="http://schemas.openxmlformats.org/officeDocument/2006/relationships/slideLayout" Target="../slideLayouts/slideLayout122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image" Target="../media/image137.jpeg"/><Relationship Id="rId1" Type="http://schemas.openxmlformats.org/officeDocument/2006/relationships/slideLayout" Target="../slideLayouts/slideLayout136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1367.xml"/><Relationship Id="rId4" Type="http://schemas.openxmlformats.org/officeDocument/2006/relationships/image" Target="../media/image14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5.xml"/><Relationship Id="rId4" Type="http://schemas.openxmlformats.org/officeDocument/2006/relationships/image" Target="../media/image22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78.xml"/><Relationship Id="rId4" Type="http://schemas.openxmlformats.org/officeDocument/2006/relationships/image" Target="../media/image143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37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20.xml"/><Relationship Id="rId6" Type="http://schemas.openxmlformats.org/officeDocument/2006/relationships/image" Target="../media/image147.png"/><Relationship Id="rId5" Type="http://schemas.openxmlformats.org/officeDocument/2006/relationships/image" Target="../media/image146.png"/><Relationship Id="rId4" Type="http://schemas.openxmlformats.org/officeDocument/2006/relationships/image" Target="../media/image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78.xml"/><Relationship Id="rId5" Type="http://schemas.openxmlformats.org/officeDocument/2006/relationships/image" Target="../media/image150.png"/><Relationship Id="rId4" Type="http://schemas.openxmlformats.org/officeDocument/2006/relationships/image" Target="../media/image14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78.xml"/><Relationship Id="rId5" Type="http://schemas.openxmlformats.org/officeDocument/2006/relationships/image" Target="../media/image150.png"/><Relationship Id="rId4" Type="http://schemas.openxmlformats.org/officeDocument/2006/relationships/image" Target="../media/image152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jpeg"/><Relationship Id="rId3" Type="http://schemas.openxmlformats.org/officeDocument/2006/relationships/image" Target="../media/image153.png"/><Relationship Id="rId7" Type="http://schemas.openxmlformats.org/officeDocument/2006/relationships/image" Target="../media/image157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78.xml"/><Relationship Id="rId6" Type="http://schemas.openxmlformats.org/officeDocument/2006/relationships/image" Target="../media/image156.jpeg"/><Relationship Id="rId5" Type="http://schemas.openxmlformats.org/officeDocument/2006/relationships/image" Target="../media/image155.png"/><Relationship Id="rId10" Type="http://schemas.openxmlformats.org/officeDocument/2006/relationships/image" Target="../media/image160.png"/><Relationship Id="rId4" Type="http://schemas.openxmlformats.org/officeDocument/2006/relationships/image" Target="../media/image154.jpeg"/><Relationship Id="rId9" Type="http://schemas.openxmlformats.org/officeDocument/2006/relationships/image" Target="../media/image15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1378.xml"/><Relationship Id="rId5" Type="http://schemas.openxmlformats.org/officeDocument/2006/relationships/image" Target="../media/image163.png"/><Relationship Id="rId4" Type="http://schemas.openxmlformats.org/officeDocument/2006/relationships/image" Target="../media/image15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37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6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89.xml"/><Relationship Id="rId6" Type="http://schemas.openxmlformats.org/officeDocument/2006/relationships/image" Target="../media/image166.png"/><Relationship Id="rId5" Type="http://schemas.openxmlformats.org/officeDocument/2006/relationships/image" Target="../media/image165.png"/><Relationship Id="rId4" Type="http://schemas.openxmlformats.org/officeDocument/2006/relationships/image" Target="../media/image3.png"/></Relationships>
</file>

<file path=ppt/slides/_rels/slide4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75.jpeg"/><Relationship Id="rId3" Type="http://schemas.openxmlformats.org/officeDocument/2006/relationships/slideLayout" Target="../slideLayouts/slideLayout1474.xml"/><Relationship Id="rId21" Type="http://schemas.openxmlformats.org/officeDocument/2006/relationships/image" Target="../media/image170.jpeg"/><Relationship Id="rId7" Type="http://schemas.openxmlformats.org/officeDocument/2006/relationships/image" Target="../media/image168.png"/><Relationship Id="rId25" Type="http://schemas.openxmlformats.org/officeDocument/2006/relationships/image" Target="../media/image174.jpeg"/><Relationship Id="rId2" Type="http://schemas.openxmlformats.org/officeDocument/2006/relationships/tags" Target="../tags/tag105.xml"/><Relationship Id="rId20" Type="http://schemas.openxmlformats.org/officeDocument/2006/relationships/image" Target="../media/image169.png"/><Relationship Id="rId29" Type="http://schemas.openxmlformats.org/officeDocument/2006/relationships/image" Target="../media/image178.png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24" Type="http://schemas.openxmlformats.org/officeDocument/2006/relationships/image" Target="../media/image173.jpeg"/><Relationship Id="rId32" Type="http://schemas.openxmlformats.org/officeDocument/2006/relationships/image" Target="../media/image55.png"/><Relationship Id="rId5" Type="http://schemas.openxmlformats.org/officeDocument/2006/relationships/oleObject" Target="../embeddings/oleObject70.bin"/><Relationship Id="rId23" Type="http://schemas.openxmlformats.org/officeDocument/2006/relationships/image" Target="../media/image172.jpeg"/><Relationship Id="rId28" Type="http://schemas.openxmlformats.org/officeDocument/2006/relationships/image" Target="../media/image177.jpeg"/><Relationship Id="rId19" Type="http://schemas.openxmlformats.org/officeDocument/2006/relationships/image" Target="../media/image12.svg"/><Relationship Id="rId31" Type="http://schemas.openxmlformats.org/officeDocument/2006/relationships/image" Target="../media/image180.png"/><Relationship Id="rId4" Type="http://schemas.openxmlformats.org/officeDocument/2006/relationships/notesSlide" Target="../notesSlides/notesSlide27.xml"/><Relationship Id="rId22" Type="http://schemas.openxmlformats.org/officeDocument/2006/relationships/image" Target="../media/image171.jpeg"/><Relationship Id="rId27" Type="http://schemas.openxmlformats.org/officeDocument/2006/relationships/image" Target="../media/image176.png"/><Relationship Id="rId30" Type="http://schemas.openxmlformats.org/officeDocument/2006/relationships/image" Target="../media/image17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6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1.jpeg"/><Relationship Id="rId3" Type="http://schemas.openxmlformats.org/officeDocument/2006/relationships/image" Target="../media/image181.png"/><Relationship Id="rId7" Type="http://schemas.openxmlformats.org/officeDocument/2006/relationships/image" Target="../media/image185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433.xml"/><Relationship Id="rId6" Type="http://schemas.openxmlformats.org/officeDocument/2006/relationships/image" Target="../media/image184.png"/><Relationship Id="rId5" Type="http://schemas.openxmlformats.org/officeDocument/2006/relationships/image" Target="../media/image183.png"/><Relationship Id="rId10" Type="http://schemas.openxmlformats.org/officeDocument/2006/relationships/image" Target="../media/image187.jpeg"/><Relationship Id="rId4" Type="http://schemas.openxmlformats.org/officeDocument/2006/relationships/image" Target="../media/image182.png"/><Relationship Id="rId9" Type="http://schemas.openxmlformats.org/officeDocument/2006/relationships/image" Target="../media/image186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88.xml"/><Relationship Id="rId5" Type="http://schemas.openxmlformats.org/officeDocument/2006/relationships/image" Target="../media/image190.jpeg"/><Relationship Id="rId4" Type="http://schemas.openxmlformats.org/officeDocument/2006/relationships/image" Target="../media/image189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6.png"/><Relationship Id="rId3" Type="http://schemas.openxmlformats.org/officeDocument/2006/relationships/image" Target="../media/image191.png"/><Relationship Id="rId7" Type="http://schemas.openxmlformats.org/officeDocument/2006/relationships/image" Target="../media/image195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86.xml"/><Relationship Id="rId6" Type="http://schemas.openxmlformats.org/officeDocument/2006/relationships/image" Target="../media/image194.png"/><Relationship Id="rId5" Type="http://schemas.openxmlformats.org/officeDocument/2006/relationships/image" Target="../media/image193.png"/><Relationship Id="rId4" Type="http://schemas.openxmlformats.org/officeDocument/2006/relationships/image" Target="../media/image192.png"/><Relationship Id="rId9" Type="http://schemas.openxmlformats.org/officeDocument/2006/relationships/image" Target="../media/image197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9.jpeg"/><Relationship Id="rId13" Type="http://schemas.openxmlformats.org/officeDocument/2006/relationships/image" Target="../media/image204.jpeg"/><Relationship Id="rId3" Type="http://schemas.openxmlformats.org/officeDocument/2006/relationships/slideLayout" Target="../slideLayouts/slideLayout1615.xml"/><Relationship Id="rId7" Type="http://schemas.openxmlformats.org/officeDocument/2006/relationships/image" Target="../media/image198.jpeg"/><Relationship Id="rId12" Type="http://schemas.openxmlformats.org/officeDocument/2006/relationships/image" Target="../media/image203.jpeg"/><Relationship Id="rId2" Type="http://schemas.openxmlformats.org/officeDocument/2006/relationships/tags" Target="../tags/tag10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11" Type="http://schemas.openxmlformats.org/officeDocument/2006/relationships/image" Target="../media/image202.jpeg"/><Relationship Id="rId5" Type="http://schemas.openxmlformats.org/officeDocument/2006/relationships/oleObject" Target="../embeddings/oleObject71.bin"/><Relationship Id="rId10" Type="http://schemas.openxmlformats.org/officeDocument/2006/relationships/image" Target="../media/image201.jpe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200.jpeg"/><Relationship Id="rId14" Type="http://schemas.openxmlformats.org/officeDocument/2006/relationships/image" Target="../media/image205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1.jpeg"/><Relationship Id="rId13" Type="http://schemas.microsoft.com/office/2007/relationships/hdphoto" Target="../media/hdphoto3.wdp"/><Relationship Id="rId3" Type="http://schemas.openxmlformats.org/officeDocument/2006/relationships/image" Target="../media/image206.jpeg"/><Relationship Id="rId7" Type="http://schemas.openxmlformats.org/officeDocument/2006/relationships/image" Target="../media/image210.jpeg"/><Relationship Id="rId12" Type="http://schemas.openxmlformats.org/officeDocument/2006/relationships/image" Target="../media/image214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554.xml"/><Relationship Id="rId6" Type="http://schemas.openxmlformats.org/officeDocument/2006/relationships/image" Target="../media/image209.jpeg"/><Relationship Id="rId11" Type="http://schemas.openxmlformats.org/officeDocument/2006/relationships/image" Target="../media/image213.jpeg"/><Relationship Id="rId5" Type="http://schemas.openxmlformats.org/officeDocument/2006/relationships/image" Target="../media/image208.png"/><Relationship Id="rId15" Type="http://schemas.microsoft.com/office/2007/relationships/hdphoto" Target="../media/hdphoto4.wdp"/><Relationship Id="rId10" Type="http://schemas.microsoft.com/office/2007/relationships/hdphoto" Target="../media/hdphoto2.wdp"/><Relationship Id="rId4" Type="http://schemas.openxmlformats.org/officeDocument/2006/relationships/image" Target="../media/image207.jpeg"/><Relationship Id="rId9" Type="http://schemas.openxmlformats.org/officeDocument/2006/relationships/image" Target="../media/image212.jpeg"/><Relationship Id="rId14" Type="http://schemas.openxmlformats.org/officeDocument/2006/relationships/image" Target="../media/image215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png"/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1536.xml"/><Relationship Id="rId4" Type="http://schemas.openxmlformats.org/officeDocument/2006/relationships/image" Target="../media/image218.jpe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153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jpeg"/><Relationship Id="rId1" Type="http://schemas.openxmlformats.org/officeDocument/2006/relationships/slideLayout" Target="../slideLayouts/slideLayout153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1.jpeg"/><Relationship Id="rId1" Type="http://schemas.openxmlformats.org/officeDocument/2006/relationships/slideLayout" Target="../slideLayouts/slideLayout153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3.png"/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159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4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hyperlink" Target="mailto:ELokotko@prosv.ru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591.xml"/><Relationship Id="rId5" Type="http://schemas.openxmlformats.org/officeDocument/2006/relationships/hyperlink" Target="mailto:Esindryakova@prosv.ru" TargetMode="External"/><Relationship Id="rId4" Type="http://schemas.openxmlformats.org/officeDocument/2006/relationships/hyperlink" Target="mailto:Ssladkov@prosv.ru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8.xml"/><Relationship Id="rId5" Type="http://schemas.openxmlformats.org/officeDocument/2006/relationships/image" Target="../media/image27.pn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16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7.xml"/><Relationship Id="rId5" Type="http://schemas.openxmlformats.org/officeDocument/2006/relationships/image" Target="../media/image27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5397488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3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solidFill>
                <a:prstClr val="white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9144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88571" y="1669766"/>
            <a:ext cx="7662294" cy="2368341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УППА КОМПАНИЙ</a:t>
            </a:r>
            <a:br>
              <a:rPr lang="ru-RU" sz="5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5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СВЕЩЕНИЕ —</a:t>
            </a:r>
            <a:br>
              <a:rPr lang="ru-RU" sz="5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5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ИСТЕМЕ ОБРАЗОВАНИЯ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88571" y="4236913"/>
            <a:ext cx="3962400" cy="615553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ализуем </a:t>
            </a:r>
            <a:r>
              <a:rPr lang="ru-RU" sz="2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циональный проект «Образование» вместе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7574683" y="300997"/>
            <a:ext cx="1125698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7110813" y="5602514"/>
            <a:ext cx="15983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6691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88641"/>
            <a:ext cx="8335838" cy="1502050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700" b="1" dirty="0" smtClean="0">
                <a:solidFill>
                  <a:srgbClr val="FF0000"/>
                </a:solidFill>
                <a:latin typeface="arial"/>
              </a:rPr>
              <a:t>Функциональная </a:t>
            </a:r>
            <a:r>
              <a:rPr lang="ru-RU" sz="2700" b="1" dirty="0">
                <a:solidFill>
                  <a:srgbClr val="FF0000"/>
                </a:solidFill>
                <a:latin typeface="arial"/>
              </a:rPr>
              <a:t>грамотность</a:t>
            </a:r>
            <a:r>
              <a:rPr lang="ru-RU" sz="2700" dirty="0">
                <a:solidFill>
                  <a:srgbClr val="222222"/>
                </a:solidFill>
                <a:latin typeface="arial"/>
              </a:rPr>
              <a:t> — способность человека, общества вступать в </a:t>
            </a:r>
            <a:r>
              <a:rPr lang="ru-RU" sz="2700" dirty="0" smtClean="0">
                <a:solidFill>
                  <a:srgbClr val="222222"/>
                </a:solidFill>
                <a:latin typeface="arial"/>
              </a:rPr>
              <a:t>отношения с </a:t>
            </a:r>
            <a:r>
              <a:rPr lang="ru-RU" sz="2700" dirty="0">
                <a:solidFill>
                  <a:srgbClr val="222222"/>
                </a:solidFill>
                <a:latin typeface="arial"/>
              </a:rPr>
              <a:t>внешней средой и умение быстро адаптироваться в изменяющихся условиях</a:t>
            </a:r>
            <a:r>
              <a:rPr lang="ru-RU" sz="2700" dirty="0" smtClean="0">
                <a:solidFill>
                  <a:srgbClr val="222222"/>
                </a:solidFill>
                <a:latin typeface="arial"/>
              </a:rPr>
              <a:t>.</a:t>
            </a:r>
            <a:endParaRPr lang="ru-RU" dirty="0"/>
          </a:p>
        </p:txBody>
      </p:sp>
      <p:pic>
        <p:nvPicPr>
          <p:cNvPr id="69634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111"/>
          <a:stretch/>
        </p:blipFill>
        <p:spPr bwMode="auto">
          <a:xfrm>
            <a:off x="251520" y="1700808"/>
            <a:ext cx="5688632" cy="3749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68" t="37697" r="15240" b="9179"/>
          <a:stretch/>
        </p:blipFill>
        <p:spPr bwMode="auto">
          <a:xfrm>
            <a:off x="5652120" y="4437112"/>
            <a:ext cx="3420888" cy="1865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1.png"/>
          <p:cNvPicPr>
            <a:picLocks noChangeAspect="1"/>
          </p:cNvPicPr>
          <p:nvPr/>
        </p:nvPicPr>
        <p:blipFill>
          <a:blip r:embed="rId5" cstate="print">
            <a:extLst/>
          </a:blip>
          <a:stretch>
            <a:fillRect/>
          </a:stretch>
        </p:blipFill>
        <p:spPr>
          <a:xfrm>
            <a:off x="-3" y="6226833"/>
            <a:ext cx="9144004" cy="455669"/>
          </a:xfrm>
          <a:prstGeom prst="rect">
            <a:avLst/>
          </a:prstGeom>
          <a:ln w="12700">
            <a:miter lim="400000"/>
          </a:ln>
        </p:spPr>
      </p:pic>
      <p:pic>
        <p:nvPicPr>
          <p:cNvPr id="69637" name="Picture 5" descr="ÐÐ°ÑÑÐ¸Ð½ÐºÐ¸ Ð¿Ð¾ Ð·Ð°Ð¿ÑÐ¾ÑÑ ÑÑÐ½ÐºÑÐ¸Ð¾Ð½Ð°Ð»ÑÐ½Ð°Ñ Ð³ÑÐ°Ð¼Ð¾ÑÐ½Ð¾ÑÑÑ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66" b="10164"/>
          <a:stretch/>
        </p:blipFill>
        <p:spPr bwMode="auto">
          <a:xfrm>
            <a:off x="5508105" y="1916832"/>
            <a:ext cx="3384376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8700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2" y="6309320"/>
            <a:ext cx="196524" cy="338550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11</a:t>
            </a:fld>
            <a:endParaRPr lang="en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13" name="Рисунок 12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787864"/>
            <a:ext cx="9144000" cy="70136"/>
          </a:xfrm>
          <a:prstGeom prst="rect">
            <a:avLst/>
          </a:prstGeom>
        </p:spPr>
      </p:pic>
      <p:sp>
        <p:nvSpPr>
          <p:cNvPr id="98" name="Прямоугольник 97"/>
          <p:cNvSpPr/>
          <p:nvPr/>
        </p:nvSpPr>
        <p:spPr>
          <a:xfrm flipH="1">
            <a:off x="0" y="98089"/>
            <a:ext cx="9144000" cy="859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hangingPunct="0"/>
            <a:endParaRPr lang="ru-RU" kern="0">
              <a:solidFill>
                <a:srgbClr val="FFFFFF"/>
              </a:solidFill>
              <a:sym typeface="Helvetica"/>
            </a:endParaRPr>
          </a:p>
        </p:txBody>
      </p:sp>
      <p:sp>
        <p:nvSpPr>
          <p:cNvPr id="99" name="Прямоугольник 98"/>
          <p:cNvSpPr/>
          <p:nvPr/>
        </p:nvSpPr>
        <p:spPr>
          <a:xfrm flipH="1">
            <a:off x="1979712" y="96045"/>
            <a:ext cx="7164288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hangingPunct="0"/>
            <a:r>
              <a:rPr lang="ru-RU" sz="2400" b="1" kern="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"/>
              </a:rPr>
              <a:t>Национальный проект</a:t>
            </a:r>
          </a:p>
          <a:p>
            <a:pPr algn="ctr" hangingPunct="0"/>
            <a:r>
              <a:rPr lang="ru-RU" sz="2400" b="1" kern="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"/>
              </a:rPr>
              <a:t> «Образование 2018-2024»</a:t>
            </a: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1551214" y="192428"/>
            <a:ext cx="1538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44"/>
          <p:cNvGrpSpPr/>
          <p:nvPr/>
        </p:nvGrpSpPr>
        <p:grpSpPr>
          <a:xfrm>
            <a:off x="237448" y="256608"/>
            <a:ext cx="1080050" cy="497938"/>
            <a:chOff x="338369" y="163286"/>
            <a:chExt cx="1440066" cy="497938"/>
          </a:xfrm>
        </p:grpSpPr>
        <p:sp>
          <p:nvSpPr>
            <p:cNvPr id="10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</p:grpSp>
      <p:sp>
        <p:nvSpPr>
          <p:cNvPr id="39" name="Подзаголовок 2"/>
          <p:cNvSpPr txBox="1">
            <a:spLocks/>
          </p:cNvSpPr>
          <p:nvPr/>
        </p:nvSpPr>
        <p:spPr>
          <a:xfrm>
            <a:off x="2747202" y="5805264"/>
            <a:ext cx="6400800" cy="5040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 lnSpcReduction="10000"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buFont typeface="Arial"/>
              <a:buNone/>
            </a:pPr>
            <a:r>
              <a:rPr lang="ru-RU" sz="1400" kern="0" dirty="0" smtClean="0"/>
              <a:t>Паспорт утвержден президиумом Совета при Президенте РФ по стратегическому развитию и национальным проектам (протокол от 3 сентября 2018 года №10</a:t>
            </a:r>
            <a:r>
              <a:rPr lang="en-US" sz="1400" kern="0" dirty="0" smtClean="0"/>
              <a:t>)</a:t>
            </a:r>
            <a:endParaRPr lang="ru-RU" sz="1400" kern="0" dirty="0"/>
          </a:p>
        </p:txBody>
      </p:sp>
      <p:sp>
        <p:nvSpPr>
          <p:cNvPr id="4" name="TextBox 3"/>
          <p:cNvSpPr txBox="1"/>
          <p:nvPr/>
        </p:nvSpPr>
        <p:spPr>
          <a:xfrm>
            <a:off x="1722742" y="1129242"/>
            <a:ext cx="7313754" cy="14773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hangingPunct="0"/>
            <a:r>
              <a:rPr lang="ru-RU" b="1" kern="0" dirty="0">
                <a:solidFill>
                  <a:srgbClr val="0070C0"/>
                </a:solidFill>
                <a:sym typeface="Helvetica"/>
              </a:rPr>
              <a:t>Стратегические цели: </a:t>
            </a:r>
          </a:p>
          <a:p>
            <a:pPr hangingPunct="0"/>
            <a:r>
              <a:rPr lang="ru-RU" kern="0" dirty="0">
                <a:solidFill>
                  <a:srgbClr val="0070C0"/>
                </a:solidFill>
                <a:sym typeface="Helvetica"/>
              </a:rPr>
              <a:t>Воспитание гармонично развитой и социально ответственной личности на основе духовно-нравственных ценностей народов Российской Федерации, исторических и национально-культурных традиций</a:t>
            </a:r>
          </a:p>
          <a:p>
            <a:pPr hangingPunct="0"/>
            <a:endParaRPr lang="ru-RU" kern="0" dirty="0">
              <a:solidFill>
                <a:srgbClr val="000000"/>
              </a:solidFill>
              <a:sym typeface="Helvetica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25465" y="3490655"/>
            <a:ext cx="736736" cy="3693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hangingPunct="0"/>
            <a:r>
              <a:rPr lang="ru-RU" b="1" kern="0" dirty="0">
                <a:solidFill>
                  <a:srgbClr val="0070C0"/>
                </a:solidFill>
                <a:sym typeface="Helvetica"/>
              </a:rPr>
              <a:t>ЦЕЛЬ </a:t>
            </a:r>
          </a:p>
        </p:txBody>
      </p:sp>
      <p:grpSp>
        <p:nvGrpSpPr>
          <p:cNvPr id="43" name="Группа 31"/>
          <p:cNvGrpSpPr/>
          <p:nvPr/>
        </p:nvGrpSpPr>
        <p:grpSpPr>
          <a:xfrm>
            <a:off x="432697" y="1122828"/>
            <a:ext cx="851606" cy="1448145"/>
            <a:chOff x="684213" y="839788"/>
            <a:chExt cx="1165225" cy="1416049"/>
          </a:xfrm>
        </p:grpSpPr>
        <p:sp>
          <p:nvSpPr>
            <p:cNvPr id="44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45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46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47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pic>
          <p:nvPicPr>
            <p:cNvPr id="48" name="Picture 45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9" name="Группа 8"/>
          <p:cNvGrpSpPr/>
          <p:nvPr/>
        </p:nvGrpSpPr>
        <p:grpSpPr>
          <a:xfrm>
            <a:off x="1649555" y="2923879"/>
            <a:ext cx="7077693" cy="1872208"/>
            <a:chOff x="1649554" y="2923879"/>
            <a:chExt cx="7077693" cy="1872208"/>
          </a:xfrm>
        </p:grpSpPr>
        <p:pic>
          <p:nvPicPr>
            <p:cNvPr id="42" name="Picture 2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70" r="8067" b="75486"/>
            <a:stretch/>
          </p:blipFill>
          <p:spPr bwMode="auto">
            <a:xfrm>
              <a:off x="1649554" y="2923879"/>
              <a:ext cx="7077693" cy="1872208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8" name="Овал 7"/>
            <p:cNvSpPr/>
            <p:nvPr/>
          </p:nvSpPr>
          <p:spPr>
            <a:xfrm>
              <a:off x="6494999" y="4170912"/>
              <a:ext cx="2232248" cy="519345"/>
            </a:xfrm>
            <a:prstGeom prst="ellipse">
              <a:avLst/>
            </a:prstGeom>
            <a:noFill/>
            <a:ln w="25400" cap="flat">
              <a:solidFill>
                <a:srgbClr val="C0000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586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95392" y="188640"/>
            <a:ext cx="7498080" cy="1143000"/>
          </a:xfrm>
        </p:spPr>
        <p:txBody>
          <a:bodyPr>
            <a:normAutofit/>
          </a:bodyPr>
          <a:lstStyle/>
          <a:p>
            <a:pPr algn="ctr"/>
            <a:r>
              <a:rPr lang="ru-RU" sz="2400" u="sng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 ОПРЕДЕЛИТЬ ЕСТЕСТВЕННОНАУЧНУЮ ГРАМОТНОСТЬ ШКОЛЬНИКОВ?</a:t>
            </a:r>
            <a:endParaRPr lang="ru-RU" sz="2400" u="sng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437088" y="1881559"/>
            <a:ext cx="3456384" cy="35283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ШНИЕ МОНИТОРИНГ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619672" y="1842552"/>
            <a:ext cx="3456384" cy="35779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prstClr val="white"/>
              </a:solidFill>
            </a:endParaRPr>
          </a:p>
          <a:p>
            <a:pPr algn="ctr"/>
            <a:endParaRPr lang="ru-RU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УТРЕННИЕ МОНИТОРИНГИ (ОГЭ,ЕГЭ,НИКО,ВПР)</a:t>
            </a:r>
          </a:p>
        </p:txBody>
      </p:sp>
      <p:sp>
        <p:nvSpPr>
          <p:cNvPr id="6" name="Прямоугольник 5"/>
          <p:cNvSpPr/>
          <p:nvPr/>
        </p:nvSpPr>
        <p:spPr>
          <a:xfrm flipH="1">
            <a:off x="6372201" y="3789040"/>
            <a:ext cx="129614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PIRLS</a:t>
            </a:r>
            <a:endParaRPr lang="ru-RU" dirty="0">
              <a:solidFill>
                <a:prstClr val="black"/>
              </a:solidFill>
            </a:endParaRPr>
          </a:p>
          <a:p>
            <a:r>
              <a:rPr lang="en-US" dirty="0">
                <a:solidFill>
                  <a:prstClr val="black"/>
                </a:solidFill>
              </a:rPr>
              <a:t>TIMSS</a:t>
            </a:r>
            <a:endParaRPr lang="ru-RU" dirty="0">
              <a:solidFill>
                <a:prstClr val="black"/>
              </a:solidFill>
            </a:endParaRPr>
          </a:p>
          <a:p>
            <a:r>
              <a:rPr lang="en-US" dirty="0">
                <a:solidFill>
                  <a:prstClr val="black"/>
                </a:solidFill>
              </a:rPr>
              <a:t> PISA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32" y="6165304"/>
            <a:ext cx="1049337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2047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577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5" t="18326" r="1877" b="13949"/>
          <a:stretch/>
        </p:blipFill>
        <p:spPr bwMode="auto">
          <a:xfrm>
            <a:off x="971600" y="0"/>
            <a:ext cx="8172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2374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8460433" y="6338446"/>
            <a:ext cx="539552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60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4</a:t>
            </a:fld>
            <a:endParaRPr lang="en" sz="16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13" name="Рисунок 12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787864"/>
            <a:ext cx="9144000" cy="70136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 flipH="1">
            <a:off x="0" y="98373"/>
            <a:ext cx="9144000" cy="859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5" rIns="121908" bIns="60955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 flipH="1">
            <a:off x="1979712" y="96045"/>
            <a:ext cx="7164288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5" rIns="121908" bIns="60955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1551214" y="192428"/>
            <a:ext cx="1538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44"/>
          <p:cNvGrpSpPr/>
          <p:nvPr/>
        </p:nvGrpSpPr>
        <p:grpSpPr>
          <a:xfrm>
            <a:off x="237448" y="256608"/>
            <a:ext cx="1080050" cy="497938"/>
            <a:chOff x="338369" y="163286"/>
            <a:chExt cx="1440066" cy="497938"/>
          </a:xfrm>
        </p:grpSpPr>
        <p:sp>
          <p:nvSpPr>
            <p:cNvPr id="38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0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4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5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6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7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1673793" y="100461"/>
            <a:ext cx="7388195" cy="1078747"/>
          </a:xfrm>
          <a:prstGeom prst="rect">
            <a:avLst/>
          </a:prstGeom>
          <a:noFill/>
        </p:spPr>
        <p:txBody>
          <a:bodyPr wrap="square" lIns="121908" tIns="60955" rIns="121908" bIns="60955" rtlCol="0">
            <a:spAutoFit/>
          </a:bodyPr>
          <a:lstStyle/>
          <a:p>
            <a:pPr algn="ctr" defTabSz="914340">
              <a:lnSpc>
                <a:spcPct val="90000"/>
              </a:lnSpc>
            </a:pPr>
            <a:r>
              <a:rPr lang="ru-RU" sz="2300" b="1" spc="-40" dirty="0">
                <a:solidFill>
                  <a:srgbClr val="294790"/>
                </a:solidFill>
              </a:rPr>
              <a:t>Обеспечить конкурентоспособность России по качеству общего образования</a:t>
            </a:r>
          </a:p>
          <a:p>
            <a:pPr algn="ctr" defTabSz="914340">
              <a:lnSpc>
                <a:spcPct val="90000"/>
              </a:lnSpc>
            </a:pPr>
            <a:r>
              <a:rPr lang="ru-RU" sz="2300" dirty="0">
                <a:solidFill>
                  <a:srgbClr val="294790"/>
                </a:solidFill>
              </a:rPr>
              <a:t>Что это означает на практике?</a:t>
            </a:r>
          </a:p>
        </p:txBody>
      </p:sp>
      <p:sp>
        <p:nvSpPr>
          <p:cNvPr id="25" name="Название 1"/>
          <p:cNvSpPr txBox="1">
            <a:spLocks/>
          </p:cNvSpPr>
          <p:nvPr/>
        </p:nvSpPr>
        <p:spPr>
          <a:xfrm>
            <a:off x="1242100" y="1084253"/>
            <a:ext cx="7132280" cy="756350"/>
          </a:xfrm>
          <a:prstGeom prst="rect">
            <a:avLst/>
          </a:prstGeom>
        </p:spPr>
        <p:txBody>
          <a:bodyPr vert="horz" lIns="103882" tIns="51941" rIns="103882" bIns="51941" rtlCol="0" anchor="t" anchorCtr="0">
            <a:noAutofit/>
          </a:bodyPr>
          <a:lstStyle/>
          <a:p>
            <a:pPr defTabSz="914340">
              <a:lnSpc>
                <a:spcPct val="90000"/>
              </a:lnSpc>
            </a:pPr>
            <a:r>
              <a:rPr lang="ru-RU" sz="1600" b="1" dirty="0">
                <a:solidFill>
                  <a:srgbClr val="0073B8"/>
                </a:solidFill>
              </a:rPr>
              <a:t>ЧТО УЧИТЫВАЕТСЯ В МЕЖДУНАРОДНЫХ РЕЙТИНГАХ?</a:t>
            </a:r>
          </a:p>
          <a:p>
            <a:pPr defTabSz="914340">
              <a:lnSpc>
                <a:spcPct val="90000"/>
              </a:lnSpc>
            </a:pPr>
            <a:r>
              <a:rPr lang="ru-RU" sz="1600" b="1" dirty="0">
                <a:solidFill>
                  <a:srgbClr val="0073B8"/>
                </a:solidFill>
              </a:rPr>
              <a:t>ПО КАКИМ ПАРАМЕТРАМ ИДЁТ СРАВНЕНИЕ ОБРАЗОВАТЕЛЬНЫХ РЕЗУЛЬТАТОВ</a:t>
            </a:r>
            <a:r>
              <a:rPr lang="ru-RU" sz="2000" b="1" dirty="0">
                <a:solidFill>
                  <a:srgbClr val="0073B8"/>
                </a:solidFill>
              </a:rPr>
              <a:t>?</a:t>
            </a:r>
          </a:p>
          <a:p>
            <a:pPr defTabSz="914340">
              <a:lnSpc>
                <a:spcPct val="90000"/>
              </a:lnSpc>
            </a:pPr>
            <a:endParaRPr lang="ru-RU" sz="2000" b="1" i="1" dirty="0">
              <a:solidFill>
                <a:prstClr val="black"/>
              </a:solidFill>
            </a:endParaRPr>
          </a:p>
        </p:txBody>
      </p:sp>
      <p:grpSp>
        <p:nvGrpSpPr>
          <p:cNvPr id="78" name="Группа 77"/>
          <p:cNvGrpSpPr/>
          <p:nvPr/>
        </p:nvGrpSpPr>
        <p:grpSpPr>
          <a:xfrm>
            <a:off x="0" y="1859281"/>
            <a:ext cx="9144000" cy="4389120"/>
            <a:chOff x="0" y="2202103"/>
            <a:chExt cx="12192000" cy="4046297"/>
          </a:xfrm>
        </p:grpSpPr>
        <p:sp>
          <p:nvSpPr>
            <p:cNvPr id="57" name="Прямоугольник 56"/>
            <p:cNvSpPr/>
            <p:nvPr/>
          </p:nvSpPr>
          <p:spPr>
            <a:xfrm>
              <a:off x="8666480" y="4717380"/>
              <a:ext cx="3525520" cy="1531020"/>
            </a:xfrm>
            <a:prstGeom prst="rect">
              <a:avLst/>
            </a:prstGeom>
            <a:solidFill>
              <a:srgbClr val="17506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60958" rIns="121917" bIns="60958" rtlCol="0" anchor="ctr"/>
            <a:lstStyle/>
            <a:p>
              <a:pPr defTabSz="914340">
                <a:spcBef>
                  <a:spcPct val="0"/>
                </a:spcBef>
                <a:defRPr/>
              </a:pPr>
              <a:r>
                <a:rPr lang="en-US" sz="1600" b="1" dirty="0">
                  <a:solidFill>
                    <a:prstClr val="white"/>
                  </a:solidFill>
                </a:rPr>
                <a:t>PISA</a:t>
              </a:r>
              <a:r>
                <a:rPr lang="ru-RU" sz="1600" b="1" dirty="0">
                  <a:solidFill>
                    <a:prstClr val="white"/>
                  </a:solidFill>
                </a:rPr>
                <a:t> </a:t>
              </a:r>
              <a:r>
                <a:rPr lang="ru-RU" sz="1600" dirty="0">
                  <a:solidFill>
                    <a:prstClr val="white"/>
                  </a:solidFill>
                </a:rPr>
                <a:t>–</a:t>
              </a:r>
              <a:r>
                <a:rPr lang="en-US" sz="1600" dirty="0">
                  <a:solidFill>
                    <a:prstClr val="white"/>
                  </a:solidFill>
                </a:rPr>
                <a:t> </a:t>
              </a:r>
              <a:endParaRPr lang="ru-RU" sz="1600" dirty="0">
                <a:solidFill>
                  <a:prstClr val="white"/>
                </a:solidFill>
              </a:endParaRPr>
            </a:p>
            <a:p>
              <a:pPr defTabSz="914340">
                <a:spcBef>
                  <a:spcPct val="0"/>
                </a:spcBef>
                <a:defRPr/>
              </a:pPr>
              <a:r>
                <a:rPr lang="en-US" sz="1600" dirty="0" err="1">
                  <a:solidFill>
                    <a:prstClr val="white"/>
                  </a:solidFill>
                </a:rPr>
                <a:t>Programme</a:t>
              </a:r>
              <a:r>
                <a:rPr lang="en-US" sz="1600" dirty="0">
                  <a:solidFill>
                    <a:prstClr val="white"/>
                  </a:solidFill>
                </a:rPr>
                <a:t> for International Student Assessment</a:t>
              </a:r>
              <a:r>
                <a:rPr lang="ru-RU" sz="1600" dirty="0">
                  <a:solidFill>
                    <a:prstClr val="white"/>
                  </a:solidFill>
                </a:rPr>
                <a:t>, 15-летние школьники</a:t>
              </a:r>
            </a:p>
            <a:p>
              <a:pPr defTabSz="914340">
                <a:spcBef>
                  <a:spcPct val="0"/>
                </a:spcBef>
                <a:defRPr/>
              </a:pPr>
              <a:r>
                <a:rPr lang="ru-RU" sz="1600" b="1" dirty="0">
                  <a:solidFill>
                    <a:prstClr val="white"/>
                  </a:solidFill>
                </a:rPr>
                <a:t>9</a:t>
              </a:r>
              <a:r>
                <a:rPr lang="ru-RU" sz="1600" dirty="0">
                  <a:solidFill>
                    <a:prstClr val="white"/>
                  </a:solidFill>
                </a:rPr>
                <a:t> и </a:t>
              </a:r>
              <a:r>
                <a:rPr lang="ru-RU" sz="1600" b="1" dirty="0">
                  <a:solidFill>
                    <a:prstClr val="white"/>
                  </a:solidFill>
                </a:rPr>
                <a:t>10</a:t>
              </a:r>
              <a:r>
                <a:rPr lang="ru-RU" sz="1600" dirty="0">
                  <a:solidFill>
                    <a:prstClr val="white"/>
                  </a:solidFill>
                </a:rPr>
                <a:t> классы</a:t>
              </a:r>
              <a:endParaRPr lang="ru-RU" sz="16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8656320" y="2202103"/>
              <a:ext cx="3535680" cy="1146000"/>
            </a:xfrm>
            <a:prstGeom prst="rect">
              <a:avLst/>
            </a:prstGeom>
            <a:solidFill>
              <a:srgbClr val="0073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60958" rIns="121917" bIns="60958" rtlCol="0" anchor="ctr"/>
            <a:lstStyle/>
            <a:p>
              <a:pPr defTabSz="914340">
                <a:spcBef>
                  <a:spcPct val="0"/>
                </a:spcBef>
                <a:defRPr/>
              </a:pPr>
              <a:r>
                <a:rPr lang="en-US" sz="1600" b="1" dirty="0">
                  <a:solidFill>
                    <a:prstClr val="white"/>
                  </a:solidFill>
                </a:rPr>
                <a:t>PIRLS</a:t>
              </a:r>
              <a:r>
                <a:rPr lang="ru-RU" sz="1600" b="1" dirty="0">
                  <a:solidFill>
                    <a:prstClr val="white"/>
                  </a:solidFill>
                </a:rPr>
                <a:t> </a:t>
              </a:r>
              <a:r>
                <a:rPr lang="ru-RU" sz="1600" dirty="0">
                  <a:solidFill>
                    <a:prstClr val="white"/>
                  </a:solidFill>
                </a:rPr>
                <a:t>–</a:t>
              </a:r>
              <a:r>
                <a:rPr lang="en-US" sz="1600" dirty="0">
                  <a:solidFill>
                    <a:prstClr val="white"/>
                  </a:solidFill>
                </a:rPr>
                <a:t> </a:t>
              </a:r>
              <a:endParaRPr lang="ru-RU" sz="1600" dirty="0">
                <a:solidFill>
                  <a:prstClr val="white"/>
                </a:solidFill>
              </a:endParaRPr>
            </a:p>
            <a:p>
              <a:pPr defTabSz="914340">
                <a:spcBef>
                  <a:spcPct val="0"/>
                </a:spcBef>
                <a:defRPr/>
              </a:pPr>
              <a:r>
                <a:rPr lang="en-US" sz="1600" dirty="0">
                  <a:solidFill>
                    <a:prstClr val="white"/>
                  </a:solidFill>
                </a:rPr>
                <a:t>Progress in International Reading Literacy Study</a:t>
              </a:r>
              <a:r>
                <a:rPr lang="ru-RU" sz="1600" dirty="0">
                  <a:solidFill>
                    <a:prstClr val="white"/>
                  </a:solidFill>
                </a:rPr>
                <a:t>, </a:t>
              </a:r>
              <a:r>
                <a:rPr lang="ru-RU" sz="1600" b="1" dirty="0">
                  <a:solidFill>
                    <a:prstClr val="white"/>
                  </a:solidFill>
                </a:rPr>
                <a:t>4</a:t>
              </a:r>
              <a:r>
                <a:rPr lang="ru-RU" sz="1600" dirty="0">
                  <a:solidFill>
                    <a:prstClr val="white"/>
                  </a:solidFill>
                </a:rPr>
                <a:t> класс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8656320" y="3469243"/>
              <a:ext cx="3535680" cy="1146000"/>
            </a:xfrm>
            <a:prstGeom prst="rect">
              <a:avLst/>
            </a:prstGeom>
            <a:solidFill>
              <a:srgbClr val="425A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60958" rIns="121917" bIns="60958" rtlCol="0" anchor="ctr"/>
            <a:lstStyle/>
            <a:p>
              <a:pPr defTabSz="914340">
                <a:spcBef>
                  <a:spcPct val="0"/>
                </a:spcBef>
                <a:defRPr/>
              </a:pPr>
              <a:r>
                <a:rPr lang="en-US" sz="1600" b="1" dirty="0">
                  <a:solidFill>
                    <a:prstClr val="white"/>
                  </a:solidFill>
                </a:rPr>
                <a:t>TIMSS</a:t>
              </a:r>
              <a:r>
                <a:rPr lang="ru-RU" sz="1600" b="1" dirty="0">
                  <a:solidFill>
                    <a:prstClr val="white"/>
                  </a:solidFill>
                </a:rPr>
                <a:t> </a:t>
              </a:r>
              <a:r>
                <a:rPr lang="ru-RU" sz="1600" dirty="0">
                  <a:solidFill>
                    <a:prstClr val="white"/>
                  </a:solidFill>
                </a:rPr>
                <a:t>–</a:t>
              </a:r>
            </a:p>
            <a:p>
              <a:pPr defTabSz="914340">
                <a:spcBef>
                  <a:spcPct val="0"/>
                </a:spcBef>
                <a:defRPr/>
              </a:pPr>
              <a:r>
                <a:rPr lang="en-US" sz="1600" dirty="0">
                  <a:solidFill>
                    <a:prstClr val="white"/>
                  </a:solidFill>
                </a:rPr>
                <a:t>Trends in Mathematics and Science Study</a:t>
              </a:r>
              <a:r>
                <a:rPr lang="ru-RU" sz="1600" dirty="0">
                  <a:solidFill>
                    <a:prstClr val="white"/>
                  </a:solidFill>
                </a:rPr>
                <a:t>, </a:t>
              </a:r>
              <a:r>
                <a:rPr lang="ru-RU" sz="1600" b="1" dirty="0">
                  <a:solidFill>
                    <a:prstClr val="white"/>
                  </a:solidFill>
                </a:rPr>
                <a:t>4</a:t>
              </a:r>
              <a:r>
                <a:rPr lang="ru-RU" sz="1600" dirty="0">
                  <a:solidFill>
                    <a:prstClr val="white"/>
                  </a:solidFill>
                </a:rPr>
                <a:t>, </a:t>
              </a:r>
              <a:r>
                <a:rPr lang="ru-RU" sz="1600" b="1" dirty="0">
                  <a:solidFill>
                    <a:prstClr val="white"/>
                  </a:solidFill>
                </a:rPr>
                <a:t>8</a:t>
              </a:r>
              <a:r>
                <a:rPr lang="ru-RU" sz="1600" dirty="0">
                  <a:solidFill>
                    <a:prstClr val="white"/>
                  </a:solidFill>
                </a:rPr>
                <a:t> и </a:t>
              </a:r>
              <a:r>
                <a:rPr lang="ru-RU" sz="1600" b="1" dirty="0">
                  <a:solidFill>
                    <a:prstClr val="white"/>
                  </a:solidFill>
                </a:rPr>
                <a:t>11</a:t>
              </a:r>
              <a:r>
                <a:rPr lang="ru-RU" sz="1600" dirty="0">
                  <a:solidFill>
                    <a:prstClr val="white"/>
                  </a:solidFill>
                </a:rPr>
                <a:t> классы</a:t>
              </a:r>
              <a:endParaRPr lang="ru-RU" sz="1600" dirty="0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0" y="4717380"/>
              <a:ext cx="8666480" cy="1531020"/>
            </a:xfrm>
            <a:prstGeom prst="rect">
              <a:avLst/>
            </a:prstGeom>
            <a:solidFill>
              <a:srgbClr val="2184A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 defTabSz="914340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0" y="2202103"/>
              <a:ext cx="8666480" cy="1146000"/>
            </a:xfrm>
            <a:prstGeom prst="rect">
              <a:avLst/>
            </a:prstGeom>
            <a:solidFill>
              <a:srgbClr val="00AC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 defTabSz="914340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0" y="3469243"/>
              <a:ext cx="8666480" cy="1146000"/>
            </a:xfrm>
            <a:prstGeom prst="rect">
              <a:avLst/>
            </a:prstGeom>
            <a:solidFill>
              <a:srgbClr val="6D88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 defTabSz="914340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0" y="4717380"/>
              <a:ext cx="1775520" cy="1531020"/>
            </a:xfrm>
            <a:prstGeom prst="rect">
              <a:avLst/>
            </a:prstGeom>
            <a:solidFill>
              <a:srgbClr val="6AB6D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 defTabSz="914340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0" y="2202103"/>
              <a:ext cx="1775520" cy="1146000"/>
            </a:xfrm>
            <a:prstGeom prst="rect">
              <a:avLst/>
            </a:prstGeom>
            <a:solidFill>
              <a:srgbClr val="33E1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 defTabSz="914340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0" y="3469243"/>
              <a:ext cx="1775520" cy="1146000"/>
            </a:xfrm>
            <a:prstGeom prst="rect">
              <a:avLst/>
            </a:prstGeom>
            <a:solidFill>
              <a:srgbClr val="A8BA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 defTabSz="914340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1883747" y="2376819"/>
              <a:ext cx="6772573" cy="771760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pPr defTabSz="914340">
                <a:lnSpc>
                  <a:spcPct val="90000"/>
                </a:lnSpc>
              </a:pPr>
              <a:r>
                <a:rPr lang="ru-RU" sz="1600" b="1" dirty="0">
                  <a:solidFill>
                    <a:prstClr val="white"/>
                  </a:solidFill>
                </a:rPr>
                <a:t>ОСВОЕНИЕ ОСНОВ ЧТЕНИЯ: </a:t>
              </a:r>
              <a:r>
                <a:rPr lang="ru-RU" sz="1600" dirty="0">
                  <a:solidFill>
                    <a:prstClr val="white"/>
                  </a:solidFill>
                </a:rPr>
                <a:t>С ЦЕЛЬЮ</a:t>
              </a:r>
            </a:p>
            <a:p>
              <a:pPr marL="179988" indent="-179988" defTabSz="914340"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prstClr val="white"/>
                  </a:solidFill>
                </a:rPr>
                <a:t>приобретения читательского литературного опыта</a:t>
              </a:r>
            </a:p>
            <a:p>
              <a:pPr marL="179988" indent="-179988" defTabSz="914340"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prstClr val="white"/>
                  </a:solidFill>
                </a:rPr>
                <a:t>освоения и использования информации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883749" y="3600989"/>
              <a:ext cx="6782731" cy="1021450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pPr defTabSz="914340">
                <a:spcBef>
                  <a:spcPct val="0"/>
                </a:spcBef>
                <a:defRPr/>
              </a:pPr>
              <a:r>
                <a:rPr lang="ru-RU" sz="1600" b="1" dirty="0">
                  <a:solidFill>
                    <a:prstClr val="white"/>
                  </a:solidFill>
                </a:rPr>
                <a:t>ОСВОЕНИЕ ОСНОВ МАТЕМАТИКИ И ЕСТЕСТВЕННО-НАУЧНЫХ ПРЕДМЕТОВ:</a:t>
              </a:r>
            </a:p>
            <a:p>
              <a:pPr marL="179988" indent="-179988" defTabSz="914340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solidFill>
                    <a:prstClr val="white"/>
                  </a:solidFill>
                </a:rPr>
                <a:t>всех общеобразовательных курсов (4, 8 классы)</a:t>
              </a:r>
            </a:p>
            <a:p>
              <a:pPr marL="179988" indent="-179988" defTabSz="914340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solidFill>
                    <a:prstClr val="white"/>
                  </a:solidFill>
                </a:rPr>
                <a:t>углублённых курсов математики и физики (11 класс)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1775520" y="4904739"/>
              <a:ext cx="6911280" cy="1021450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pPr defTabSz="914340">
                <a:spcBef>
                  <a:spcPct val="0"/>
                </a:spcBef>
                <a:defRPr/>
              </a:pPr>
              <a:r>
                <a:rPr lang="ru-RU" sz="1600" b="1" dirty="0">
                  <a:solidFill>
                    <a:prstClr val="white"/>
                  </a:solidFill>
                </a:rPr>
                <a:t>СФОРМИРОВАННОСТЬ ФУНКЦИОНАЛЬНОЙ ГРАМОТНОСТИ:</a:t>
              </a:r>
            </a:p>
            <a:p>
              <a:pPr marL="179988" indent="-179988" defTabSz="914340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solidFill>
                    <a:prstClr val="white"/>
                  </a:solidFill>
                </a:rPr>
                <a:t>читательской</a:t>
              </a:r>
            </a:p>
            <a:p>
              <a:pPr marL="179988" indent="-179988" defTabSz="914340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solidFill>
                    <a:prstClr val="white"/>
                  </a:solidFill>
                </a:rPr>
                <a:t>математической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4017347" y="5148579"/>
              <a:ext cx="3135293" cy="567470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pPr marL="179988" indent="-179988" defTabSz="914340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ru-RU" sz="1600" dirty="0" err="1">
                  <a:solidFill>
                    <a:prstClr val="white"/>
                  </a:solidFill>
                </a:rPr>
                <a:t>естественно-научной</a:t>
              </a:r>
              <a:endParaRPr lang="ru-RU" sz="1600" dirty="0">
                <a:solidFill>
                  <a:prstClr val="white"/>
                </a:solidFill>
              </a:endParaRPr>
            </a:p>
            <a:p>
              <a:pPr marL="179988" indent="-179988" defTabSz="914340">
                <a:spcBef>
                  <a:spcPct val="0"/>
                </a:spcBef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solidFill>
                    <a:prstClr val="white"/>
                  </a:solidFill>
                </a:rPr>
                <a:t>финансовой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2070336" y="5832952"/>
              <a:ext cx="6616464" cy="312107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pPr defTabSz="914340">
                <a:spcBef>
                  <a:spcPct val="0"/>
                </a:spcBef>
                <a:defRPr/>
              </a:pPr>
              <a:r>
                <a:rPr lang="ru-RU" sz="1400" b="1" dirty="0">
                  <a:solidFill>
                    <a:prstClr val="white"/>
                  </a:solidFill>
                </a:rPr>
                <a:t>СФОРМИРОВАННОСТЬ НАВЫКОВ РАЗРЕШЕНИЯ ПРОБЛЕМ</a:t>
              </a:r>
            </a:p>
          </p:txBody>
        </p:sp>
      </p:grpSp>
      <p:grpSp>
        <p:nvGrpSpPr>
          <p:cNvPr id="1028" name="Group 4"/>
          <p:cNvGrpSpPr>
            <a:grpSpLocks noChangeAspect="1"/>
          </p:cNvGrpSpPr>
          <p:nvPr/>
        </p:nvGrpSpPr>
        <p:grpSpPr bwMode="auto">
          <a:xfrm>
            <a:off x="134396" y="1981200"/>
            <a:ext cx="1066225" cy="991870"/>
            <a:chOff x="3172" y="1756"/>
            <a:chExt cx="1336" cy="808"/>
          </a:xfrm>
        </p:grpSpPr>
        <p:sp>
          <p:nvSpPr>
            <p:cNvPr id="1027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72" y="1756"/>
              <a:ext cx="1336" cy="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grpSp>
          <p:nvGrpSpPr>
            <p:cNvPr id="1229" name="Group 205"/>
            <p:cNvGrpSpPr>
              <a:grpSpLocks/>
            </p:cNvGrpSpPr>
            <p:nvPr/>
          </p:nvGrpSpPr>
          <p:grpSpPr bwMode="auto">
            <a:xfrm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1029" name="Freeform 5"/>
              <p:cNvSpPr>
                <a:spLocks/>
              </p:cNvSpPr>
              <p:nvPr/>
            </p:nvSpPr>
            <p:spPr bwMode="auto">
              <a:xfrm>
                <a:off x="3888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0" name="Freeform 6"/>
              <p:cNvSpPr>
                <a:spLocks/>
              </p:cNvSpPr>
              <p:nvPr/>
            </p:nvSpPr>
            <p:spPr bwMode="auto">
              <a:xfrm>
                <a:off x="4011" y="1980"/>
                <a:ext cx="122" cy="423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1" name="Freeform 7"/>
              <p:cNvSpPr>
                <a:spLocks/>
              </p:cNvSpPr>
              <p:nvPr/>
            </p:nvSpPr>
            <p:spPr bwMode="auto">
              <a:xfrm>
                <a:off x="4133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2" name="Freeform 8"/>
              <p:cNvSpPr>
                <a:spLocks/>
              </p:cNvSpPr>
              <p:nvPr/>
            </p:nvSpPr>
            <p:spPr bwMode="auto">
              <a:xfrm>
                <a:off x="3949" y="1980"/>
                <a:ext cx="62" cy="366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3" name="Freeform 9"/>
              <p:cNvSpPr>
                <a:spLocks/>
              </p:cNvSpPr>
              <p:nvPr/>
            </p:nvSpPr>
            <p:spPr bwMode="auto">
              <a:xfrm>
                <a:off x="4072" y="1980"/>
                <a:ext cx="61" cy="423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4" name="Freeform 10"/>
              <p:cNvSpPr>
                <a:spLocks/>
              </p:cNvSpPr>
              <p:nvPr/>
            </p:nvSpPr>
            <p:spPr bwMode="auto">
              <a:xfrm>
                <a:off x="4195" y="1980"/>
                <a:ext cx="61" cy="364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5" name="Rectangle 11"/>
              <p:cNvSpPr>
                <a:spLocks noChangeArrowheads="1"/>
              </p:cNvSpPr>
              <p:nvPr/>
            </p:nvSpPr>
            <p:spPr bwMode="auto"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6" name="Rectangle 12"/>
              <p:cNvSpPr>
                <a:spLocks noChangeArrowheads="1"/>
              </p:cNvSpPr>
              <p:nvPr/>
            </p:nvSpPr>
            <p:spPr bwMode="auto"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7" name="Rectangle 13"/>
              <p:cNvSpPr>
                <a:spLocks noChangeArrowheads="1"/>
              </p:cNvSpPr>
              <p:nvPr/>
            </p:nvSpPr>
            <p:spPr bwMode="auto"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8" name="Rectangle 14"/>
              <p:cNvSpPr>
                <a:spLocks noChangeArrowheads="1"/>
              </p:cNvSpPr>
              <p:nvPr/>
            </p:nvSpPr>
            <p:spPr bwMode="auto"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9" name="Rectangle 15"/>
              <p:cNvSpPr>
                <a:spLocks noChangeArrowheads="1"/>
              </p:cNvSpPr>
              <p:nvPr/>
            </p:nvSpPr>
            <p:spPr bwMode="auto"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0" name="Rectangle 16"/>
              <p:cNvSpPr>
                <a:spLocks noChangeArrowheads="1"/>
              </p:cNvSpPr>
              <p:nvPr/>
            </p:nvSpPr>
            <p:spPr bwMode="auto"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1" name="Rectangle 17"/>
              <p:cNvSpPr>
                <a:spLocks noChangeArrowheads="1"/>
              </p:cNvSpPr>
              <p:nvPr/>
            </p:nvSpPr>
            <p:spPr bwMode="auto"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2" name="Rectangle 18"/>
              <p:cNvSpPr>
                <a:spLocks noChangeArrowheads="1"/>
              </p:cNvSpPr>
              <p:nvPr/>
            </p:nvSpPr>
            <p:spPr bwMode="auto"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3" name="Rectangle 19"/>
              <p:cNvSpPr>
                <a:spLocks noChangeArrowheads="1"/>
              </p:cNvSpPr>
              <p:nvPr/>
            </p:nvSpPr>
            <p:spPr bwMode="auto"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4" name="Rectangle 20"/>
              <p:cNvSpPr>
                <a:spLocks noChangeArrowheads="1"/>
              </p:cNvSpPr>
              <p:nvPr/>
            </p:nvSpPr>
            <p:spPr bwMode="auto"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5" name="Rectangle 21"/>
              <p:cNvSpPr>
                <a:spLocks noChangeArrowheads="1"/>
              </p:cNvSpPr>
              <p:nvPr/>
            </p:nvSpPr>
            <p:spPr bwMode="auto"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6" name="Rectangle 22"/>
              <p:cNvSpPr>
                <a:spLocks noChangeArrowheads="1"/>
              </p:cNvSpPr>
              <p:nvPr/>
            </p:nvSpPr>
            <p:spPr bwMode="auto"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7" name="Freeform 23"/>
              <p:cNvSpPr>
                <a:spLocks noEditPoints="1"/>
              </p:cNvSpPr>
              <p:nvPr/>
            </p:nvSpPr>
            <p:spPr bwMode="auto">
              <a:xfrm>
                <a:off x="4255" y="1975"/>
                <a:ext cx="211" cy="595"/>
              </a:xfrm>
              <a:custGeom>
                <a:avLst/>
                <a:gdLst/>
                <a:ah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8" name="Freeform 24"/>
              <p:cNvSpPr>
                <a:spLocks noEditPoints="1"/>
              </p:cNvSpPr>
              <p:nvPr/>
            </p:nvSpPr>
            <p:spPr bwMode="auto">
              <a:xfrm>
                <a:off x="4315" y="1975"/>
                <a:ext cx="151" cy="586"/>
              </a:xfrm>
              <a:custGeom>
                <a:avLst/>
                <a:gdLst/>
                <a:ah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49" name="Freeform 25"/>
              <p:cNvSpPr>
                <a:spLocks/>
              </p:cNvSpPr>
              <p:nvPr/>
            </p:nvSpPr>
            <p:spPr bwMode="auto">
              <a:xfrm>
                <a:off x="4337" y="2456"/>
                <a:ext cx="115" cy="65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0" name="Freeform 26"/>
              <p:cNvSpPr>
                <a:spLocks/>
              </p:cNvSpPr>
              <p:nvPr/>
            </p:nvSpPr>
            <p:spPr bwMode="auto">
              <a:xfrm>
                <a:off x="4271" y="2032"/>
                <a:ext cx="114" cy="66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1" name="Freeform 27"/>
              <p:cNvSpPr>
                <a:spLocks/>
              </p:cNvSpPr>
              <p:nvPr/>
            </p:nvSpPr>
            <p:spPr bwMode="auto">
              <a:xfrm>
                <a:off x="4335" y="2440"/>
                <a:ext cx="108" cy="26"/>
              </a:xfrm>
              <a:custGeom>
                <a:avLst/>
                <a:gdLst/>
                <a:ah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2" name="Freeform 28"/>
              <p:cNvSpPr>
                <a:spLocks/>
              </p:cNvSpPr>
              <p:nvPr/>
            </p:nvSpPr>
            <p:spPr bwMode="auto">
              <a:xfrm>
                <a:off x="4268" y="2014"/>
                <a:ext cx="109" cy="29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3" name="Freeform 29"/>
              <p:cNvSpPr>
                <a:spLocks/>
              </p:cNvSpPr>
              <p:nvPr/>
            </p:nvSpPr>
            <p:spPr bwMode="auto">
              <a:xfrm>
                <a:off x="4391" y="2456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4" name="Freeform 30"/>
              <p:cNvSpPr>
                <a:spLocks/>
              </p:cNvSpPr>
              <p:nvPr/>
            </p:nvSpPr>
            <p:spPr bwMode="auto">
              <a:xfrm>
                <a:off x="4324" y="2032"/>
                <a:ext cx="61" cy="58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5" name="Freeform 31"/>
              <p:cNvSpPr>
                <a:spLocks/>
              </p:cNvSpPr>
              <p:nvPr/>
            </p:nvSpPr>
            <p:spPr bwMode="auto">
              <a:xfrm>
                <a:off x="4388" y="2440"/>
                <a:ext cx="55" cy="18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6" name="Freeform 32"/>
              <p:cNvSpPr>
                <a:spLocks/>
              </p:cNvSpPr>
              <p:nvPr/>
            </p:nvSpPr>
            <p:spPr bwMode="auto">
              <a:xfrm>
                <a:off x="4322" y="2014"/>
                <a:ext cx="55" cy="21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7" name="Rectangle 33"/>
              <p:cNvSpPr>
                <a:spLocks noChangeArrowheads="1"/>
              </p:cNvSpPr>
              <p:nvPr/>
            </p:nvSpPr>
            <p:spPr bwMode="auto"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8" name="Rectangle 34"/>
              <p:cNvSpPr>
                <a:spLocks noChangeArrowheads="1"/>
              </p:cNvSpPr>
              <p:nvPr/>
            </p:nvSpPr>
            <p:spPr bwMode="auto"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9" name="Rectangle 35"/>
              <p:cNvSpPr>
                <a:spLocks noChangeArrowheads="1"/>
              </p:cNvSpPr>
              <p:nvPr/>
            </p:nvSpPr>
            <p:spPr bwMode="auto"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0" name="Rectangle 36"/>
              <p:cNvSpPr>
                <a:spLocks noChangeArrowheads="1"/>
              </p:cNvSpPr>
              <p:nvPr/>
            </p:nvSpPr>
            <p:spPr bwMode="auto"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1" name="Rectangle 37"/>
              <p:cNvSpPr>
                <a:spLocks noChangeArrowheads="1"/>
              </p:cNvSpPr>
              <p:nvPr/>
            </p:nvSpPr>
            <p:spPr bwMode="auto"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2" name="Rectangle 38"/>
              <p:cNvSpPr>
                <a:spLocks noChangeArrowheads="1"/>
              </p:cNvSpPr>
              <p:nvPr/>
            </p:nvSpPr>
            <p:spPr bwMode="auto"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3" name="Rectangle 39"/>
              <p:cNvSpPr>
                <a:spLocks noChangeArrowheads="1"/>
              </p:cNvSpPr>
              <p:nvPr/>
            </p:nvSpPr>
            <p:spPr bwMode="auto"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4" name="Rectangle 40"/>
              <p:cNvSpPr>
                <a:spLocks noChangeArrowheads="1"/>
              </p:cNvSpPr>
              <p:nvPr/>
            </p:nvSpPr>
            <p:spPr bwMode="auto"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5" name="Rectangle 41"/>
              <p:cNvSpPr>
                <a:spLocks noChangeArrowheads="1"/>
              </p:cNvSpPr>
              <p:nvPr/>
            </p:nvSpPr>
            <p:spPr bwMode="auto"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6" name="Rectangle 42"/>
              <p:cNvSpPr>
                <a:spLocks noChangeArrowheads="1"/>
              </p:cNvSpPr>
              <p:nvPr/>
            </p:nvSpPr>
            <p:spPr bwMode="auto"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7" name="Rectangle 43"/>
              <p:cNvSpPr>
                <a:spLocks noChangeArrowheads="1"/>
              </p:cNvSpPr>
              <p:nvPr/>
            </p:nvSpPr>
            <p:spPr bwMode="auto"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8" name="Rectangle 44"/>
              <p:cNvSpPr>
                <a:spLocks noChangeArrowheads="1"/>
              </p:cNvSpPr>
              <p:nvPr/>
            </p:nvSpPr>
            <p:spPr bwMode="auto"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69" name="Rectangle 45"/>
              <p:cNvSpPr>
                <a:spLocks noChangeArrowheads="1"/>
              </p:cNvSpPr>
              <p:nvPr/>
            </p:nvSpPr>
            <p:spPr bwMode="auto"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0" name="Rectangle 46"/>
              <p:cNvSpPr>
                <a:spLocks noChangeArrowheads="1"/>
              </p:cNvSpPr>
              <p:nvPr/>
            </p:nvSpPr>
            <p:spPr bwMode="auto"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1" name="Rectangle 47"/>
              <p:cNvSpPr>
                <a:spLocks noChangeArrowheads="1"/>
              </p:cNvSpPr>
              <p:nvPr/>
            </p:nvSpPr>
            <p:spPr bwMode="auto"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2" name="Freeform 48"/>
              <p:cNvSpPr>
                <a:spLocks/>
              </p:cNvSpPr>
              <p:nvPr/>
            </p:nvSpPr>
            <p:spPr bwMode="auto">
              <a:xfrm>
                <a:off x="3557" y="1940"/>
                <a:ext cx="32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3" name="Freeform 49"/>
              <p:cNvSpPr>
                <a:spLocks/>
              </p:cNvSpPr>
              <p:nvPr/>
            </p:nvSpPr>
            <p:spPr bwMode="auto">
              <a:xfrm>
                <a:off x="3557" y="195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4" name="Freeform 50"/>
              <p:cNvSpPr>
                <a:spLocks/>
              </p:cNvSpPr>
              <p:nvPr/>
            </p:nvSpPr>
            <p:spPr bwMode="auto">
              <a:xfrm>
                <a:off x="3557" y="1969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5" name="Freeform 51"/>
              <p:cNvSpPr>
                <a:spLocks/>
              </p:cNvSpPr>
              <p:nvPr/>
            </p:nvSpPr>
            <p:spPr bwMode="auto">
              <a:xfrm>
                <a:off x="3557" y="1984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6" name="Freeform 52"/>
              <p:cNvSpPr>
                <a:spLocks/>
              </p:cNvSpPr>
              <p:nvPr/>
            </p:nvSpPr>
            <p:spPr bwMode="auto">
              <a:xfrm>
                <a:off x="3557" y="1998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7" name="Freeform 53"/>
              <p:cNvSpPr>
                <a:spLocks/>
              </p:cNvSpPr>
              <p:nvPr/>
            </p:nvSpPr>
            <p:spPr bwMode="auto">
              <a:xfrm>
                <a:off x="3557" y="2012"/>
                <a:ext cx="319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8" name="Freeform 54"/>
              <p:cNvSpPr>
                <a:spLocks/>
              </p:cNvSpPr>
              <p:nvPr/>
            </p:nvSpPr>
            <p:spPr bwMode="auto">
              <a:xfrm>
                <a:off x="3557" y="1947"/>
                <a:ext cx="320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79" name="Freeform 55"/>
              <p:cNvSpPr>
                <a:spLocks/>
              </p:cNvSpPr>
              <p:nvPr/>
            </p:nvSpPr>
            <p:spPr bwMode="auto">
              <a:xfrm>
                <a:off x="3557" y="1962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0" name="Freeform 56"/>
              <p:cNvSpPr>
                <a:spLocks/>
              </p:cNvSpPr>
              <p:nvPr/>
            </p:nvSpPr>
            <p:spPr bwMode="auto">
              <a:xfrm>
                <a:off x="3557" y="1976"/>
                <a:ext cx="31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1" name="Freeform 57"/>
              <p:cNvSpPr>
                <a:spLocks/>
              </p:cNvSpPr>
              <p:nvPr/>
            </p:nvSpPr>
            <p:spPr bwMode="auto">
              <a:xfrm>
                <a:off x="3557" y="1991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2" name="Freeform 58"/>
              <p:cNvSpPr>
                <a:spLocks/>
              </p:cNvSpPr>
              <p:nvPr/>
            </p:nvSpPr>
            <p:spPr bwMode="auto">
              <a:xfrm>
                <a:off x="3557" y="200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3" name="Freeform 59"/>
              <p:cNvSpPr>
                <a:spLocks/>
              </p:cNvSpPr>
              <p:nvPr/>
            </p:nvSpPr>
            <p:spPr bwMode="auto">
              <a:xfrm>
                <a:off x="3557" y="2020"/>
                <a:ext cx="32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4" name="Freeform 60"/>
              <p:cNvSpPr>
                <a:spLocks/>
              </p:cNvSpPr>
              <p:nvPr/>
            </p:nvSpPr>
            <p:spPr bwMode="auto">
              <a:xfrm>
                <a:off x="3557" y="2027"/>
                <a:ext cx="3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5" name="Freeform 61"/>
              <p:cNvSpPr>
                <a:spLocks/>
              </p:cNvSpPr>
              <p:nvPr/>
            </p:nvSpPr>
            <p:spPr bwMode="auto">
              <a:xfrm>
                <a:off x="3225" y="1919"/>
                <a:ext cx="663" cy="134"/>
              </a:xfrm>
              <a:custGeom>
                <a:avLst/>
                <a:gdLst/>
                <a:ah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6" name="Freeform 62"/>
              <p:cNvSpPr>
                <a:spLocks noEditPoints="1"/>
              </p:cNvSpPr>
              <p:nvPr/>
            </p:nvSpPr>
            <p:spPr bwMode="auto">
              <a:xfrm>
                <a:off x="3557" y="1919"/>
                <a:ext cx="331" cy="134"/>
              </a:xfrm>
              <a:custGeom>
                <a:avLst/>
                <a:gdLst/>
                <a:ah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7" name="Rectangle 63"/>
              <p:cNvSpPr>
                <a:spLocks noChangeArrowheads="1"/>
              </p:cNvSpPr>
              <p:nvPr/>
            </p:nvSpPr>
            <p:spPr bwMode="auto"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8" name="Rectangle 64"/>
              <p:cNvSpPr>
                <a:spLocks noChangeArrowheads="1"/>
              </p:cNvSpPr>
              <p:nvPr/>
            </p:nvSpPr>
            <p:spPr bwMode="auto"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89" name="Rectangle 65"/>
              <p:cNvSpPr>
                <a:spLocks noChangeArrowheads="1"/>
              </p:cNvSpPr>
              <p:nvPr/>
            </p:nvSpPr>
            <p:spPr bwMode="auto"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0" name="Rectangle 66"/>
              <p:cNvSpPr>
                <a:spLocks noChangeArrowheads="1"/>
              </p:cNvSpPr>
              <p:nvPr/>
            </p:nvSpPr>
            <p:spPr bwMode="auto"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1" name="Rectangle 67"/>
              <p:cNvSpPr>
                <a:spLocks noChangeArrowheads="1"/>
              </p:cNvSpPr>
              <p:nvPr/>
            </p:nvSpPr>
            <p:spPr bwMode="auto"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2" name="Rectangle 68"/>
              <p:cNvSpPr>
                <a:spLocks noChangeArrowheads="1"/>
              </p:cNvSpPr>
              <p:nvPr/>
            </p:nvSpPr>
            <p:spPr bwMode="auto"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3" name="Rectangle 69"/>
              <p:cNvSpPr>
                <a:spLocks noChangeArrowheads="1"/>
              </p:cNvSpPr>
              <p:nvPr/>
            </p:nvSpPr>
            <p:spPr bwMode="auto"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4" name="Rectangle 70"/>
              <p:cNvSpPr>
                <a:spLocks noChangeArrowheads="1"/>
              </p:cNvSpPr>
              <p:nvPr/>
            </p:nvSpPr>
            <p:spPr bwMode="auto"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5" name="Rectangle 71"/>
              <p:cNvSpPr>
                <a:spLocks noChangeArrowheads="1"/>
              </p:cNvSpPr>
              <p:nvPr/>
            </p:nvSpPr>
            <p:spPr bwMode="auto"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6" name="Rectangle 72"/>
              <p:cNvSpPr>
                <a:spLocks noChangeArrowheads="1"/>
              </p:cNvSpPr>
              <p:nvPr/>
            </p:nvSpPr>
            <p:spPr bwMode="auto"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7" name="Rectangle 73"/>
              <p:cNvSpPr>
                <a:spLocks noChangeArrowheads="1"/>
              </p:cNvSpPr>
              <p:nvPr/>
            </p:nvSpPr>
            <p:spPr bwMode="auto"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8" name="Rectangle 74"/>
              <p:cNvSpPr>
                <a:spLocks noChangeArrowheads="1"/>
              </p:cNvSpPr>
              <p:nvPr/>
            </p:nvSpPr>
            <p:spPr bwMode="auto"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99" name="Rectangle 75"/>
              <p:cNvSpPr>
                <a:spLocks noChangeArrowheads="1"/>
              </p:cNvSpPr>
              <p:nvPr/>
            </p:nvSpPr>
            <p:spPr bwMode="auto"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0" name="Freeform 76"/>
              <p:cNvSpPr>
                <a:spLocks/>
              </p:cNvSpPr>
              <p:nvPr/>
            </p:nvSpPr>
            <p:spPr bwMode="auto">
              <a:xfrm>
                <a:off x="3467" y="1773"/>
                <a:ext cx="24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1" name="Freeform 77"/>
              <p:cNvSpPr>
                <a:spLocks/>
              </p:cNvSpPr>
              <p:nvPr/>
            </p:nvSpPr>
            <p:spPr bwMode="auto">
              <a:xfrm>
                <a:off x="3467" y="1794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2" name="Freeform 78"/>
              <p:cNvSpPr>
                <a:spLocks/>
              </p:cNvSpPr>
              <p:nvPr/>
            </p:nvSpPr>
            <p:spPr bwMode="auto">
              <a:xfrm>
                <a:off x="3467" y="181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3" name="Freeform 79"/>
              <p:cNvSpPr>
                <a:spLocks/>
              </p:cNvSpPr>
              <p:nvPr/>
            </p:nvSpPr>
            <p:spPr bwMode="auto">
              <a:xfrm>
                <a:off x="3467" y="1834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4" name="Freeform 80"/>
              <p:cNvSpPr>
                <a:spLocks/>
              </p:cNvSpPr>
              <p:nvPr/>
            </p:nvSpPr>
            <p:spPr bwMode="auto">
              <a:xfrm>
                <a:off x="3467" y="1854"/>
                <a:ext cx="22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5" name="Freeform 81"/>
              <p:cNvSpPr>
                <a:spLocks/>
              </p:cNvSpPr>
              <p:nvPr/>
            </p:nvSpPr>
            <p:spPr bwMode="auto">
              <a:xfrm>
                <a:off x="3467" y="1875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6" name="Freeform 82"/>
              <p:cNvSpPr>
                <a:spLocks/>
              </p:cNvSpPr>
              <p:nvPr/>
            </p:nvSpPr>
            <p:spPr bwMode="auto">
              <a:xfrm>
                <a:off x="3467" y="1783"/>
                <a:ext cx="23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7" name="Freeform 83"/>
              <p:cNvSpPr>
                <a:spLocks/>
              </p:cNvSpPr>
              <p:nvPr/>
            </p:nvSpPr>
            <p:spPr bwMode="auto">
              <a:xfrm>
                <a:off x="3467" y="1804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8" name="Freeform 84"/>
              <p:cNvSpPr>
                <a:spLocks/>
              </p:cNvSpPr>
              <p:nvPr/>
            </p:nvSpPr>
            <p:spPr bwMode="auto">
              <a:xfrm>
                <a:off x="3467" y="182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9" name="Freeform 85"/>
              <p:cNvSpPr>
                <a:spLocks/>
              </p:cNvSpPr>
              <p:nvPr/>
            </p:nvSpPr>
            <p:spPr bwMode="auto">
              <a:xfrm>
                <a:off x="3467" y="184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0" name="Freeform 86"/>
              <p:cNvSpPr>
                <a:spLocks/>
              </p:cNvSpPr>
              <p:nvPr/>
            </p:nvSpPr>
            <p:spPr bwMode="auto">
              <a:xfrm>
                <a:off x="3467" y="1865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1" name="Freeform 87"/>
              <p:cNvSpPr>
                <a:spLocks/>
              </p:cNvSpPr>
              <p:nvPr/>
            </p:nvSpPr>
            <p:spPr bwMode="auto">
              <a:xfrm>
                <a:off x="3467" y="1885"/>
                <a:ext cx="236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2" name="Freeform 88"/>
              <p:cNvSpPr>
                <a:spLocks/>
              </p:cNvSpPr>
              <p:nvPr/>
            </p:nvSpPr>
            <p:spPr bwMode="auto">
              <a:xfrm>
                <a:off x="3467" y="1895"/>
                <a:ext cx="23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3" name="Freeform 89"/>
              <p:cNvSpPr>
                <a:spLocks/>
              </p:cNvSpPr>
              <p:nvPr/>
            </p:nvSpPr>
            <p:spPr bwMode="auto">
              <a:xfrm>
                <a:off x="3212" y="1756"/>
                <a:ext cx="510" cy="163"/>
              </a:xfrm>
              <a:custGeom>
                <a:avLst/>
                <a:gdLst/>
                <a:ah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4" name="Freeform 90"/>
              <p:cNvSpPr>
                <a:spLocks/>
              </p:cNvSpPr>
              <p:nvPr/>
            </p:nvSpPr>
            <p:spPr bwMode="auto">
              <a:xfrm>
                <a:off x="3212" y="1756"/>
                <a:ext cx="255" cy="163"/>
              </a:xfrm>
              <a:custGeom>
                <a:avLst/>
                <a:gdLst/>
                <a:ah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5" name="Freeform 91"/>
              <p:cNvSpPr>
                <a:spLocks/>
              </p:cNvSpPr>
              <p:nvPr/>
            </p:nvSpPr>
            <p:spPr bwMode="auto">
              <a:xfrm>
                <a:off x="3245" y="2299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6" name="Freeform 92"/>
              <p:cNvSpPr>
                <a:spLocks/>
              </p:cNvSpPr>
              <p:nvPr/>
            </p:nvSpPr>
            <p:spPr bwMode="auto">
              <a:xfrm>
                <a:off x="3245" y="2299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7" name="Rectangle 93"/>
              <p:cNvSpPr>
                <a:spLocks noChangeArrowheads="1"/>
              </p:cNvSpPr>
              <p:nvPr/>
            </p:nvSpPr>
            <p:spPr bwMode="auto"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8" name="Rectangle 94"/>
              <p:cNvSpPr>
                <a:spLocks noChangeArrowheads="1"/>
              </p:cNvSpPr>
              <p:nvPr/>
            </p:nvSpPr>
            <p:spPr bwMode="auto"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19" name="Rectangle 95"/>
              <p:cNvSpPr>
                <a:spLocks noChangeArrowheads="1"/>
              </p:cNvSpPr>
              <p:nvPr/>
            </p:nvSpPr>
            <p:spPr bwMode="auto"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0" name="Rectangle 96"/>
              <p:cNvSpPr>
                <a:spLocks noChangeArrowheads="1"/>
              </p:cNvSpPr>
              <p:nvPr/>
            </p:nvSpPr>
            <p:spPr bwMode="auto"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1" name="Freeform 97"/>
              <p:cNvSpPr>
                <a:spLocks/>
              </p:cNvSpPr>
              <p:nvPr/>
            </p:nvSpPr>
            <p:spPr bwMode="auto">
              <a:xfrm>
                <a:off x="3210" y="2176"/>
                <a:ext cx="583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2" name="Freeform 98"/>
              <p:cNvSpPr>
                <a:spLocks/>
              </p:cNvSpPr>
              <p:nvPr/>
            </p:nvSpPr>
            <p:spPr bwMode="auto">
              <a:xfrm>
                <a:off x="3210" y="2176"/>
                <a:ext cx="291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3" name="Rectangle 99"/>
              <p:cNvSpPr>
                <a:spLocks noChangeArrowheads="1"/>
              </p:cNvSpPr>
              <p:nvPr/>
            </p:nvSpPr>
            <p:spPr bwMode="auto"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4" name="Rectangle 100"/>
              <p:cNvSpPr>
                <a:spLocks noChangeArrowheads="1"/>
              </p:cNvSpPr>
              <p:nvPr/>
            </p:nvSpPr>
            <p:spPr bwMode="auto"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5" name="Rectangle 101"/>
              <p:cNvSpPr>
                <a:spLocks noChangeArrowheads="1"/>
              </p:cNvSpPr>
              <p:nvPr/>
            </p:nvSpPr>
            <p:spPr bwMode="auto"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6" name="Rectangle 102"/>
              <p:cNvSpPr>
                <a:spLocks noChangeArrowheads="1"/>
              </p:cNvSpPr>
              <p:nvPr/>
            </p:nvSpPr>
            <p:spPr bwMode="auto"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7" name="Freeform 103"/>
              <p:cNvSpPr>
                <a:spLocks/>
              </p:cNvSpPr>
              <p:nvPr/>
            </p:nvSpPr>
            <p:spPr bwMode="auto">
              <a:xfrm>
                <a:off x="3245" y="2053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8" name="Freeform 104"/>
              <p:cNvSpPr>
                <a:spLocks/>
              </p:cNvSpPr>
              <p:nvPr/>
            </p:nvSpPr>
            <p:spPr bwMode="auto">
              <a:xfrm>
                <a:off x="3245" y="2053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29" name="Rectangle 105"/>
              <p:cNvSpPr>
                <a:spLocks noChangeArrowheads="1"/>
              </p:cNvSpPr>
              <p:nvPr/>
            </p:nvSpPr>
            <p:spPr bwMode="auto"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0" name="Rectangle 106"/>
              <p:cNvSpPr>
                <a:spLocks noChangeArrowheads="1"/>
              </p:cNvSpPr>
              <p:nvPr/>
            </p:nvSpPr>
            <p:spPr bwMode="auto"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1" name="Rectangle 107"/>
              <p:cNvSpPr>
                <a:spLocks noChangeArrowheads="1"/>
              </p:cNvSpPr>
              <p:nvPr/>
            </p:nvSpPr>
            <p:spPr bwMode="auto"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2" name="Rectangle 108"/>
              <p:cNvSpPr>
                <a:spLocks noChangeArrowheads="1"/>
              </p:cNvSpPr>
              <p:nvPr/>
            </p:nvSpPr>
            <p:spPr bwMode="auto"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3" name="Freeform 109"/>
              <p:cNvSpPr>
                <a:spLocks/>
              </p:cNvSpPr>
              <p:nvPr/>
            </p:nvSpPr>
            <p:spPr bwMode="auto">
              <a:xfrm>
                <a:off x="3172" y="2422"/>
                <a:ext cx="498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4" name="Freeform 110"/>
              <p:cNvSpPr>
                <a:spLocks/>
              </p:cNvSpPr>
              <p:nvPr/>
            </p:nvSpPr>
            <p:spPr bwMode="auto">
              <a:xfrm>
                <a:off x="3172" y="2422"/>
                <a:ext cx="337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5" name="Rectangle 111"/>
              <p:cNvSpPr>
                <a:spLocks noChangeArrowheads="1"/>
              </p:cNvSpPr>
              <p:nvPr/>
            </p:nvSpPr>
            <p:spPr bwMode="auto"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6" name="Rectangle 112"/>
              <p:cNvSpPr>
                <a:spLocks noChangeArrowheads="1"/>
              </p:cNvSpPr>
              <p:nvPr/>
            </p:nvSpPr>
            <p:spPr bwMode="auto"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7" name="Freeform 113"/>
              <p:cNvSpPr>
                <a:spLocks/>
              </p:cNvSpPr>
              <p:nvPr/>
            </p:nvSpPr>
            <p:spPr bwMode="auto">
              <a:xfrm>
                <a:off x="3509" y="2459"/>
                <a:ext cx="140" cy="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8" name="Rectangle 114"/>
              <p:cNvSpPr>
                <a:spLocks noChangeArrowheads="1"/>
              </p:cNvSpPr>
              <p:nvPr/>
            </p:nvSpPr>
            <p:spPr bwMode="auto"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39" name="Rectangle 115"/>
              <p:cNvSpPr>
                <a:spLocks noChangeArrowheads="1"/>
              </p:cNvSpPr>
              <p:nvPr/>
            </p:nvSpPr>
            <p:spPr bwMode="auto"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0" name="Rectangle 116"/>
              <p:cNvSpPr>
                <a:spLocks noChangeArrowheads="1"/>
              </p:cNvSpPr>
              <p:nvPr/>
            </p:nvSpPr>
            <p:spPr bwMode="auto"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1" name="Rectangle 117"/>
              <p:cNvSpPr>
                <a:spLocks noChangeArrowheads="1"/>
              </p:cNvSpPr>
              <p:nvPr/>
            </p:nvSpPr>
            <p:spPr bwMode="auto"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2" name="Rectangle 118"/>
              <p:cNvSpPr>
                <a:spLocks noChangeArrowheads="1"/>
              </p:cNvSpPr>
              <p:nvPr/>
            </p:nvSpPr>
            <p:spPr bwMode="auto"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3" name="Rectangle 119"/>
              <p:cNvSpPr>
                <a:spLocks noChangeArrowheads="1"/>
              </p:cNvSpPr>
              <p:nvPr/>
            </p:nvSpPr>
            <p:spPr bwMode="auto"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4" name="Rectangle 120"/>
              <p:cNvSpPr>
                <a:spLocks noChangeArrowheads="1"/>
              </p:cNvSpPr>
              <p:nvPr/>
            </p:nvSpPr>
            <p:spPr bwMode="auto"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5" name="Rectangle 121"/>
              <p:cNvSpPr>
                <a:spLocks noChangeArrowheads="1"/>
              </p:cNvSpPr>
              <p:nvPr/>
            </p:nvSpPr>
            <p:spPr bwMode="auto"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6" name="Rectangle 122"/>
              <p:cNvSpPr>
                <a:spLocks noChangeArrowheads="1"/>
              </p:cNvSpPr>
              <p:nvPr/>
            </p:nvSpPr>
            <p:spPr bwMode="auto"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7" name="Rectangle 123"/>
              <p:cNvSpPr>
                <a:spLocks noChangeArrowheads="1"/>
              </p:cNvSpPr>
              <p:nvPr/>
            </p:nvSpPr>
            <p:spPr bwMode="auto"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8" name="Rectangle 124"/>
              <p:cNvSpPr>
                <a:spLocks noChangeArrowheads="1"/>
              </p:cNvSpPr>
              <p:nvPr/>
            </p:nvSpPr>
            <p:spPr bwMode="auto"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49" name="Rectangle 125"/>
              <p:cNvSpPr>
                <a:spLocks noChangeArrowheads="1"/>
              </p:cNvSpPr>
              <p:nvPr/>
            </p:nvSpPr>
            <p:spPr bwMode="auto"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0" name="Rectangle 126"/>
              <p:cNvSpPr>
                <a:spLocks noChangeArrowheads="1"/>
              </p:cNvSpPr>
              <p:nvPr/>
            </p:nvSpPr>
            <p:spPr bwMode="auto"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1" name="Rectangle 127"/>
              <p:cNvSpPr>
                <a:spLocks noChangeArrowheads="1"/>
              </p:cNvSpPr>
              <p:nvPr/>
            </p:nvSpPr>
            <p:spPr bwMode="auto"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2" name="Rectangle 128"/>
              <p:cNvSpPr>
                <a:spLocks noChangeArrowheads="1"/>
              </p:cNvSpPr>
              <p:nvPr/>
            </p:nvSpPr>
            <p:spPr bwMode="auto"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3" name="Rectangle 129"/>
              <p:cNvSpPr>
                <a:spLocks noChangeArrowheads="1"/>
              </p:cNvSpPr>
              <p:nvPr/>
            </p:nvSpPr>
            <p:spPr bwMode="auto"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4" name="Rectangle 130"/>
              <p:cNvSpPr>
                <a:spLocks noChangeArrowheads="1"/>
              </p:cNvSpPr>
              <p:nvPr/>
            </p:nvSpPr>
            <p:spPr bwMode="auto"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5" name="Rectangle 131"/>
              <p:cNvSpPr>
                <a:spLocks noChangeArrowheads="1"/>
              </p:cNvSpPr>
              <p:nvPr/>
            </p:nvSpPr>
            <p:spPr bwMode="auto"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6" name="Freeform 132"/>
              <p:cNvSpPr>
                <a:spLocks/>
              </p:cNvSpPr>
              <p:nvPr/>
            </p:nvSpPr>
            <p:spPr bwMode="auto">
              <a:xfrm>
                <a:off x="3968" y="2460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7" name="Freeform 133"/>
              <p:cNvSpPr>
                <a:spLocks/>
              </p:cNvSpPr>
              <p:nvPr/>
            </p:nvSpPr>
            <p:spPr bwMode="auto">
              <a:xfrm>
                <a:off x="3968" y="247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8" name="Freeform 134"/>
              <p:cNvSpPr>
                <a:spLocks/>
              </p:cNvSpPr>
              <p:nvPr/>
            </p:nvSpPr>
            <p:spPr bwMode="auto">
              <a:xfrm>
                <a:off x="3968" y="2488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59" name="Freeform 135"/>
              <p:cNvSpPr>
                <a:spLocks/>
              </p:cNvSpPr>
              <p:nvPr/>
            </p:nvSpPr>
            <p:spPr bwMode="auto">
              <a:xfrm>
                <a:off x="3968" y="2503"/>
                <a:ext cx="31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0" name="Freeform 136"/>
              <p:cNvSpPr>
                <a:spLocks/>
              </p:cNvSpPr>
              <p:nvPr/>
            </p:nvSpPr>
            <p:spPr bwMode="auto">
              <a:xfrm>
                <a:off x="3968" y="2517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1" name="Freeform 137"/>
              <p:cNvSpPr>
                <a:spLocks/>
              </p:cNvSpPr>
              <p:nvPr/>
            </p:nvSpPr>
            <p:spPr bwMode="auto">
              <a:xfrm>
                <a:off x="3968" y="2531"/>
                <a:ext cx="31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2" name="Freeform 138"/>
              <p:cNvSpPr>
                <a:spLocks/>
              </p:cNvSpPr>
              <p:nvPr/>
            </p:nvSpPr>
            <p:spPr bwMode="auto">
              <a:xfrm>
                <a:off x="3968" y="2467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3" name="Freeform 139"/>
              <p:cNvSpPr>
                <a:spLocks/>
              </p:cNvSpPr>
              <p:nvPr/>
            </p:nvSpPr>
            <p:spPr bwMode="auto">
              <a:xfrm>
                <a:off x="3968" y="2481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4" name="Freeform 140"/>
              <p:cNvSpPr>
                <a:spLocks/>
              </p:cNvSpPr>
              <p:nvPr/>
            </p:nvSpPr>
            <p:spPr bwMode="auto">
              <a:xfrm>
                <a:off x="3968" y="2495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5" name="Freeform 141"/>
              <p:cNvSpPr>
                <a:spLocks/>
              </p:cNvSpPr>
              <p:nvPr/>
            </p:nvSpPr>
            <p:spPr bwMode="auto">
              <a:xfrm>
                <a:off x="3968" y="2509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6" name="Freeform 142"/>
              <p:cNvSpPr>
                <a:spLocks/>
              </p:cNvSpPr>
              <p:nvPr/>
            </p:nvSpPr>
            <p:spPr bwMode="auto">
              <a:xfrm>
                <a:off x="3968" y="252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7" name="Freeform 143"/>
              <p:cNvSpPr>
                <a:spLocks/>
              </p:cNvSpPr>
              <p:nvPr/>
            </p:nvSpPr>
            <p:spPr bwMode="auto">
              <a:xfrm>
                <a:off x="3968" y="2538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8" name="Freeform 144"/>
              <p:cNvSpPr>
                <a:spLocks/>
              </p:cNvSpPr>
              <p:nvPr/>
            </p:nvSpPr>
            <p:spPr bwMode="auto">
              <a:xfrm>
                <a:off x="3968" y="2545"/>
                <a:ext cx="317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69" name="Freeform 145"/>
              <p:cNvSpPr>
                <a:spLocks/>
              </p:cNvSpPr>
              <p:nvPr/>
            </p:nvSpPr>
            <p:spPr bwMode="auto">
              <a:xfrm>
                <a:off x="3642" y="2439"/>
                <a:ext cx="652" cy="131"/>
              </a:xfrm>
              <a:custGeom>
                <a:avLst/>
                <a:gdLst/>
                <a:ah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0" name="Freeform 146"/>
              <p:cNvSpPr>
                <a:spLocks noEditPoints="1"/>
              </p:cNvSpPr>
              <p:nvPr/>
            </p:nvSpPr>
            <p:spPr bwMode="auto">
              <a:xfrm>
                <a:off x="3968" y="2439"/>
                <a:ext cx="326" cy="131"/>
              </a:xfrm>
              <a:custGeom>
                <a:avLst/>
                <a:gdLst/>
                <a:ah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1" name="Rectangle 147"/>
              <p:cNvSpPr>
                <a:spLocks noChangeArrowheads="1"/>
              </p:cNvSpPr>
              <p:nvPr/>
            </p:nvSpPr>
            <p:spPr bwMode="auto"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2" name="Rectangle 148"/>
              <p:cNvSpPr>
                <a:spLocks noChangeArrowheads="1"/>
              </p:cNvSpPr>
              <p:nvPr/>
            </p:nvSpPr>
            <p:spPr bwMode="auto"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3" name="Rectangle 149"/>
              <p:cNvSpPr>
                <a:spLocks noChangeArrowheads="1"/>
              </p:cNvSpPr>
              <p:nvPr/>
            </p:nvSpPr>
            <p:spPr bwMode="auto"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4" name="Rectangle 150"/>
              <p:cNvSpPr>
                <a:spLocks noChangeArrowheads="1"/>
              </p:cNvSpPr>
              <p:nvPr/>
            </p:nvSpPr>
            <p:spPr bwMode="auto"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5" name="Rectangle 151"/>
              <p:cNvSpPr>
                <a:spLocks noChangeArrowheads="1"/>
              </p:cNvSpPr>
              <p:nvPr/>
            </p:nvSpPr>
            <p:spPr bwMode="auto"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6" name="Rectangle 152"/>
              <p:cNvSpPr>
                <a:spLocks noChangeArrowheads="1"/>
              </p:cNvSpPr>
              <p:nvPr/>
            </p:nvSpPr>
            <p:spPr bwMode="auto"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7" name="Rectangle 153"/>
              <p:cNvSpPr>
                <a:spLocks noChangeArrowheads="1"/>
              </p:cNvSpPr>
              <p:nvPr/>
            </p:nvSpPr>
            <p:spPr bwMode="auto"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8" name="Rectangle 154"/>
              <p:cNvSpPr>
                <a:spLocks noChangeArrowheads="1"/>
              </p:cNvSpPr>
              <p:nvPr/>
            </p:nvSpPr>
            <p:spPr bwMode="auto"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79" name="Rectangle 155"/>
              <p:cNvSpPr>
                <a:spLocks noChangeArrowheads="1"/>
              </p:cNvSpPr>
              <p:nvPr/>
            </p:nvSpPr>
            <p:spPr bwMode="auto"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0" name="Rectangle 156"/>
              <p:cNvSpPr>
                <a:spLocks noChangeArrowheads="1"/>
              </p:cNvSpPr>
              <p:nvPr/>
            </p:nvSpPr>
            <p:spPr bwMode="auto"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1" name="Rectangle 157"/>
              <p:cNvSpPr>
                <a:spLocks noChangeArrowheads="1"/>
              </p:cNvSpPr>
              <p:nvPr/>
            </p:nvSpPr>
            <p:spPr bwMode="auto"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2" name="Rectangle 158"/>
              <p:cNvSpPr>
                <a:spLocks noChangeArrowheads="1"/>
              </p:cNvSpPr>
              <p:nvPr/>
            </p:nvSpPr>
            <p:spPr bwMode="auto"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3" name="Rectangle 159"/>
              <p:cNvSpPr>
                <a:spLocks noChangeArrowheads="1"/>
              </p:cNvSpPr>
              <p:nvPr/>
            </p:nvSpPr>
            <p:spPr bwMode="auto"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4" name="Rectangle 160"/>
              <p:cNvSpPr>
                <a:spLocks noChangeArrowheads="1"/>
              </p:cNvSpPr>
              <p:nvPr/>
            </p:nvSpPr>
            <p:spPr bwMode="auto"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5" name="Rectangle 161"/>
              <p:cNvSpPr>
                <a:spLocks noChangeArrowheads="1"/>
              </p:cNvSpPr>
              <p:nvPr/>
            </p:nvSpPr>
            <p:spPr bwMode="auto"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6" name="Rectangle 162"/>
              <p:cNvSpPr>
                <a:spLocks noChangeArrowheads="1"/>
              </p:cNvSpPr>
              <p:nvPr/>
            </p:nvSpPr>
            <p:spPr bwMode="auto"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7" name="Freeform 163"/>
              <p:cNvSpPr>
                <a:spLocks/>
              </p:cNvSpPr>
              <p:nvPr/>
            </p:nvSpPr>
            <p:spPr bwMode="auto">
              <a:xfrm>
                <a:off x="3995" y="2344"/>
                <a:ext cx="77" cy="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8" name="Freeform 164"/>
              <p:cNvSpPr>
                <a:spLocks/>
              </p:cNvSpPr>
              <p:nvPr/>
            </p:nvSpPr>
            <p:spPr bwMode="auto">
              <a:xfrm>
                <a:off x="3995" y="2351"/>
                <a:ext cx="71" cy="7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89" name="Freeform 165"/>
              <p:cNvSpPr>
                <a:spLocks/>
              </p:cNvSpPr>
              <p:nvPr/>
            </p:nvSpPr>
            <p:spPr bwMode="auto">
              <a:xfrm>
                <a:off x="3995" y="2357"/>
                <a:ext cx="65" cy="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0" name="Freeform 166"/>
              <p:cNvSpPr>
                <a:spLocks/>
              </p:cNvSpPr>
              <p:nvPr/>
            </p:nvSpPr>
            <p:spPr bwMode="auto">
              <a:xfrm>
                <a:off x="3995" y="2363"/>
                <a:ext cx="59" cy="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1" name="Freeform 167"/>
              <p:cNvSpPr>
                <a:spLocks/>
              </p:cNvSpPr>
              <p:nvPr/>
            </p:nvSpPr>
            <p:spPr bwMode="auto">
              <a:xfrm>
                <a:off x="3995" y="2369"/>
                <a:ext cx="53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2" name="Freeform 168"/>
              <p:cNvSpPr>
                <a:spLocks/>
              </p:cNvSpPr>
              <p:nvPr/>
            </p:nvSpPr>
            <p:spPr bwMode="auto">
              <a:xfrm>
                <a:off x="3995" y="2375"/>
                <a:ext cx="47" cy="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3" name="Freeform 169"/>
              <p:cNvSpPr>
                <a:spLocks/>
              </p:cNvSpPr>
              <p:nvPr/>
            </p:nvSpPr>
            <p:spPr bwMode="auto">
              <a:xfrm>
                <a:off x="3995" y="2381"/>
                <a:ext cx="41" cy="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4" name="Freeform 170"/>
              <p:cNvSpPr>
                <a:spLocks/>
              </p:cNvSpPr>
              <p:nvPr/>
            </p:nvSpPr>
            <p:spPr bwMode="auto">
              <a:xfrm>
                <a:off x="3995" y="2388"/>
                <a:ext cx="34" cy="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5" name="Freeform 171"/>
              <p:cNvSpPr>
                <a:spLocks/>
              </p:cNvSpPr>
              <p:nvPr/>
            </p:nvSpPr>
            <p:spPr bwMode="auto">
              <a:xfrm>
                <a:off x="3995" y="2394"/>
                <a:ext cx="28" cy="2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6" name="Freeform 172"/>
              <p:cNvSpPr>
                <a:spLocks/>
              </p:cNvSpPr>
              <p:nvPr/>
            </p:nvSpPr>
            <p:spPr bwMode="auto">
              <a:xfrm>
                <a:off x="3995" y="2400"/>
                <a:ext cx="22" cy="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7" name="Freeform 173"/>
              <p:cNvSpPr>
                <a:spLocks/>
              </p:cNvSpPr>
              <p:nvPr/>
            </p:nvSpPr>
            <p:spPr bwMode="auto">
              <a:xfrm>
                <a:off x="3995" y="2406"/>
                <a:ext cx="16" cy="1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8" name="Freeform 174"/>
              <p:cNvSpPr>
                <a:spLocks/>
              </p:cNvSpPr>
              <p:nvPr/>
            </p:nvSpPr>
            <p:spPr bwMode="auto">
              <a:xfrm>
                <a:off x="3995" y="2412"/>
                <a:ext cx="10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9" name="Freeform 175"/>
              <p:cNvSpPr>
                <a:spLocks/>
              </p:cNvSpPr>
              <p:nvPr/>
            </p:nvSpPr>
            <p:spPr bwMode="auto">
              <a:xfrm>
                <a:off x="3995" y="2418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0" name="Rectangle 176"/>
              <p:cNvSpPr>
                <a:spLocks noChangeArrowheads="1"/>
              </p:cNvSpPr>
              <p:nvPr/>
            </p:nvSpPr>
            <p:spPr bwMode="auto"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1" name="Rectangle 177"/>
              <p:cNvSpPr>
                <a:spLocks noChangeArrowheads="1"/>
              </p:cNvSpPr>
              <p:nvPr/>
            </p:nvSpPr>
            <p:spPr bwMode="auto"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2" name="Rectangle 178"/>
              <p:cNvSpPr>
                <a:spLocks noChangeArrowheads="1"/>
              </p:cNvSpPr>
              <p:nvPr/>
            </p:nvSpPr>
            <p:spPr bwMode="auto"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3" name="Rectangle 179"/>
              <p:cNvSpPr>
                <a:spLocks noChangeArrowheads="1"/>
              </p:cNvSpPr>
              <p:nvPr/>
            </p:nvSpPr>
            <p:spPr bwMode="auto"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4" name="Rectangle 180"/>
              <p:cNvSpPr>
                <a:spLocks noChangeArrowheads="1"/>
              </p:cNvSpPr>
              <p:nvPr/>
            </p:nvSpPr>
            <p:spPr bwMode="auto"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5" name="Rectangle 181"/>
              <p:cNvSpPr>
                <a:spLocks noChangeArrowheads="1"/>
              </p:cNvSpPr>
              <p:nvPr/>
            </p:nvSpPr>
            <p:spPr bwMode="auto"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6" name="Rectangle 182"/>
              <p:cNvSpPr>
                <a:spLocks noChangeArrowheads="1"/>
              </p:cNvSpPr>
              <p:nvPr/>
            </p:nvSpPr>
            <p:spPr bwMode="auto"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7" name="Rectangle 183"/>
              <p:cNvSpPr>
                <a:spLocks noChangeArrowheads="1"/>
              </p:cNvSpPr>
              <p:nvPr/>
            </p:nvSpPr>
            <p:spPr bwMode="auto"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8" name="Rectangle 184"/>
              <p:cNvSpPr>
                <a:spLocks noChangeArrowheads="1"/>
              </p:cNvSpPr>
              <p:nvPr/>
            </p:nvSpPr>
            <p:spPr bwMode="auto"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09" name="Rectangle 185"/>
              <p:cNvSpPr>
                <a:spLocks noChangeArrowheads="1"/>
              </p:cNvSpPr>
              <p:nvPr/>
            </p:nvSpPr>
            <p:spPr bwMode="auto"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0" name="Rectangle 186"/>
              <p:cNvSpPr>
                <a:spLocks noChangeArrowheads="1"/>
              </p:cNvSpPr>
              <p:nvPr/>
            </p:nvSpPr>
            <p:spPr bwMode="auto"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1" name="Rectangle 187"/>
              <p:cNvSpPr>
                <a:spLocks noChangeArrowheads="1"/>
              </p:cNvSpPr>
              <p:nvPr/>
            </p:nvSpPr>
            <p:spPr bwMode="auto"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2" name="Rectangle 188"/>
              <p:cNvSpPr>
                <a:spLocks noChangeArrowheads="1"/>
              </p:cNvSpPr>
              <p:nvPr/>
            </p:nvSpPr>
            <p:spPr bwMode="auto"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3" name="Freeform 189"/>
              <p:cNvSpPr>
                <a:spLocks/>
              </p:cNvSpPr>
              <p:nvPr/>
            </p:nvSpPr>
            <p:spPr bwMode="auto">
              <a:xfrm>
                <a:off x="4072" y="2344"/>
                <a:ext cx="78" cy="79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4" name="Freeform 190"/>
              <p:cNvSpPr>
                <a:spLocks/>
              </p:cNvSpPr>
              <p:nvPr/>
            </p:nvSpPr>
            <p:spPr bwMode="auto">
              <a:xfrm>
                <a:off x="4079" y="2351"/>
                <a:ext cx="71" cy="72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5" name="Freeform 191"/>
              <p:cNvSpPr>
                <a:spLocks/>
              </p:cNvSpPr>
              <p:nvPr/>
            </p:nvSpPr>
            <p:spPr bwMode="auto">
              <a:xfrm>
                <a:off x="4085" y="2357"/>
                <a:ext cx="65" cy="66"/>
              </a:xfrm>
              <a:custGeom>
                <a:avLst/>
                <a:gdLst/>
                <a:ah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6" name="Freeform 192"/>
              <p:cNvSpPr>
                <a:spLocks/>
              </p:cNvSpPr>
              <p:nvPr/>
            </p:nvSpPr>
            <p:spPr bwMode="auto">
              <a:xfrm>
                <a:off x="4091" y="2363"/>
                <a:ext cx="59" cy="60"/>
              </a:xfrm>
              <a:custGeom>
                <a:avLst/>
                <a:gdLst/>
                <a:ah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7" name="Freeform 193"/>
              <p:cNvSpPr>
                <a:spLocks/>
              </p:cNvSpPr>
              <p:nvPr/>
            </p:nvSpPr>
            <p:spPr bwMode="auto">
              <a:xfrm>
                <a:off x="4097" y="2369"/>
                <a:ext cx="53" cy="54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8" name="Freeform 194"/>
              <p:cNvSpPr>
                <a:spLocks/>
              </p:cNvSpPr>
              <p:nvPr/>
            </p:nvSpPr>
            <p:spPr bwMode="auto">
              <a:xfrm>
                <a:off x="4103" y="2375"/>
                <a:ext cx="47" cy="48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19" name="Freeform 195"/>
              <p:cNvSpPr>
                <a:spLocks/>
              </p:cNvSpPr>
              <p:nvPr/>
            </p:nvSpPr>
            <p:spPr bwMode="auto">
              <a:xfrm>
                <a:off x="4109" y="2381"/>
                <a:ext cx="41" cy="42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20" name="Freeform 196"/>
              <p:cNvSpPr>
                <a:spLocks/>
              </p:cNvSpPr>
              <p:nvPr/>
            </p:nvSpPr>
            <p:spPr bwMode="auto">
              <a:xfrm>
                <a:off x="4116" y="2388"/>
                <a:ext cx="34" cy="35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21" name="Freeform 197"/>
              <p:cNvSpPr>
                <a:spLocks/>
              </p:cNvSpPr>
              <p:nvPr/>
            </p:nvSpPr>
            <p:spPr bwMode="auto">
              <a:xfrm>
                <a:off x="4122" y="2394"/>
                <a:ext cx="28" cy="29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22" name="Freeform 198"/>
              <p:cNvSpPr>
                <a:spLocks/>
              </p:cNvSpPr>
              <p:nvPr/>
            </p:nvSpPr>
            <p:spPr bwMode="auto">
              <a:xfrm>
                <a:off x="4128" y="2400"/>
                <a:ext cx="22" cy="23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23" name="Freeform 199"/>
              <p:cNvSpPr>
                <a:spLocks/>
              </p:cNvSpPr>
              <p:nvPr/>
            </p:nvSpPr>
            <p:spPr bwMode="auto">
              <a:xfrm>
                <a:off x="4134" y="2406"/>
                <a:ext cx="16" cy="17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24" name="Freeform 200"/>
              <p:cNvSpPr>
                <a:spLocks/>
              </p:cNvSpPr>
              <p:nvPr/>
            </p:nvSpPr>
            <p:spPr bwMode="auto">
              <a:xfrm>
                <a:off x="4140" y="2412"/>
                <a:ext cx="10" cy="11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25" name="Freeform 201"/>
              <p:cNvSpPr>
                <a:spLocks/>
              </p:cNvSpPr>
              <p:nvPr/>
            </p:nvSpPr>
            <p:spPr bwMode="auto">
              <a:xfrm>
                <a:off x="4146" y="2418"/>
                <a:ext cx="4" cy="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26" name="Freeform 202"/>
              <p:cNvSpPr>
                <a:spLocks/>
              </p:cNvSpPr>
              <p:nvPr/>
            </p:nvSpPr>
            <p:spPr bwMode="auto">
              <a:xfrm>
                <a:off x="3995" y="2422"/>
                <a:ext cx="155" cy="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27" name="Rectangle 203"/>
              <p:cNvSpPr>
                <a:spLocks noChangeArrowheads="1"/>
              </p:cNvSpPr>
              <p:nvPr/>
            </p:nvSpPr>
            <p:spPr bwMode="auto"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228" name="Rectangle 204"/>
              <p:cNvSpPr>
                <a:spLocks noChangeArrowheads="1"/>
              </p:cNvSpPr>
              <p:nvPr/>
            </p:nvSpPr>
            <p:spPr bwMode="auto"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230" name="Rectangle 206"/>
            <p:cNvSpPr>
              <a:spLocks noChangeArrowheads="1"/>
            </p:cNvSpPr>
            <p:nvPr/>
          </p:nvSpPr>
          <p:spPr bwMode="auto"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233" name="Group 209"/>
          <p:cNvGrpSpPr>
            <a:grpSpLocks noChangeAspect="1"/>
          </p:cNvGrpSpPr>
          <p:nvPr/>
        </p:nvGrpSpPr>
        <p:grpSpPr bwMode="auto">
          <a:xfrm>
            <a:off x="206939" y="3465830"/>
            <a:ext cx="942975" cy="800100"/>
            <a:chOff x="97" y="2164"/>
            <a:chExt cx="792" cy="504"/>
          </a:xfrm>
        </p:grpSpPr>
        <p:sp>
          <p:nvSpPr>
            <p:cNvPr id="1232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34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35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37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38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39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0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1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2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3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4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5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6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7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5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6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7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8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59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0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1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2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79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0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3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5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7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89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0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2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4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6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8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0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2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4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6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8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09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5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21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</p:grpSp>
      <p:pic>
        <p:nvPicPr>
          <p:cNvPr id="350" name="Рисунок 349" descr="004.em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7651" y="4982332"/>
            <a:ext cx="1124507" cy="896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407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3" y="6338424"/>
            <a:ext cx="539552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60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15</a:t>
            </a:fld>
            <a:endParaRPr lang="en" sz="16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13" name="Рисунок 12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787864"/>
            <a:ext cx="9144000" cy="70136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 flipH="1">
            <a:off x="0" y="98356"/>
            <a:ext cx="9144000" cy="859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5" rIns="121908" bIns="60955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 flipH="1">
            <a:off x="1979712" y="96045"/>
            <a:ext cx="7164288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5" rIns="121908" bIns="60955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1551214" y="192428"/>
            <a:ext cx="1538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44"/>
          <p:cNvGrpSpPr/>
          <p:nvPr/>
        </p:nvGrpSpPr>
        <p:grpSpPr>
          <a:xfrm>
            <a:off x="237448" y="256608"/>
            <a:ext cx="1080050" cy="497938"/>
            <a:chOff x="338369" y="163286"/>
            <a:chExt cx="1440066" cy="497938"/>
          </a:xfrm>
        </p:grpSpPr>
        <p:sp>
          <p:nvSpPr>
            <p:cNvPr id="38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0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4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5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6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7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1673686" y="100641"/>
            <a:ext cx="7470314" cy="621699"/>
          </a:xfrm>
          <a:prstGeom prst="rect">
            <a:avLst/>
          </a:prstGeom>
          <a:noFill/>
        </p:spPr>
        <p:txBody>
          <a:bodyPr wrap="square" lIns="121908" tIns="60955" rIns="121908" bIns="60955" rtlCol="0">
            <a:spAutoFit/>
          </a:bodyPr>
          <a:lstStyle/>
          <a:p>
            <a:pPr defTabSz="914340">
              <a:lnSpc>
                <a:spcPct val="90000"/>
              </a:lnSpc>
            </a:pPr>
            <a:r>
              <a:rPr lang="ru-RU" b="1" spc="-40" dirty="0">
                <a:solidFill>
                  <a:srgbClr val="294790"/>
                </a:solidFill>
              </a:rPr>
              <a:t>Результаты российских учащихся в и</a:t>
            </a:r>
            <a:r>
              <a:rPr lang="en-US" sz="1600" b="1" spc="-40" dirty="0">
                <a:solidFill>
                  <a:srgbClr val="294790"/>
                </a:solidFill>
              </a:rPr>
              <a:t>cc</a:t>
            </a:r>
            <a:r>
              <a:rPr lang="ru-RU" b="1" spc="-40" dirty="0" err="1">
                <a:solidFill>
                  <a:srgbClr val="294790"/>
                </a:solidFill>
              </a:rPr>
              <a:t>ледваниях</a:t>
            </a:r>
            <a:r>
              <a:rPr lang="en-US" b="1" spc="-40" dirty="0">
                <a:solidFill>
                  <a:srgbClr val="294790"/>
                </a:solidFill>
              </a:rPr>
              <a:t> </a:t>
            </a:r>
            <a:r>
              <a:rPr lang="ru-RU" b="1" spc="-40" dirty="0">
                <a:solidFill>
                  <a:srgbClr val="294790"/>
                </a:solidFill>
              </a:rPr>
              <a:t> </a:t>
            </a:r>
            <a:r>
              <a:rPr lang="en-US" b="1" spc="-40" dirty="0">
                <a:solidFill>
                  <a:srgbClr val="294790"/>
                </a:solidFill>
              </a:rPr>
              <a:t>PIRLS, TIMSS, PISA </a:t>
            </a:r>
            <a:endParaRPr lang="ru-RU" b="1" spc="-40" dirty="0">
              <a:solidFill>
                <a:srgbClr val="294790"/>
              </a:solidFill>
            </a:endParaRPr>
          </a:p>
          <a:p>
            <a:pPr defTabSz="914340">
              <a:lnSpc>
                <a:spcPct val="90000"/>
              </a:lnSpc>
            </a:pPr>
            <a:r>
              <a:rPr lang="ru-RU" spc="-40" dirty="0">
                <a:solidFill>
                  <a:srgbClr val="294790"/>
                </a:solidFill>
              </a:rPr>
              <a:t>по всем ступеням общего образования, полученные в 2015 и 2016 годах</a:t>
            </a:r>
            <a:endParaRPr lang="ru-RU" dirty="0">
              <a:solidFill>
                <a:srgbClr val="294790"/>
              </a:solidFill>
            </a:endParaRPr>
          </a:p>
        </p:txBody>
      </p:sp>
      <p:pic>
        <p:nvPicPr>
          <p:cNvPr id="1028" name="Picture 4" descr="http://www.edu.instrao.ru/pluginfile.php/2/course/section/2/LOGO_INSTRAO%20%281%2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88" y="5720510"/>
            <a:ext cx="2473311" cy="81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19" name="Группа 1818"/>
          <p:cNvGrpSpPr/>
          <p:nvPr/>
        </p:nvGrpSpPr>
        <p:grpSpPr>
          <a:xfrm>
            <a:off x="237228" y="1178567"/>
            <a:ext cx="8378297" cy="5631304"/>
            <a:chOff x="316032" y="1178560"/>
            <a:chExt cx="11171063" cy="5631304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3623404" y="6255866"/>
              <a:ext cx="5000609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340">
                <a:spcBef>
                  <a:spcPct val="0"/>
                </a:spcBef>
                <a:defRPr/>
              </a:pPr>
              <a:r>
                <a:rPr lang="ru-RU" sz="1500" dirty="0">
                  <a:solidFill>
                    <a:srgbClr val="5B9BD5">
                      <a:lumMod val="75000"/>
                    </a:srgbClr>
                  </a:solidFill>
                </a:rPr>
                <a:t>Данные исследований под рук. </a:t>
              </a:r>
              <a:r>
                <a:rPr lang="ru-RU" sz="1500" dirty="0" err="1">
                  <a:solidFill>
                    <a:srgbClr val="5B9BD5">
                      <a:lumMod val="75000"/>
                    </a:srgbClr>
                  </a:solidFill>
                </a:rPr>
                <a:t>Г.С.Ковалёвой</a:t>
              </a:r>
              <a:endParaRPr lang="ru-RU" sz="1500" dirty="0">
                <a:solidFill>
                  <a:srgbClr val="5B9BD5">
                    <a:lumMod val="75000"/>
                  </a:srgbClr>
                </a:solidFill>
              </a:endParaRPr>
            </a:p>
          </p:txBody>
        </p:sp>
        <p:sp>
          <p:nvSpPr>
            <p:cNvPr id="2051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6032" y="1178560"/>
              <a:ext cx="11089376" cy="4287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grpSp>
          <p:nvGrpSpPr>
            <p:cNvPr id="2253" name="Group 205"/>
            <p:cNvGrpSpPr>
              <a:grpSpLocks/>
            </p:cNvGrpSpPr>
            <p:nvPr/>
          </p:nvGrpSpPr>
          <p:grpSpPr bwMode="auto">
            <a:xfrm>
              <a:off x="730439" y="2517414"/>
              <a:ext cx="3789435" cy="7969"/>
              <a:chOff x="1265" y="1756"/>
              <a:chExt cx="1902" cy="4"/>
            </a:xfrm>
          </p:grpSpPr>
          <p:sp>
            <p:nvSpPr>
              <p:cNvPr id="2053" name="Freeform 5"/>
              <p:cNvSpPr>
                <a:spLocks/>
              </p:cNvSpPr>
              <p:nvPr/>
            </p:nvSpPr>
            <p:spPr bwMode="auto">
              <a:xfrm>
                <a:off x="126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54" name="Rectangle 6"/>
              <p:cNvSpPr>
                <a:spLocks noChangeArrowheads="1"/>
              </p:cNvSpPr>
              <p:nvPr/>
            </p:nvSpPr>
            <p:spPr bwMode="auto">
              <a:xfrm>
                <a:off x="126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55" name="Freeform 7"/>
              <p:cNvSpPr>
                <a:spLocks/>
              </p:cNvSpPr>
              <p:nvPr/>
            </p:nvSpPr>
            <p:spPr bwMode="auto">
              <a:xfrm>
                <a:off x="128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56" name="Freeform 8"/>
              <p:cNvSpPr>
                <a:spLocks/>
              </p:cNvSpPr>
              <p:nvPr/>
            </p:nvSpPr>
            <p:spPr bwMode="auto">
              <a:xfrm>
                <a:off x="129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57" name="Rectangle 9"/>
              <p:cNvSpPr>
                <a:spLocks noChangeArrowheads="1"/>
              </p:cNvSpPr>
              <p:nvPr/>
            </p:nvSpPr>
            <p:spPr bwMode="auto">
              <a:xfrm>
                <a:off x="129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58" name="Freeform 10"/>
              <p:cNvSpPr>
                <a:spLocks/>
              </p:cNvSpPr>
              <p:nvPr/>
            </p:nvSpPr>
            <p:spPr bwMode="auto">
              <a:xfrm>
                <a:off x="1312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59" name="Freeform 11"/>
              <p:cNvSpPr>
                <a:spLocks/>
              </p:cNvSpPr>
              <p:nvPr/>
            </p:nvSpPr>
            <p:spPr bwMode="auto">
              <a:xfrm>
                <a:off x="132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0" name="Rectangle 12"/>
              <p:cNvSpPr>
                <a:spLocks noChangeArrowheads="1"/>
              </p:cNvSpPr>
              <p:nvPr/>
            </p:nvSpPr>
            <p:spPr bwMode="auto">
              <a:xfrm>
                <a:off x="132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1" name="Freeform 13"/>
              <p:cNvSpPr>
                <a:spLocks/>
              </p:cNvSpPr>
              <p:nvPr/>
            </p:nvSpPr>
            <p:spPr bwMode="auto">
              <a:xfrm>
                <a:off x="133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2" name="Freeform 14"/>
              <p:cNvSpPr>
                <a:spLocks/>
              </p:cNvSpPr>
              <p:nvPr/>
            </p:nvSpPr>
            <p:spPr bwMode="auto">
              <a:xfrm>
                <a:off x="1348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3" name="Rectangle 15"/>
              <p:cNvSpPr>
                <a:spLocks noChangeArrowheads="1"/>
              </p:cNvSpPr>
              <p:nvPr/>
            </p:nvSpPr>
            <p:spPr bwMode="auto">
              <a:xfrm>
                <a:off x="1349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4" name="Freeform 16"/>
              <p:cNvSpPr>
                <a:spLocks/>
              </p:cNvSpPr>
              <p:nvPr/>
            </p:nvSpPr>
            <p:spPr bwMode="auto">
              <a:xfrm>
                <a:off x="1367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5" name="Freeform 17"/>
              <p:cNvSpPr>
                <a:spLocks/>
              </p:cNvSpPr>
              <p:nvPr/>
            </p:nvSpPr>
            <p:spPr bwMode="auto">
              <a:xfrm>
                <a:off x="137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6" name="Rectangle 18"/>
              <p:cNvSpPr>
                <a:spLocks noChangeArrowheads="1"/>
              </p:cNvSpPr>
              <p:nvPr/>
            </p:nvSpPr>
            <p:spPr bwMode="auto">
              <a:xfrm>
                <a:off x="137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7" name="Freeform 19"/>
              <p:cNvSpPr>
                <a:spLocks/>
              </p:cNvSpPr>
              <p:nvPr/>
            </p:nvSpPr>
            <p:spPr bwMode="auto">
              <a:xfrm>
                <a:off x="139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8" name="Freeform 20"/>
              <p:cNvSpPr>
                <a:spLocks/>
              </p:cNvSpPr>
              <p:nvPr/>
            </p:nvSpPr>
            <p:spPr bwMode="auto">
              <a:xfrm>
                <a:off x="140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69" name="Rectangle 21"/>
              <p:cNvSpPr>
                <a:spLocks noChangeArrowheads="1"/>
              </p:cNvSpPr>
              <p:nvPr/>
            </p:nvSpPr>
            <p:spPr bwMode="auto">
              <a:xfrm>
                <a:off x="1404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0" name="Freeform 22"/>
              <p:cNvSpPr>
                <a:spLocks/>
              </p:cNvSpPr>
              <p:nvPr/>
            </p:nvSpPr>
            <p:spPr bwMode="auto">
              <a:xfrm>
                <a:off x="1422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1" name="Freeform 23"/>
              <p:cNvSpPr>
                <a:spLocks/>
              </p:cNvSpPr>
              <p:nvPr/>
            </p:nvSpPr>
            <p:spPr bwMode="auto">
              <a:xfrm>
                <a:off x="143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2" name="Rectangle 24"/>
              <p:cNvSpPr>
                <a:spLocks noChangeArrowheads="1"/>
              </p:cNvSpPr>
              <p:nvPr/>
            </p:nvSpPr>
            <p:spPr bwMode="auto">
              <a:xfrm>
                <a:off x="143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3" name="Freeform 25"/>
              <p:cNvSpPr>
                <a:spLocks/>
              </p:cNvSpPr>
              <p:nvPr/>
            </p:nvSpPr>
            <p:spPr bwMode="auto">
              <a:xfrm>
                <a:off x="144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4" name="Freeform 26"/>
              <p:cNvSpPr>
                <a:spLocks/>
              </p:cNvSpPr>
              <p:nvPr/>
            </p:nvSpPr>
            <p:spPr bwMode="auto">
              <a:xfrm>
                <a:off x="145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5" name="Rectangle 27"/>
              <p:cNvSpPr>
                <a:spLocks noChangeArrowheads="1"/>
              </p:cNvSpPr>
              <p:nvPr/>
            </p:nvSpPr>
            <p:spPr bwMode="auto">
              <a:xfrm>
                <a:off x="145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6" name="Freeform 28"/>
              <p:cNvSpPr>
                <a:spLocks/>
              </p:cNvSpPr>
              <p:nvPr/>
            </p:nvSpPr>
            <p:spPr bwMode="auto">
              <a:xfrm>
                <a:off x="147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7" name="Freeform 29"/>
              <p:cNvSpPr>
                <a:spLocks/>
              </p:cNvSpPr>
              <p:nvPr/>
            </p:nvSpPr>
            <p:spPr bwMode="auto">
              <a:xfrm>
                <a:off x="148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8" name="Rectangle 30"/>
              <p:cNvSpPr>
                <a:spLocks noChangeArrowheads="1"/>
              </p:cNvSpPr>
              <p:nvPr/>
            </p:nvSpPr>
            <p:spPr bwMode="auto">
              <a:xfrm>
                <a:off x="148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79" name="Freeform 31"/>
              <p:cNvSpPr>
                <a:spLocks/>
              </p:cNvSpPr>
              <p:nvPr/>
            </p:nvSpPr>
            <p:spPr bwMode="auto">
              <a:xfrm>
                <a:off x="1504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0" name="Freeform 32"/>
              <p:cNvSpPr>
                <a:spLocks/>
              </p:cNvSpPr>
              <p:nvPr/>
            </p:nvSpPr>
            <p:spPr bwMode="auto">
              <a:xfrm>
                <a:off x="151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1" name="Rectangle 33"/>
              <p:cNvSpPr>
                <a:spLocks noChangeArrowheads="1"/>
              </p:cNvSpPr>
              <p:nvPr/>
            </p:nvSpPr>
            <p:spPr bwMode="auto">
              <a:xfrm>
                <a:off x="151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2" name="Freeform 34"/>
              <p:cNvSpPr>
                <a:spLocks/>
              </p:cNvSpPr>
              <p:nvPr/>
            </p:nvSpPr>
            <p:spPr bwMode="auto">
              <a:xfrm>
                <a:off x="153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3" name="Freeform 35"/>
              <p:cNvSpPr>
                <a:spLocks/>
              </p:cNvSpPr>
              <p:nvPr/>
            </p:nvSpPr>
            <p:spPr bwMode="auto">
              <a:xfrm>
                <a:off x="154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4" name="Rectangle 36"/>
              <p:cNvSpPr>
                <a:spLocks noChangeArrowheads="1"/>
              </p:cNvSpPr>
              <p:nvPr/>
            </p:nvSpPr>
            <p:spPr bwMode="auto">
              <a:xfrm>
                <a:off x="154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5" name="Freeform 37"/>
              <p:cNvSpPr>
                <a:spLocks/>
              </p:cNvSpPr>
              <p:nvPr/>
            </p:nvSpPr>
            <p:spPr bwMode="auto">
              <a:xfrm>
                <a:off x="1559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6" name="Freeform 38"/>
              <p:cNvSpPr>
                <a:spLocks/>
              </p:cNvSpPr>
              <p:nvPr/>
            </p:nvSpPr>
            <p:spPr bwMode="auto">
              <a:xfrm>
                <a:off x="156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7" name="Rectangle 39"/>
              <p:cNvSpPr>
                <a:spLocks noChangeArrowheads="1"/>
              </p:cNvSpPr>
              <p:nvPr/>
            </p:nvSpPr>
            <p:spPr bwMode="auto">
              <a:xfrm>
                <a:off x="156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8" name="Freeform 40"/>
              <p:cNvSpPr>
                <a:spLocks/>
              </p:cNvSpPr>
              <p:nvPr/>
            </p:nvSpPr>
            <p:spPr bwMode="auto">
              <a:xfrm>
                <a:off x="158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89" name="Freeform 41"/>
              <p:cNvSpPr>
                <a:spLocks/>
              </p:cNvSpPr>
              <p:nvPr/>
            </p:nvSpPr>
            <p:spPr bwMode="auto">
              <a:xfrm>
                <a:off x="159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0" name="Rectangle 42"/>
              <p:cNvSpPr>
                <a:spLocks noChangeArrowheads="1"/>
              </p:cNvSpPr>
              <p:nvPr/>
            </p:nvSpPr>
            <p:spPr bwMode="auto">
              <a:xfrm>
                <a:off x="159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1" name="Freeform 43"/>
              <p:cNvSpPr>
                <a:spLocks/>
              </p:cNvSpPr>
              <p:nvPr/>
            </p:nvSpPr>
            <p:spPr bwMode="auto">
              <a:xfrm>
                <a:off x="1614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2" name="Freeform 44"/>
              <p:cNvSpPr>
                <a:spLocks/>
              </p:cNvSpPr>
              <p:nvPr/>
            </p:nvSpPr>
            <p:spPr bwMode="auto">
              <a:xfrm>
                <a:off x="162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3" name="Rectangle 45"/>
              <p:cNvSpPr>
                <a:spLocks noChangeArrowheads="1"/>
              </p:cNvSpPr>
              <p:nvPr/>
            </p:nvSpPr>
            <p:spPr bwMode="auto">
              <a:xfrm>
                <a:off x="162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4" name="Freeform 46"/>
              <p:cNvSpPr>
                <a:spLocks/>
              </p:cNvSpPr>
              <p:nvPr/>
            </p:nvSpPr>
            <p:spPr bwMode="auto">
              <a:xfrm>
                <a:off x="164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5" name="Freeform 47"/>
              <p:cNvSpPr>
                <a:spLocks/>
              </p:cNvSpPr>
              <p:nvPr/>
            </p:nvSpPr>
            <p:spPr bwMode="auto">
              <a:xfrm>
                <a:off x="1650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6" name="Rectangle 48"/>
              <p:cNvSpPr>
                <a:spLocks noChangeArrowheads="1"/>
              </p:cNvSpPr>
              <p:nvPr/>
            </p:nvSpPr>
            <p:spPr bwMode="auto">
              <a:xfrm>
                <a:off x="1651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7" name="Freeform 49"/>
              <p:cNvSpPr>
                <a:spLocks/>
              </p:cNvSpPr>
              <p:nvPr/>
            </p:nvSpPr>
            <p:spPr bwMode="auto">
              <a:xfrm>
                <a:off x="1669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8" name="Freeform 50"/>
              <p:cNvSpPr>
                <a:spLocks/>
              </p:cNvSpPr>
              <p:nvPr/>
            </p:nvSpPr>
            <p:spPr bwMode="auto">
              <a:xfrm>
                <a:off x="167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99" name="Rectangle 51"/>
              <p:cNvSpPr>
                <a:spLocks noChangeArrowheads="1"/>
              </p:cNvSpPr>
              <p:nvPr/>
            </p:nvSpPr>
            <p:spPr bwMode="auto">
              <a:xfrm>
                <a:off x="167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0" name="Freeform 52"/>
              <p:cNvSpPr>
                <a:spLocks/>
              </p:cNvSpPr>
              <p:nvPr/>
            </p:nvSpPr>
            <p:spPr bwMode="auto">
              <a:xfrm>
                <a:off x="169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1" name="Freeform 53"/>
              <p:cNvSpPr>
                <a:spLocks/>
              </p:cNvSpPr>
              <p:nvPr/>
            </p:nvSpPr>
            <p:spPr bwMode="auto">
              <a:xfrm>
                <a:off x="1705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2" name="Rectangle 54"/>
              <p:cNvSpPr>
                <a:spLocks noChangeArrowheads="1"/>
              </p:cNvSpPr>
              <p:nvPr/>
            </p:nvSpPr>
            <p:spPr bwMode="auto">
              <a:xfrm>
                <a:off x="1706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3" name="Freeform 55"/>
              <p:cNvSpPr>
                <a:spLocks/>
              </p:cNvSpPr>
              <p:nvPr/>
            </p:nvSpPr>
            <p:spPr bwMode="auto">
              <a:xfrm>
                <a:off x="1724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4" name="Freeform 56"/>
              <p:cNvSpPr>
                <a:spLocks/>
              </p:cNvSpPr>
              <p:nvPr/>
            </p:nvSpPr>
            <p:spPr bwMode="auto">
              <a:xfrm>
                <a:off x="173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5" name="Rectangle 57"/>
              <p:cNvSpPr>
                <a:spLocks noChangeArrowheads="1"/>
              </p:cNvSpPr>
              <p:nvPr/>
            </p:nvSpPr>
            <p:spPr bwMode="auto">
              <a:xfrm>
                <a:off x="173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6" name="Freeform 58"/>
              <p:cNvSpPr>
                <a:spLocks/>
              </p:cNvSpPr>
              <p:nvPr/>
            </p:nvSpPr>
            <p:spPr bwMode="auto">
              <a:xfrm>
                <a:off x="175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7" name="Freeform 59"/>
              <p:cNvSpPr>
                <a:spLocks/>
              </p:cNvSpPr>
              <p:nvPr/>
            </p:nvSpPr>
            <p:spPr bwMode="auto">
              <a:xfrm>
                <a:off x="175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8" name="Rectangle 60"/>
              <p:cNvSpPr>
                <a:spLocks noChangeArrowheads="1"/>
              </p:cNvSpPr>
              <p:nvPr/>
            </p:nvSpPr>
            <p:spPr bwMode="auto">
              <a:xfrm>
                <a:off x="176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09" name="Freeform 61"/>
              <p:cNvSpPr>
                <a:spLocks/>
              </p:cNvSpPr>
              <p:nvPr/>
            </p:nvSpPr>
            <p:spPr bwMode="auto">
              <a:xfrm>
                <a:off x="177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0" name="Freeform 62"/>
              <p:cNvSpPr>
                <a:spLocks/>
              </p:cNvSpPr>
              <p:nvPr/>
            </p:nvSpPr>
            <p:spPr bwMode="auto">
              <a:xfrm>
                <a:off x="178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1" name="Rectangle 63"/>
              <p:cNvSpPr>
                <a:spLocks noChangeArrowheads="1"/>
              </p:cNvSpPr>
              <p:nvPr/>
            </p:nvSpPr>
            <p:spPr bwMode="auto">
              <a:xfrm>
                <a:off x="178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2" name="Freeform 64"/>
              <p:cNvSpPr>
                <a:spLocks/>
              </p:cNvSpPr>
              <p:nvPr/>
            </p:nvSpPr>
            <p:spPr bwMode="auto">
              <a:xfrm>
                <a:off x="180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3" name="Freeform 65"/>
              <p:cNvSpPr>
                <a:spLocks/>
              </p:cNvSpPr>
              <p:nvPr/>
            </p:nvSpPr>
            <p:spPr bwMode="auto">
              <a:xfrm>
                <a:off x="181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4" name="Rectangle 66"/>
              <p:cNvSpPr>
                <a:spLocks noChangeArrowheads="1"/>
              </p:cNvSpPr>
              <p:nvPr/>
            </p:nvSpPr>
            <p:spPr bwMode="auto">
              <a:xfrm>
                <a:off x="181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5" name="Freeform 67"/>
              <p:cNvSpPr>
                <a:spLocks/>
              </p:cNvSpPr>
              <p:nvPr/>
            </p:nvSpPr>
            <p:spPr bwMode="auto">
              <a:xfrm>
                <a:off x="183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6" name="Freeform 68"/>
              <p:cNvSpPr>
                <a:spLocks/>
              </p:cNvSpPr>
              <p:nvPr/>
            </p:nvSpPr>
            <p:spPr bwMode="auto">
              <a:xfrm>
                <a:off x="184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7" name="Rectangle 69"/>
              <p:cNvSpPr>
                <a:spLocks noChangeArrowheads="1"/>
              </p:cNvSpPr>
              <p:nvPr/>
            </p:nvSpPr>
            <p:spPr bwMode="auto">
              <a:xfrm>
                <a:off x="184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8" name="Freeform 70"/>
              <p:cNvSpPr>
                <a:spLocks/>
              </p:cNvSpPr>
              <p:nvPr/>
            </p:nvSpPr>
            <p:spPr bwMode="auto">
              <a:xfrm>
                <a:off x="1861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19" name="Freeform 71"/>
              <p:cNvSpPr>
                <a:spLocks/>
              </p:cNvSpPr>
              <p:nvPr/>
            </p:nvSpPr>
            <p:spPr bwMode="auto">
              <a:xfrm>
                <a:off x="186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0" name="Rectangle 72"/>
              <p:cNvSpPr>
                <a:spLocks noChangeArrowheads="1"/>
              </p:cNvSpPr>
              <p:nvPr/>
            </p:nvSpPr>
            <p:spPr bwMode="auto">
              <a:xfrm>
                <a:off x="187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1" name="Freeform 73"/>
              <p:cNvSpPr>
                <a:spLocks/>
              </p:cNvSpPr>
              <p:nvPr/>
            </p:nvSpPr>
            <p:spPr bwMode="auto">
              <a:xfrm>
                <a:off x="188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2" name="Freeform 74"/>
              <p:cNvSpPr>
                <a:spLocks/>
              </p:cNvSpPr>
              <p:nvPr/>
            </p:nvSpPr>
            <p:spPr bwMode="auto">
              <a:xfrm>
                <a:off x="189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3" name="Rectangle 75"/>
              <p:cNvSpPr>
                <a:spLocks noChangeArrowheads="1"/>
              </p:cNvSpPr>
              <p:nvPr/>
            </p:nvSpPr>
            <p:spPr bwMode="auto">
              <a:xfrm>
                <a:off x="189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4" name="Freeform 76"/>
              <p:cNvSpPr>
                <a:spLocks/>
              </p:cNvSpPr>
              <p:nvPr/>
            </p:nvSpPr>
            <p:spPr bwMode="auto">
              <a:xfrm>
                <a:off x="1916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5" name="Freeform 77"/>
              <p:cNvSpPr>
                <a:spLocks/>
              </p:cNvSpPr>
              <p:nvPr/>
            </p:nvSpPr>
            <p:spPr bwMode="auto">
              <a:xfrm>
                <a:off x="192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6" name="Rectangle 78"/>
              <p:cNvSpPr>
                <a:spLocks noChangeArrowheads="1"/>
              </p:cNvSpPr>
              <p:nvPr/>
            </p:nvSpPr>
            <p:spPr bwMode="auto">
              <a:xfrm>
                <a:off x="192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7" name="Freeform 79"/>
              <p:cNvSpPr>
                <a:spLocks/>
              </p:cNvSpPr>
              <p:nvPr/>
            </p:nvSpPr>
            <p:spPr bwMode="auto">
              <a:xfrm>
                <a:off x="194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8" name="Freeform 80"/>
              <p:cNvSpPr>
                <a:spLocks/>
              </p:cNvSpPr>
              <p:nvPr/>
            </p:nvSpPr>
            <p:spPr bwMode="auto">
              <a:xfrm>
                <a:off x="195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29" name="Rectangle 81"/>
              <p:cNvSpPr>
                <a:spLocks noChangeArrowheads="1"/>
              </p:cNvSpPr>
              <p:nvPr/>
            </p:nvSpPr>
            <p:spPr bwMode="auto">
              <a:xfrm>
                <a:off x="195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0" name="Freeform 82"/>
              <p:cNvSpPr>
                <a:spLocks/>
              </p:cNvSpPr>
              <p:nvPr/>
            </p:nvSpPr>
            <p:spPr bwMode="auto">
              <a:xfrm>
                <a:off x="1971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1" name="Freeform 83"/>
              <p:cNvSpPr>
                <a:spLocks/>
              </p:cNvSpPr>
              <p:nvPr/>
            </p:nvSpPr>
            <p:spPr bwMode="auto">
              <a:xfrm>
                <a:off x="197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2" name="Rectangle 84"/>
              <p:cNvSpPr>
                <a:spLocks noChangeArrowheads="1"/>
              </p:cNvSpPr>
              <p:nvPr/>
            </p:nvSpPr>
            <p:spPr bwMode="auto">
              <a:xfrm>
                <a:off x="198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3" name="Freeform 85"/>
              <p:cNvSpPr>
                <a:spLocks/>
              </p:cNvSpPr>
              <p:nvPr/>
            </p:nvSpPr>
            <p:spPr bwMode="auto">
              <a:xfrm>
                <a:off x="199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4" name="Freeform 86"/>
              <p:cNvSpPr>
                <a:spLocks/>
              </p:cNvSpPr>
              <p:nvPr/>
            </p:nvSpPr>
            <p:spPr bwMode="auto">
              <a:xfrm>
                <a:off x="2007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5" name="Rectangle 87"/>
              <p:cNvSpPr>
                <a:spLocks noChangeArrowheads="1"/>
              </p:cNvSpPr>
              <p:nvPr/>
            </p:nvSpPr>
            <p:spPr bwMode="auto">
              <a:xfrm>
                <a:off x="2008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6" name="Freeform 88"/>
              <p:cNvSpPr>
                <a:spLocks/>
              </p:cNvSpPr>
              <p:nvPr/>
            </p:nvSpPr>
            <p:spPr bwMode="auto">
              <a:xfrm>
                <a:off x="2026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7" name="Freeform 89"/>
              <p:cNvSpPr>
                <a:spLocks/>
              </p:cNvSpPr>
              <p:nvPr/>
            </p:nvSpPr>
            <p:spPr bwMode="auto">
              <a:xfrm>
                <a:off x="203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8" name="Rectangle 90"/>
              <p:cNvSpPr>
                <a:spLocks noChangeArrowheads="1"/>
              </p:cNvSpPr>
              <p:nvPr/>
            </p:nvSpPr>
            <p:spPr bwMode="auto">
              <a:xfrm>
                <a:off x="203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39" name="Freeform 91"/>
              <p:cNvSpPr>
                <a:spLocks/>
              </p:cNvSpPr>
              <p:nvPr/>
            </p:nvSpPr>
            <p:spPr bwMode="auto">
              <a:xfrm>
                <a:off x="205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0" name="Freeform 92"/>
              <p:cNvSpPr>
                <a:spLocks/>
              </p:cNvSpPr>
              <p:nvPr/>
            </p:nvSpPr>
            <p:spPr bwMode="auto">
              <a:xfrm>
                <a:off x="2062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1" name="Rectangle 93"/>
              <p:cNvSpPr>
                <a:spLocks noChangeArrowheads="1"/>
              </p:cNvSpPr>
              <p:nvPr/>
            </p:nvSpPr>
            <p:spPr bwMode="auto">
              <a:xfrm>
                <a:off x="2063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2" name="Freeform 94"/>
              <p:cNvSpPr>
                <a:spLocks/>
              </p:cNvSpPr>
              <p:nvPr/>
            </p:nvSpPr>
            <p:spPr bwMode="auto">
              <a:xfrm>
                <a:off x="2081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3" name="Freeform 95"/>
              <p:cNvSpPr>
                <a:spLocks/>
              </p:cNvSpPr>
              <p:nvPr/>
            </p:nvSpPr>
            <p:spPr bwMode="auto">
              <a:xfrm>
                <a:off x="208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4" name="Rectangle 96"/>
              <p:cNvSpPr>
                <a:spLocks noChangeArrowheads="1"/>
              </p:cNvSpPr>
              <p:nvPr/>
            </p:nvSpPr>
            <p:spPr bwMode="auto">
              <a:xfrm>
                <a:off x="209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5" name="Freeform 97"/>
              <p:cNvSpPr>
                <a:spLocks/>
              </p:cNvSpPr>
              <p:nvPr/>
            </p:nvSpPr>
            <p:spPr bwMode="auto">
              <a:xfrm>
                <a:off x="210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6" name="Freeform 98"/>
              <p:cNvSpPr>
                <a:spLocks/>
              </p:cNvSpPr>
              <p:nvPr/>
            </p:nvSpPr>
            <p:spPr bwMode="auto">
              <a:xfrm>
                <a:off x="2116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7" name="Rectangle 99"/>
              <p:cNvSpPr>
                <a:spLocks noChangeArrowheads="1"/>
              </p:cNvSpPr>
              <p:nvPr/>
            </p:nvSpPr>
            <p:spPr bwMode="auto">
              <a:xfrm>
                <a:off x="2118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8" name="Freeform 100"/>
              <p:cNvSpPr>
                <a:spLocks/>
              </p:cNvSpPr>
              <p:nvPr/>
            </p:nvSpPr>
            <p:spPr bwMode="auto">
              <a:xfrm>
                <a:off x="2135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49" name="Freeform 101"/>
              <p:cNvSpPr>
                <a:spLocks/>
              </p:cNvSpPr>
              <p:nvPr/>
            </p:nvSpPr>
            <p:spPr bwMode="auto">
              <a:xfrm>
                <a:off x="214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0" name="Rectangle 102"/>
              <p:cNvSpPr>
                <a:spLocks noChangeArrowheads="1"/>
              </p:cNvSpPr>
              <p:nvPr/>
            </p:nvSpPr>
            <p:spPr bwMode="auto">
              <a:xfrm>
                <a:off x="214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1" name="Freeform 103"/>
              <p:cNvSpPr>
                <a:spLocks/>
              </p:cNvSpPr>
              <p:nvPr/>
            </p:nvSpPr>
            <p:spPr bwMode="auto">
              <a:xfrm>
                <a:off x="2163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2" name="Freeform 104"/>
              <p:cNvSpPr>
                <a:spLocks/>
              </p:cNvSpPr>
              <p:nvPr/>
            </p:nvSpPr>
            <p:spPr bwMode="auto">
              <a:xfrm>
                <a:off x="2171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3" name="Rectangle 105"/>
              <p:cNvSpPr>
                <a:spLocks noChangeArrowheads="1"/>
              </p:cNvSpPr>
              <p:nvPr/>
            </p:nvSpPr>
            <p:spPr bwMode="auto">
              <a:xfrm>
                <a:off x="2173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4" name="Freeform 106"/>
              <p:cNvSpPr>
                <a:spLocks/>
              </p:cNvSpPr>
              <p:nvPr/>
            </p:nvSpPr>
            <p:spPr bwMode="auto">
              <a:xfrm>
                <a:off x="2190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5" name="Freeform 107"/>
              <p:cNvSpPr>
                <a:spLocks/>
              </p:cNvSpPr>
              <p:nvPr/>
            </p:nvSpPr>
            <p:spPr bwMode="auto">
              <a:xfrm>
                <a:off x="219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6" name="Rectangle 108"/>
              <p:cNvSpPr>
                <a:spLocks noChangeArrowheads="1"/>
              </p:cNvSpPr>
              <p:nvPr/>
            </p:nvSpPr>
            <p:spPr bwMode="auto">
              <a:xfrm>
                <a:off x="220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7" name="Freeform 109"/>
              <p:cNvSpPr>
                <a:spLocks/>
              </p:cNvSpPr>
              <p:nvPr/>
            </p:nvSpPr>
            <p:spPr bwMode="auto">
              <a:xfrm>
                <a:off x="2218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8" name="Freeform 110"/>
              <p:cNvSpPr>
                <a:spLocks/>
              </p:cNvSpPr>
              <p:nvPr/>
            </p:nvSpPr>
            <p:spPr bwMode="auto">
              <a:xfrm>
                <a:off x="2226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59" name="Rectangle 111"/>
              <p:cNvSpPr>
                <a:spLocks noChangeArrowheads="1"/>
              </p:cNvSpPr>
              <p:nvPr/>
            </p:nvSpPr>
            <p:spPr bwMode="auto">
              <a:xfrm>
                <a:off x="2228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0" name="Freeform 112"/>
              <p:cNvSpPr>
                <a:spLocks/>
              </p:cNvSpPr>
              <p:nvPr/>
            </p:nvSpPr>
            <p:spPr bwMode="auto">
              <a:xfrm>
                <a:off x="2245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1" name="Freeform 113"/>
              <p:cNvSpPr>
                <a:spLocks/>
              </p:cNvSpPr>
              <p:nvPr/>
            </p:nvSpPr>
            <p:spPr bwMode="auto">
              <a:xfrm>
                <a:off x="225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2" name="Rectangle 114"/>
              <p:cNvSpPr>
                <a:spLocks noChangeArrowheads="1"/>
              </p:cNvSpPr>
              <p:nvPr/>
            </p:nvSpPr>
            <p:spPr bwMode="auto">
              <a:xfrm>
                <a:off x="225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3" name="Freeform 115"/>
              <p:cNvSpPr>
                <a:spLocks/>
              </p:cNvSpPr>
              <p:nvPr/>
            </p:nvSpPr>
            <p:spPr bwMode="auto">
              <a:xfrm>
                <a:off x="2273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4" name="Freeform 116"/>
              <p:cNvSpPr>
                <a:spLocks/>
              </p:cNvSpPr>
              <p:nvPr/>
            </p:nvSpPr>
            <p:spPr bwMode="auto">
              <a:xfrm>
                <a:off x="2281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5" name="Rectangle 117"/>
              <p:cNvSpPr>
                <a:spLocks noChangeArrowheads="1"/>
              </p:cNvSpPr>
              <p:nvPr/>
            </p:nvSpPr>
            <p:spPr bwMode="auto">
              <a:xfrm>
                <a:off x="2283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6" name="Freeform 118"/>
              <p:cNvSpPr>
                <a:spLocks/>
              </p:cNvSpPr>
              <p:nvPr/>
            </p:nvSpPr>
            <p:spPr bwMode="auto">
              <a:xfrm>
                <a:off x="2300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7" name="Freeform 119"/>
              <p:cNvSpPr>
                <a:spLocks/>
              </p:cNvSpPr>
              <p:nvPr/>
            </p:nvSpPr>
            <p:spPr bwMode="auto">
              <a:xfrm>
                <a:off x="2309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8" name="Rectangle 120"/>
              <p:cNvSpPr>
                <a:spLocks noChangeArrowheads="1"/>
              </p:cNvSpPr>
              <p:nvPr/>
            </p:nvSpPr>
            <p:spPr bwMode="auto">
              <a:xfrm>
                <a:off x="2310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69" name="Freeform 121"/>
              <p:cNvSpPr>
                <a:spLocks/>
              </p:cNvSpPr>
              <p:nvPr/>
            </p:nvSpPr>
            <p:spPr bwMode="auto">
              <a:xfrm>
                <a:off x="2328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0" name="Freeform 122"/>
              <p:cNvSpPr>
                <a:spLocks/>
              </p:cNvSpPr>
              <p:nvPr/>
            </p:nvSpPr>
            <p:spPr bwMode="auto">
              <a:xfrm>
                <a:off x="2336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1" name="Rectangle 123"/>
              <p:cNvSpPr>
                <a:spLocks noChangeArrowheads="1"/>
              </p:cNvSpPr>
              <p:nvPr/>
            </p:nvSpPr>
            <p:spPr bwMode="auto">
              <a:xfrm>
                <a:off x="2338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2" name="Freeform 124"/>
              <p:cNvSpPr>
                <a:spLocks/>
              </p:cNvSpPr>
              <p:nvPr/>
            </p:nvSpPr>
            <p:spPr bwMode="auto">
              <a:xfrm>
                <a:off x="2355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3" name="Freeform 125"/>
              <p:cNvSpPr>
                <a:spLocks/>
              </p:cNvSpPr>
              <p:nvPr/>
            </p:nvSpPr>
            <p:spPr bwMode="auto">
              <a:xfrm>
                <a:off x="2364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4" name="Rectangle 126"/>
              <p:cNvSpPr>
                <a:spLocks noChangeArrowheads="1"/>
              </p:cNvSpPr>
              <p:nvPr/>
            </p:nvSpPr>
            <p:spPr bwMode="auto">
              <a:xfrm>
                <a:off x="2365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5" name="Freeform 127"/>
              <p:cNvSpPr>
                <a:spLocks/>
              </p:cNvSpPr>
              <p:nvPr/>
            </p:nvSpPr>
            <p:spPr bwMode="auto">
              <a:xfrm>
                <a:off x="2383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6" name="Freeform 128"/>
              <p:cNvSpPr>
                <a:spLocks/>
              </p:cNvSpPr>
              <p:nvPr/>
            </p:nvSpPr>
            <p:spPr bwMode="auto">
              <a:xfrm>
                <a:off x="2391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7" name="Rectangle 129"/>
              <p:cNvSpPr>
                <a:spLocks noChangeArrowheads="1"/>
              </p:cNvSpPr>
              <p:nvPr/>
            </p:nvSpPr>
            <p:spPr bwMode="auto">
              <a:xfrm>
                <a:off x="2393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8" name="Freeform 130"/>
              <p:cNvSpPr>
                <a:spLocks/>
              </p:cNvSpPr>
              <p:nvPr/>
            </p:nvSpPr>
            <p:spPr bwMode="auto">
              <a:xfrm>
                <a:off x="2410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79" name="Freeform 131"/>
              <p:cNvSpPr>
                <a:spLocks/>
              </p:cNvSpPr>
              <p:nvPr/>
            </p:nvSpPr>
            <p:spPr bwMode="auto">
              <a:xfrm>
                <a:off x="241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0" name="Rectangle 132"/>
              <p:cNvSpPr>
                <a:spLocks noChangeArrowheads="1"/>
              </p:cNvSpPr>
              <p:nvPr/>
            </p:nvSpPr>
            <p:spPr bwMode="auto">
              <a:xfrm>
                <a:off x="242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1" name="Freeform 133"/>
              <p:cNvSpPr>
                <a:spLocks/>
              </p:cNvSpPr>
              <p:nvPr/>
            </p:nvSpPr>
            <p:spPr bwMode="auto">
              <a:xfrm>
                <a:off x="243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2" name="Freeform 134"/>
              <p:cNvSpPr>
                <a:spLocks/>
              </p:cNvSpPr>
              <p:nvPr/>
            </p:nvSpPr>
            <p:spPr bwMode="auto">
              <a:xfrm>
                <a:off x="2446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3" name="Rectangle 135"/>
              <p:cNvSpPr>
                <a:spLocks noChangeArrowheads="1"/>
              </p:cNvSpPr>
              <p:nvPr/>
            </p:nvSpPr>
            <p:spPr bwMode="auto">
              <a:xfrm>
                <a:off x="2448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4" name="Freeform 136"/>
              <p:cNvSpPr>
                <a:spLocks/>
              </p:cNvSpPr>
              <p:nvPr/>
            </p:nvSpPr>
            <p:spPr bwMode="auto">
              <a:xfrm>
                <a:off x="2465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5" name="Freeform 137"/>
              <p:cNvSpPr>
                <a:spLocks/>
              </p:cNvSpPr>
              <p:nvPr/>
            </p:nvSpPr>
            <p:spPr bwMode="auto">
              <a:xfrm>
                <a:off x="247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6" name="Rectangle 138"/>
              <p:cNvSpPr>
                <a:spLocks noChangeArrowheads="1"/>
              </p:cNvSpPr>
              <p:nvPr/>
            </p:nvSpPr>
            <p:spPr bwMode="auto">
              <a:xfrm>
                <a:off x="247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7" name="Freeform 139"/>
              <p:cNvSpPr>
                <a:spLocks/>
              </p:cNvSpPr>
              <p:nvPr/>
            </p:nvSpPr>
            <p:spPr bwMode="auto">
              <a:xfrm>
                <a:off x="249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8" name="Freeform 140"/>
              <p:cNvSpPr>
                <a:spLocks/>
              </p:cNvSpPr>
              <p:nvPr/>
            </p:nvSpPr>
            <p:spPr bwMode="auto">
              <a:xfrm>
                <a:off x="2501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89" name="Rectangle 141"/>
              <p:cNvSpPr>
                <a:spLocks noChangeArrowheads="1"/>
              </p:cNvSpPr>
              <p:nvPr/>
            </p:nvSpPr>
            <p:spPr bwMode="auto">
              <a:xfrm>
                <a:off x="2503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0" name="Freeform 142"/>
              <p:cNvSpPr>
                <a:spLocks/>
              </p:cNvSpPr>
              <p:nvPr/>
            </p:nvSpPr>
            <p:spPr bwMode="auto">
              <a:xfrm>
                <a:off x="2520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1" name="Freeform 143"/>
              <p:cNvSpPr>
                <a:spLocks/>
              </p:cNvSpPr>
              <p:nvPr/>
            </p:nvSpPr>
            <p:spPr bwMode="auto">
              <a:xfrm>
                <a:off x="252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2" name="Rectangle 144"/>
              <p:cNvSpPr>
                <a:spLocks noChangeArrowheads="1"/>
              </p:cNvSpPr>
              <p:nvPr/>
            </p:nvSpPr>
            <p:spPr bwMode="auto">
              <a:xfrm>
                <a:off x="253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3" name="Freeform 145"/>
              <p:cNvSpPr>
                <a:spLocks/>
              </p:cNvSpPr>
              <p:nvPr/>
            </p:nvSpPr>
            <p:spPr bwMode="auto">
              <a:xfrm>
                <a:off x="254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4" name="Freeform 146"/>
              <p:cNvSpPr>
                <a:spLocks/>
              </p:cNvSpPr>
              <p:nvPr/>
            </p:nvSpPr>
            <p:spPr bwMode="auto">
              <a:xfrm>
                <a:off x="2556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5" name="Rectangle 147"/>
              <p:cNvSpPr>
                <a:spLocks noChangeArrowheads="1"/>
              </p:cNvSpPr>
              <p:nvPr/>
            </p:nvSpPr>
            <p:spPr bwMode="auto">
              <a:xfrm>
                <a:off x="2558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6" name="Freeform 148"/>
              <p:cNvSpPr>
                <a:spLocks/>
              </p:cNvSpPr>
              <p:nvPr/>
            </p:nvSpPr>
            <p:spPr bwMode="auto">
              <a:xfrm>
                <a:off x="2575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7" name="Freeform 149"/>
              <p:cNvSpPr>
                <a:spLocks/>
              </p:cNvSpPr>
              <p:nvPr/>
            </p:nvSpPr>
            <p:spPr bwMode="auto">
              <a:xfrm>
                <a:off x="258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8" name="Rectangle 150"/>
              <p:cNvSpPr>
                <a:spLocks noChangeArrowheads="1"/>
              </p:cNvSpPr>
              <p:nvPr/>
            </p:nvSpPr>
            <p:spPr bwMode="auto">
              <a:xfrm>
                <a:off x="258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99" name="Freeform 151"/>
              <p:cNvSpPr>
                <a:spLocks/>
              </p:cNvSpPr>
              <p:nvPr/>
            </p:nvSpPr>
            <p:spPr bwMode="auto">
              <a:xfrm>
                <a:off x="260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0" name="Freeform 152"/>
              <p:cNvSpPr>
                <a:spLocks/>
              </p:cNvSpPr>
              <p:nvPr/>
            </p:nvSpPr>
            <p:spPr bwMode="auto">
              <a:xfrm>
                <a:off x="2611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1" name="Rectangle 153"/>
              <p:cNvSpPr>
                <a:spLocks noChangeArrowheads="1"/>
              </p:cNvSpPr>
              <p:nvPr/>
            </p:nvSpPr>
            <p:spPr bwMode="auto">
              <a:xfrm>
                <a:off x="2613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2" name="Freeform 154"/>
              <p:cNvSpPr>
                <a:spLocks/>
              </p:cNvSpPr>
              <p:nvPr/>
            </p:nvSpPr>
            <p:spPr bwMode="auto">
              <a:xfrm>
                <a:off x="2630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3" name="Freeform 155"/>
              <p:cNvSpPr>
                <a:spLocks/>
              </p:cNvSpPr>
              <p:nvPr/>
            </p:nvSpPr>
            <p:spPr bwMode="auto">
              <a:xfrm>
                <a:off x="263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4" name="Rectangle 156"/>
              <p:cNvSpPr>
                <a:spLocks noChangeArrowheads="1"/>
              </p:cNvSpPr>
              <p:nvPr/>
            </p:nvSpPr>
            <p:spPr bwMode="auto">
              <a:xfrm>
                <a:off x="264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5" name="Freeform 157"/>
              <p:cNvSpPr>
                <a:spLocks/>
              </p:cNvSpPr>
              <p:nvPr/>
            </p:nvSpPr>
            <p:spPr bwMode="auto">
              <a:xfrm>
                <a:off x="265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6" name="Freeform 158"/>
              <p:cNvSpPr>
                <a:spLocks/>
              </p:cNvSpPr>
              <p:nvPr/>
            </p:nvSpPr>
            <p:spPr bwMode="auto">
              <a:xfrm>
                <a:off x="2666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7" name="Rectangle 159"/>
              <p:cNvSpPr>
                <a:spLocks noChangeArrowheads="1"/>
              </p:cNvSpPr>
              <p:nvPr/>
            </p:nvSpPr>
            <p:spPr bwMode="auto">
              <a:xfrm>
                <a:off x="2667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8" name="Freeform 160"/>
              <p:cNvSpPr>
                <a:spLocks/>
              </p:cNvSpPr>
              <p:nvPr/>
            </p:nvSpPr>
            <p:spPr bwMode="auto">
              <a:xfrm>
                <a:off x="2685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09" name="Freeform 161"/>
              <p:cNvSpPr>
                <a:spLocks/>
              </p:cNvSpPr>
              <p:nvPr/>
            </p:nvSpPr>
            <p:spPr bwMode="auto">
              <a:xfrm>
                <a:off x="269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0" name="Rectangle 162"/>
              <p:cNvSpPr>
                <a:spLocks noChangeArrowheads="1"/>
              </p:cNvSpPr>
              <p:nvPr/>
            </p:nvSpPr>
            <p:spPr bwMode="auto">
              <a:xfrm>
                <a:off x="269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1" name="Freeform 163"/>
              <p:cNvSpPr>
                <a:spLocks/>
              </p:cNvSpPr>
              <p:nvPr/>
            </p:nvSpPr>
            <p:spPr bwMode="auto">
              <a:xfrm>
                <a:off x="271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2" name="Freeform 164"/>
              <p:cNvSpPr>
                <a:spLocks/>
              </p:cNvSpPr>
              <p:nvPr/>
            </p:nvSpPr>
            <p:spPr bwMode="auto">
              <a:xfrm>
                <a:off x="2721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3" name="Rectangle 165"/>
              <p:cNvSpPr>
                <a:spLocks noChangeArrowheads="1"/>
              </p:cNvSpPr>
              <p:nvPr/>
            </p:nvSpPr>
            <p:spPr bwMode="auto">
              <a:xfrm>
                <a:off x="2722" y="1756"/>
                <a:ext cx="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4" name="Freeform 166"/>
              <p:cNvSpPr>
                <a:spLocks/>
              </p:cNvSpPr>
              <p:nvPr/>
            </p:nvSpPr>
            <p:spPr bwMode="auto">
              <a:xfrm>
                <a:off x="2729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5" name="Freeform 167"/>
              <p:cNvSpPr>
                <a:spLocks/>
              </p:cNvSpPr>
              <p:nvPr/>
            </p:nvSpPr>
            <p:spPr bwMode="auto">
              <a:xfrm>
                <a:off x="281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6" name="Rectangle 168"/>
              <p:cNvSpPr>
                <a:spLocks noChangeArrowheads="1"/>
              </p:cNvSpPr>
              <p:nvPr/>
            </p:nvSpPr>
            <p:spPr bwMode="auto">
              <a:xfrm>
                <a:off x="282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7" name="Freeform 169"/>
              <p:cNvSpPr>
                <a:spLocks/>
              </p:cNvSpPr>
              <p:nvPr/>
            </p:nvSpPr>
            <p:spPr bwMode="auto">
              <a:xfrm>
                <a:off x="283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8" name="Freeform 170"/>
              <p:cNvSpPr>
                <a:spLocks/>
              </p:cNvSpPr>
              <p:nvPr/>
            </p:nvSpPr>
            <p:spPr bwMode="auto">
              <a:xfrm>
                <a:off x="2846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19" name="Rectangle 171"/>
              <p:cNvSpPr>
                <a:spLocks noChangeArrowheads="1"/>
              </p:cNvSpPr>
              <p:nvPr/>
            </p:nvSpPr>
            <p:spPr bwMode="auto">
              <a:xfrm>
                <a:off x="2848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0" name="Freeform 172"/>
              <p:cNvSpPr>
                <a:spLocks/>
              </p:cNvSpPr>
              <p:nvPr/>
            </p:nvSpPr>
            <p:spPr bwMode="auto">
              <a:xfrm>
                <a:off x="2865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1" name="Freeform 173"/>
              <p:cNvSpPr>
                <a:spLocks/>
              </p:cNvSpPr>
              <p:nvPr/>
            </p:nvSpPr>
            <p:spPr bwMode="auto">
              <a:xfrm>
                <a:off x="287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2" name="Rectangle 174"/>
              <p:cNvSpPr>
                <a:spLocks noChangeArrowheads="1"/>
              </p:cNvSpPr>
              <p:nvPr/>
            </p:nvSpPr>
            <p:spPr bwMode="auto">
              <a:xfrm>
                <a:off x="287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3" name="Freeform 175"/>
              <p:cNvSpPr>
                <a:spLocks/>
              </p:cNvSpPr>
              <p:nvPr/>
            </p:nvSpPr>
            <p:spPr bwMode="auto">
              <a:xfrm>
                <a:off x="289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4" name="Freeform 176"/>
              <p:cNvSpPr>
                <a:spLocks/>
              </p:cNvSpPr>
              <p:nvPr/>
            </p:nvSpPr>
            <p:spPr bwMode="auto">
              <a:xfrm>
                <a:off x="2901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5" name="Rectangle 177"/>
              <p:cNvSpPr>
                <a:spLocks noChangeArrowheads="1"/>
              </p:cNvSpPr>
              <p:nvPr/>
            </p:nvSpPr>
            <p:spPr bwMode="auto">
              <a:xfrm>
                <a:off x="2902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6" name="Freeform 178"/>
              <p:cNvSpPr>
                <a:spLocks/>
              </p:cNvSpPr>
              <p:nvPr/>
            </p:nvSpPr>
            <p:spPr bwMode="auto">
              <a:xfrm>
                <a:off x="2920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7" name="Freeform 179"/>
              <p:cNvSpPr>
                <a:spLocks/>
              </p:cNvSpPr>
              <p:nvPr/>
            </p:nvSpPr>
            <p:spPr bwMode="auto">
              <a:xfrm>
                <a:off x="292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8" name="Rectangle 180"/>
              <p:cNvSpPr>
                <a:spLocks noChangeArrowheads="1"/>
              </p:cNvSpPr>
              <p:nvPr/>
            </p:nvSpPr>
            <p:spPr bwMode="auto">
              <a:xfrm>
                <a:off x="293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29" name="Freeform 181"/>
              <p:cNvSpPr>
                <a:spLocks/>
              </p:cNvSpPr>
              <p:nvPr/>
            </p:nvSpPr>
            <p:spPr bwMode="auto">
              <a:xfrm>
                <a:off x="294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0" name="Freeform 182"/>
              <p:cNvSpPr>
                <a:spLocks/>
              </p:cNvSpPr>
              <p:nvPr/>
            </p:nvSpPr>
            <p:spPr bwMode="auto">
              <a:xfrm>
                <a:off x="2956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1" name="Rectangle 183"/>
              <p:cNvSpPr>
                <a:spLocks noChangeArrowheads="1"/>
              </p:cNvSpPr>
              <p:nvPr/>
            </p:nvSpPr>
            <p:spPr bwMode="auto">
              <a:xfrm>
                <a:off x="295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2" name="Freeform 184"/>
              <p:cNvSpPr>
                <a:spLocks/>
              </p:cNvSpPr>
              <p:nvPr/>
            </p:nvSpPr>
            <p:spPr bwMode="auto">
              <a:xfrm>
                <a:off x="297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3" name="Freeform 185"/>
              <p:cNvSpPr>
                <a:spLocks/>
              </p:cNvSpPr>
              <p:nvPr/>
            </p:nvSpPr>
            <p:spPr bwMode="auto">
              <a:xfrm>
                <a:off x="298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4" name="Rectangle 186"/>
              <p:cNvSpPr>
                <a:spLocks noChangeArrowheads="1"/>
              </p:cNvSpPr>
              <p:nvPr/>
            </p:nvSpPr>
            <p:spPr bwMode="auto">
              <a:xfrm>
                <a:off x="298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5" name="Freeform 187"/>
              <p:cNvSpPr>
                <a:spLocks/>
              </p:cNvSpPr>
              <p:nvPr/>
            </p:nvSpPr>
            <p:spPr bwMode="auto">
              <a:xfrm>
                <a:off x="300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6" name="Freeform 188"/>
              <p:cNvSpPr>
                <a:spLocks/>
              </p:cNvSpPr>
              <p:nvPr/>
            </p:nvSpPr>
            <p:spPr bwMode="auto">
              <a:xfrm>
                <a:off x="3011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7" name="Rectangle 189"/>
              <p:cNvSpPr>
                <a:spLocks noChangeArrowheads="1"/>
              </p:cNvSpPr>
              <p:nvPr/>
            </p:nvSpPr>
            <p:spPr bwMode="auto">
              <a:xfrm>
                <a:off x="301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8" name="Freeform 190"/>
              <p:cNvSpPr>
                <a:spLocks/>
              </p:cNvSpPr>
              <p:nvPr/>
            </p:nvSpPr>
            <p:spPr bwMode="auto">
              <a:xfrm>
                <a:off x="302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39" name="Freeform 191"/>
              <p:cNvSpPr>
                <a:spLocks/>
              </p:cNvSpPr>
              <p:nvPr/>
            </p:nvSpPr>
            <p:spPr bwMode="auto">
              <a:xfrm>
                <a:off x="303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0" name="Rectangle 192"/>
              <p:cNvSpPr>
                <a:spLocks noChangeArrowheads="1"/>
              </p:cNvSpPr>
              <p:nvPr/>
            </p:nvSpPr>
            <p:spPr bwMode="auto">
              <a:xfrm>
                <a:off x="304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1" name="Freeform 193"/>
              <p:cNvSpPr>
                <a:spLocks/>
              </p:cNvSpPr>
              <p:nvPr/>
            </p:nvSpPr>
            <p:spPr bwMode="auto">
              <a:xfrm>
                <a:off x="305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2" name="Freeform 194"/>
              <p:cNvSpPr>
                <a:spLocks/>
              </p:cNvSpPr>
              <p:nvPr/>
            </p:nvSpPr>
            <p:spPr bwMode="auto">
              <a:xfrm>
                <a:off x="3066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3" name="Rectangle 195"/>
              <p:cNvSpPr>
                <a:spLocks noChangeArrowheads="1"/>
              </p:cNvSpPr>
              <p:nvPr/>
            </p:nvSpPr>
            <p:spPr bwMode="auto">
              <a:xfrm>
                <a:off x="306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4" name="Freeform 196"/>
              <p:cNvSpPr>
                <a:spLocks/>
              </p:cNvSpPr>
              <p:nvPr/>
            </p:nvSpPr>
            <p:spPr bwMode="auto">
              <a:xfrm>
                <a:off x="308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5" name="Freeform 197"/>
              <p:cNvSpPr>
                <a:spLocks/>
              </p:cNvSpPr>
              <p:nvPr/>
            </p:nvSpPr>
            <p:spPr bwMode="auto">
              <a:xfrm>
                <a:off x="309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6" name="Rectangle 198"/>
              <p:cNvSpPr>
                <a:spLocks noChangeArrowheads="1"/>
              </p:cNvSpPr>
              <p:nvPr/>
            </p:nvSpPr>
            <p:spPr bwMode="auto">
              <a:xfrm>
                <a:off x="309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7" name="Freeform 199"/>
              <p:cNvSpPr>
                <a:spLocks/>
              </p:cNvSpPr>
              <p:nvPr/>
            </p:nvSpPr>
            <p:spPr bwMode="auto">
              <a:xfrm>
                <a:off x="311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8" name="Freeform 200"/>
              <p:cNvSpPr>
                <a:spLocks/>
              </p:cNvSpPr>
              <p:nvPr/>
            </p:nvSpPr>
            <p:spPr bwMode="auto">
              <a:xfrm>
                <a:off x="312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49" name="Rectangle 201"/>
              <p:cNvSpPr>
                <a:spLocks noChangeArrowheads="1"/>
              </p:cNvSpPr>
              <p:nvPr/>
            </p:nvSpPr>
            <p:spPr bwMode="auto">
              <a:xfrm>
                <a:off x="312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50" name="Freeform 202"/>
              <p:cNvSpPr>
                <a:spLocks/>
              </p:cNvSpPr>
              <p:nvPr/>
            </p:nvSpPr>
            <p:spPr bwMode="auto">
              <a:xfrm>
                <a:off x="313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51" name="Freeform 203"/>
              <p:cNvSpPr>
                <a:spLocks/>
              </p:cNvSpPr>
              <p:nvPr/>
            </p:nvSpPr>
            <p:spPr bwMode="auto">
              <a:xfrm>
                <a:off x="314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52" name="Rectangle 204"/>
              <p:cNvSpPr>
                <a:spLocks noChangeArrowheads="1"/>
              </p:cNvSpPr>
              <p:nvPr/>
            </p:nvSpPr>
            <p:spPr bwMode="auto">
              <a:xfrm>
                <a:off x="315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454" name="Group 406"/>
            <p:cNvGrpSpPr>
              <a:grpSpLocks/>
            </p:cNvGrpSpPr>
            <p:nvPr/>
          </p:nvGrpSpPr>
          <p:grpSpPr bwMode="auto">
            <a:xfrm>
              <a:off x="730439" y="1875880"/>
              <a:ext cx="7198332" cy="649503"/>
              <a:chOff x="1265" y="1434"/>
              <a:chExt cx="3613" cy="326"/>
            </a:xfrm>
          </p:grpSpPr>
          <p:sp>
            <p:nvSpPr>
              <p:cNvPr id="2254" name="Freeform 206"/>
              <p:cNvSpPr>
                <a:spLocks/>
              </p:cNvSpPr>
              <p:nvPr/>
            </p:nvSpPr>
            <p:spPr bwMode="auto">
              <a:xfrm>
                <a:off x="316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55" name="Freeform 207"/>
              <p:cNvSpPr>
                <a:spLocks/>
              </p:cNvSpPr>
              <p:nvPr/>
            </p:nvSpPr>
            <p:spPr bwMode="auto">
              <a:xfrm>
                <a:off x="317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56" name="Rectangle 208"/>
              <p:cNvSpPr>
                <a:spLocks noChangeArrowheads="1"/>
              </p:cNvSpPr>
              <p:nvPr/>
            </p:nvSpPr>
            <p:spPr bwMode="auto">
              <a:xfrm>
                <a:off x="317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57" name="Freeform 209"/>
              <p:cNvSpPr>
                <a:spLocks/>
              </p:cNvSpPr>
              <p:nvPr/>
            </p:nvSpPr>
            <p:spPr bwMode="auto">
              <a:xfrm>
                <a:off x="319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58" name="Freeform 210"/>
              <p:cNvSpPr>
                <a:spLocks/>
              </p:cNvSpPr>
              <p:nvPr/>
            </p:nvSpPr>
            <p:spPr bwMode="auto">
              <a:xfrm>
                <a:off x="320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59" name="Rectangle 211"/>
              <p:cNvSpPr>
                <a:spLocks noChangeArrowheads="1"/>
              </p:cNvSpPr>
              <p:nvPr/>
            </p:nvSpPr>
            <p:spPr bwMode="auto">
              <a:xfrm>
                <a:off x="3204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0" name="Freeform 212"/>
              <p:cNvSpPr>
                <a:spLocks/>
              </p:cNvSpPr>
              <p:nvPr/>
            </p:nvSpPr>
            <p:spPr bwMode="auto">
              <a:xfrm>
                <a:off x="3222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1" name="Freeform 213"/>
              <p:cNvSpPr>
                <a:spLocks/>
              </p:cNvSpPr>
              <p:nvPr/>
            </p:nvSpPr>
            <p:spPr bwMode="auto">
              <a:xfrm>
                <a:off x="323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2" name="Rectangle 214"/>
              <p:cNvSpPr>
                <a:spLocks noChangeArrowheads="1"/>
              </p:cNvSpPr>
              <p:nvPr/>
            </p:nvSpPr>
            <p:spPr bwMode="auto">
              <a:xfrm>
                <a:off x="323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3" name="Freeform 215"/>
              <p:cNvSpPr>
                <a:spLocks/>
              </p:cNvSpPr>
              <p:nvPr/>
            </p:nvSpPr>
            <p:spPr bwMode="auto">
              <a:xfrm>
                <a:off x="324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4" name="Freeform 216"/>
              <p:cNvSpPr>
                <a:spLocks/>
              </p:cNvSpPr>
              <p:nvPr/>
            </p:nvSpPr>
            <p:spPr bwMode="auto">
              <a:xfrm>
                <a:off x="3258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5" name="Rectangle 217"/>
              <p:cNvSpPr>
                <a:spLocks noChangeArrowheads="1"/>
              </p:cNvSpPr>
              <p:nvPr/>
            </p:nvSpPr>
            <p:spPr bwMode="auto">
              <a:xfrm>
                <a:off x="3259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6" name="Freeform 218"/>
              <p:cNvSpPr>
                <a:spLocks/>
              </p:cNvSpPr>
              <p:nvPr/>
            </p:nvSpPr>
            <p:spPr bwMode="auto">
              <a:xfrm>
                <a:off x="3277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7" name="Freeform 219"/>
              <p:cNvSpPr>
                <a:spLocks/>
              </p:cNvSpPr>
              <p:nvPr/>
            </p:nvSpPr>
            <p:spPr bwMode="auto">
              <a:xfrm>
                <a:off x="328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8" name="Rectangle 220"/>
              <p:cNvSpPr>
                <a:spLocks noChangeArrowheads="1"/>
              </p:cNvSpPr>
              <p:nvPr/>
            </p:nvSpPr>
            <p:spPr bwMode="auto">
              <a:xfrm>
                <a:off x="328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69" name="Freeform 221"/>
              <p:cNvSpPr>
                <a:spLocks/>
              </p:cNvSpPr>
              <p:nvPr/>
            </p:nvSpPr>
            <p:spPr bwMode="auto">
              <a:xfrm>
                <a:off x="330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0" name="Freeform 222"/>
              <p:cNvSpPr>
                <a:spLocks/>
              </p:cNvSpPr>
              <p:nvPr/>
            </p:nvSpPr>
            <p:spPr bwMode="auto">
              <a:xfrm>
                <a:off x="331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1" name="Rectangle 223"/>
              <p:cNvSpPr>
                <a:spLocks noChangeArrowheads="1"/>
              </p:cNvSpPr>
              <p:nvPr/>
            </p:nvSpPr>
            <p:spPr bwMode="auto">
              <a:xfrm>
                <a:off x="331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2" name="Freeform 224"/>
              <p:cNvSpPr>
                <a:spLocks/>
              </p:cNvSpPr>
              <p:nvPr/>
            </p:nvSpPr>
            <p:spPr bwMode="auto">
              <a:xfrm>
                <a:off x="333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3" name="Freeform 225"/>
              <p:cNvSpPr>
                <a:spLocks/>
              </p:cNvSpPr>
              <p:nvPr/>
            </p:nvSpPr>
            <p:spPr bwMode="auto">
              <a:xfrm>
                <a:off x="334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4" name="Rectangle 226"/>
              <p:cNvSpPr>
                <a:spLocks noChangeArrowheads="1"/>
              </p:cNvSpPr>
              <p:nvPr/>
            </p:nvSpPr>
            <p:spPr bwMode="auto">
              <a:xfrm>
                <a:off x="334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5" name="Freeform 227"/>
              <p:cNvSpPr>
                <a:spLocks/>
              </p:cNvSpPr>
              <p:nvPr/>
            </p:nvSpPr>
            <p:spPr bwMode="auto">
              <a:xfrm>
                <a:off x="335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6" name="Freeform 228"/>
              <p:cNvSpPr>
                <a:spLocks/>
              </p:cNvSpPr>
              <p:nvPr/>
            </p:nvSpPr>
            <p:spPr bwMode="auto">
              <a:xfrm>
                <a:off x="3368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7" name="Rectangle 229"/>
              <p:cNvSpPr>
                <a:spLocks noChangeArrowheads="1"/>
              </p:cNvSpPr>
              <p:nvPr/>
            </p:nvSpPr>
            <p:spPr bwMode="auto">
              <a:xfrm>
                <a:off x="336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8" name="Freeform 230"/>
              <p:cNvSpPr>
                <a:spLocks/>
              </p:cNvSpPr>
              <p:nvPr/>
            </p:nvSpPr>
            <p:spPr bwMode="auto">
              <a:xfrm>
                <a:off x="338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79" name="Freeform 231"/>
              <p:cNvSpPr>
                <a:spLocks/>
              </p:cNvSpPr>
              <p:nvPr/>
            </p:nvSpPr>
            <p:spPr bwMode="auto">
              <a:xfrm>
                <a:off x="339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0" name="Rectangle 232"/>
              <p:cNvSpPr>
                <a:spLocks noChangeArrowheads="1"/>
              </p:cNvSpPr>
              <p:nvPr/>
            </p:nvSpPr>
            <p:spPr bwMode="auto">
              <a:xfrm>
                <a:off x="339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1" name="Freeform 233"/>
              <p:cNvSpPr>
                <a:spLocks/>
              </p:cNvSpPr>
              <p:nvPr/>
            </p:nvSpPr>
            <p:spPr bwMode="auto">
              <a:xfrm>
                <a:off x="341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2" name="Freeform 234"/>
              <p:cNvSpPr>
                <a:spLocks/>
              </p:cNvSpPr>
              <p:nvPr/>
            </p:nvSpPr>
            <p:spPr bwMode="auto">
              <a:xfrm>
                <a:off x="342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3" name="Rectangle 235"/>
              <p:cNvSpPr>
                <a:spLocks noChangeArrowheads="1"/>
              </p:cNvSpPr>
              <p:nvPr/>
            </p:nvSpPr>
            <p:spPr bwMode="auto">
              <a:xfrm>
                <a:off x="342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4" name="Freeform 236"/>
              <p:cNvSpPr>
                <a:spLocks/>
              </p:cNvSpPr>
              <p:nvPr/>
            </p:nvSpPr>
            <p:spPr bwMode="auto">
              <a:xfrm>
                <a:off x="344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5" name="Freeform 237"/>
              <p:cNvSpPr>
                <a:spLocks/>
              </p:cNvSpPr>
              <p:nvPr/>
            </p:nvSpPr>
            <p:spPr bwMode="auto">
              <a:xfrm>
                <a:off x="345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6" name="Rectangle 238"/>
              <p:cNvSpPr>
                <a:spLocks noChangeArrowheads="1"/>
              </p:cNvSpPr>
              <p:nvPr/>
            </p:nvSpPr>
            <p:spPr bwMode="auto">
              <a:xfrm>
                <a:off x="345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7" name="Freeform 239"/>
              <p:cNvSpPr>
                <a:spLocks/>
              </p:cNvSpPr>
              <p:nvPr/>
            </p:nvSpPr>
            <p:spPr bwMode="auto">
              <a:xfrm>
                <a:off x="346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8" name="Freeform 240"/>
              <p:cNvSpPr>
                <a:spLocks/>
              </p:cNvSpPr>
              <p:nvPr/>
            </p:nvSpPr>
            <p:spPr bwMode="auto">
              <a:xfrm>
                <a:off x="347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89" name="Rectangle 241"/>
              <p:cNvSpPr>
                <a:spLocks noChangeArrowheads="1"/>
              </p:cNvSpPr>
              <p:nvPr/>
            </p:nvSpPr>
            <p:spPr bwMode="auto">
              <a:xfrm>
                <a:off x="347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0" name="Freeform 242"/>
              <p:cNvSpPr>
                <a:spLocks/>
              </p:cNvSpPr>
              <p:nvPr/>
            </p:nvSpPr>
            <p:spPr bwMode="auto">
              <a:xfrm>
                <a:off x="349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1" name="Freeform 243"/>
              <p:cNvSpPr>
                <a:spLocks/>
              </p:cNvSpPr>
              <p:nvPr/>
            </p:nvSpPr>
            <p:spPr bwMode="auto">
              <a:xfrm>
                <a:off x="3505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2" name="Rectangle 244"/>
              <p:cNvSpPr>
                <a:spLocks noChangeArrowheads="1"/>
              </p:cNvSpPr>
              <p:nvPr/>
            </p:nvSpPr>
            <p:spPr bwMode="auto">
              <a:xfrm>
                <a:off x="3506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3" name="Freeform 245"/>
              <p:cNvSpPr>
                <a:spLocks/>
              </p:cNvSpPr>
              <p:nvPr/>
            </p:nvSpPr>
            <p:spPr bwMode="auto">
              <a:xfrm>
                <a:off x="3524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4" name="Freeform 246"/>
              <p:cNvSpPr>
                <a:spLocks/>
              </p:cNvSpPr>
              <p:nvPr/>
            </p:nvSpPr>
            <p:spPr bwMode="auto">
              <a:xfrm>
                <a:off x="353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5" name="Rectangle 247"/>
              <p:cNvSpPr>
                <a:spLocks noChangeArrowheads="1"/>
              </p:cNvSpPr>
              <p:nvPr/>
            </p:nvSpPr>
            <p:spPr bwMode="auto">
              <a:xfrm>
                <a:off x="353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6" name="Freeform 248"/>
              <p:cNvSpPr>
                <a:spLocks/>
              </p:cNvSpPr>
              <p:nvPr/>
            </p:nvSpPr>
            <p:spPr bwMode="auto">
              <a:xfrm>
                <a:off x="355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7" name="Freeform 249"/>
              <p:cNvSpPr>
                <a:spLocks/>
              </p:cNvSpPr>
              <p:nvPr/>
            </p:nvSpPr>
            <p:spPr bwMode="auto">
              <a:xfrm>
                <a:off x="3560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8" name="Rectangle 250"/>
              <p:cNvSpPr>
                <a:spLocks noChangeArrowheads="1"/>
              </p:cNvSpPr>
              <p:nvPr/>
            </p:nvSpPr>
            <p:spPr bwMode="auto">
              <a:xfrm>
                <a:off x="3561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99" name="Freeform 251"/>
              <p:cNvSpPr>
                <a:spLocks/>
              </p:cNvSpPr>
              <p:nvPr/>
            </p:nvSpPr>
            <p:spPr bwMode="auto">
              <a:xfrm>
                <a:off x="3579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0" name="Freeform 252"/>
              <p:cNvSpPr>
                <a:spLocks/>
              </p:cNvSpPr>
              <p:nvPr/>
            </p:nvSpPr>
            <p:spPr bwMode="auto">
              <a:xfrm>
                <a:off x="358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1" name="Rectangle 253"/>
              <p:cNvSpPr>
                <a:spLocks noChangeArrowheads="1"/>
              </p:cNvSpPr>
              <p:nvPr/>
            </p:nvSpPr>
            <p:spPr bwMode="auto">
              <a:xfrm>
                <a:off x="358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2" name="Freeform 254"/>
              <p:cNvSpPr>
                <a:spLocks/>
              </p:cNvSpPr>
              <p:nvPr/>
            </p:nvSpPr>
            <p:spPr bwMode="auto">
              <a:xfrm>
                <a:off x="360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3" name="Freeform 255"/>
              <p:cNvSpPr>
                <a:spLocks/>
              </p:cNvSpPr>
              <p:nvPr/>
            </p:nvSpPr>
            <p:spPr bwMode="auto">
              <a:xfrm>
                <a:off x="3615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4" name="Rectangle 256"/>
              <p:cNvSpPr>
                <a:spLocks noChangeArrowheads="1"/>
              </p:cNvSpPr>
              <p:nvPr/>
            </p:nvSpPr>
            <p:spPr bwMode="auto">
              <a:xfrm>
                <a:off x="361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5" name="Freeform 257"/>
              <p:cNvSpPr>
                <a:spLocks/>
              </p:cNvSpPr>
              <p:nvPr/>
            </p:nvSpPr>
            <p:spPr bwMode="auto">
              <a:xfrm>
                <a:off x="363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6" name="Freeform 258"/>
              <p:cNvSpPr>
                <a:spLocks/>
              </p:cNvSpPr>
              <p:nvPr/>
            </p:nvSpPr>
            <p:spPr bwMode="auto">
              <a:xfrm>
                <a:off x="364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7" name="Rectangle 259"/>
              <p:cNvSpPr>
                <a:spLocks noChangeArrowheads="1"/>
              </p:cNvSpPr>
              <p:nvPr/>
            </p:nvSpPr>
            <p:spPr bwMode="auto">
              <a:xfrm>
                <a:off x="364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8" name="Freeform 260"/>
              <p:cNvSpPr>
                <a:spLocks/>
              </p:cNvSpPr>
              <p:nvPr/>
            </p:nvSpPr>
            <p:spPr bwMode="auto">
              <a:xfrm>
                <a:off x="366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09" name="Freeform 261"/>
              <p:cNvSpPr>
                <a:spLocks/>
              </p:cNvSpPr>
              <p:nvPr/>
            </p:nvSpPr>
            <p:spPr bwMode="auto">
              <a:xfrm>
                <a:off x="3670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0" name="Rectangle 262"/>
              <p:cNvSpPr>
                <a:spLocks noChangeArrowheads="1"/>
              </p:cNvSpPr>
              <p:nvPr/>
            </p:nvSpPr>
            <p:spPr bwMode="auto">
              <a:xfrm>
                <a:off x="367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1" name="Freeform 263"/>
              <p:cNvSpPr>
                <a:spLocks/>
              </p:cNvSpPr>
              <p:nvPr/>
            </p:nvSpPr>
            <p:spPr bwMode="auto">
              <a:xfrm>
                <a:off x="368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2" name="Freeform 264"/>
              <p:cNvSpPr>
                <a:spLocks/>
              </p:cNvSpPr>
              <p:nvPr/>
            </p:nvSpPr>
            <p:spPr bwMode="auto">
              <a:xfrm>
                <a:off x="369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3" name="Rectangle 265"/>
              <p:cNvSpPr>
                <a:spLocks noChangeArrowheads="1"/>
              </p:cNvSpPr>
              <p:nvPr/>
            </p:nvSpPr>
            <p:spPr bwMode="auto">
              <a:xfrm>
                <a:off x="369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4" name="Freeform 266"/>
              <p:cNvSpPr>
                <a:spLocks/>
              </p:cNvSpPr>
              <p:nvPr/>
            </p:nvSpPr>
            <p:spPr bwMode="auto">
              <a:xfrm>
                <a:off x="371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5" name="Freeform 267"/>
              <p:cNvSpPr>
                <a:spLocks/>
              </p:cNvSpPr>
              <p:nvPr/>
            </p:nvSpPr>
            <p:spPr bwMode="auto">
              <a:xfrm>
                <a:off x="3725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6" name="Rectangle 268"/>
              <p:cNvSpPr>
                <a:spLocks noChangeArrowheads="1"/>
              </p:cNvSpPr>
              <p:nvPr/>
            </p:nvSpPr>
            <p:spPr bwMode="auto">
              <a:xfrm>
                <a:off x="372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7" name="Freeform 269"/>
              <p:cNvSpPr>
                <a:spLocks/>
              </p:cNvSpPr>
              <p:nvPr/>
            </p:nvSpPr>
            <p:spPr bwMode="auto">
              <a:xfrm>
                <a:off x="374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8" name="Freeform 270"/>
              <p:cNvSpPr>
                <a:spLocks/>
              </p:cNvSpPr>
              <p:nvPr/>
            </p:nvSpPr>
            <p:spPr bwMode="auto">
              <a:xfrm>
                <a:off x="375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19" name="Rectangle 271"/>
              <p:cNvSpPr>
                <a:spLocks noChangeArrowheads="1"/>
              </p:cNvSpPr>
              <p:nvPr/>
            </p:nvSpPr>
            <p:spPr bwMode="auto">
              <a:xfrm>
                <a:off x="375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0" name="Freeform 272"/>
              <p:cNvSpPr>
                <a:spLocks/>
              </p:cNvSpPr>
              <p:nvPr/>
            </p:nvSpPr>
            <p:spPr bwMode="auto">
              <a:xfrm>
                <a:off x="377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1" name="Freeform 273"/>
              <p:cNvSpPr>
                <a:spLocks/>
              </p:cNvSpPr>
              <p:nvPr/>
            </p:nvSpPr>
            <p:spPr bwMode="auto">
              <a:xfrm>
                <a:off x="377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2" name="Rectangle 274"/>
              <p:cNvSpPr>
                <a:spLocks noChangeArrowheads="1"/>
              </p:cNvSpPr>
              <p:nvPr/>
            </p:nvSpPr>
            <p:spPr bwMode="auto">
              <a:xfrm>
                <a:off x="378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3" name="Freeform 275"/>
              <p:cNvSpPr>
                <a:spLocks/>
              </p:cNvSpPr>
              <p:nvPr/>
            </p:nvSpPr>
            <p:spPr bwMode="auto">
              <a:xfrm>
                <a:off x="379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4" name="Freeform 276"/>
              <p:cNvSpPr>
                <a:spLocks/>
              </p:cNvSpPr>
              <p:nvPr/>
            </p:nvSpPr>
            <p:spPr bwMode="auto">
              <a:xfrm>
                <a:off x="380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5" name="Rectangle 277"/>
              <p:cNvSpPr>
                <a:spLocks noChangeArrowheads="1"/>
              </p:cNvSpPr>
              <p:nvPr/>
            </p:nvSpPr>
            <p:spPr bwMode="auto">
              <a:xfrm>
                <a:off x="380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6" name="Freeform 278"/>
              <p:cNvSpPr>
                <a:spLocks/>
              </p:cNvSpPr>
              <p:nvPr/>
            </p:nvSpPr>
            <p:spPr bwMode="auto">
              <a:xfrm>
                <a:off x="382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7" name="Freeform 279"/>
              <p:cNvSpPr>
                <a:spLocks/>
              </p:cNvSpPr>
              <p:nvPr/>
            </p:nvSpPr>
            <p:spPr bwMode="auto">
              <a:xfrm>
                <a:off x="383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8" name="Rectangle 280"/>
              <p:cNvSpPr>
                <a:spLocks noChangeArrowheads="1"/>
              </p:cNvSpPr>
              <p:nvPr/>
            </p:nvSpPr>
            <p:spPr bwMode="auto">
              <a:xfrm>
                <a:off x="383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29" name="Freeform 281"/>
              <p:cNvSpPr>
                <a:spLocks/>
              </p:cNvSpPr>
              <p:nvPr/>
            </p:nvSpPr>
            <p:spPr bwMode="auto">
              <a:xfrm>
                <a:off x="385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0" name="Freeform 282"/>
              <p:cNvSpPr>
                <a:spLocks/>
              </p:cNvSpPr>
              <p:nvPr/>
            </p:nvSpPr>
            <p:spPr bwMode="auto">
              <a:xfrm>
                <a:off x="3862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1" name="Rectangle 283"/>
              <p:cNvSpPr>
                <a:spLocks noChangeArrowheads="1"/>
              </p:cNvSpPr>
              <p:nvPr/>
            </p:nvSpPr>
            <p:spPr bwMode="auto">
              <a:xfrm>
                <a:off x="3863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2" name="Freeform 284"/>
              <p:cNvSpPr>
                <a:spLocks/>
              </p:cNvSpPr>
              <p:nvPr/>
            </p:nvSpPr>
            <p:spPr bwMode="auto">
              <a:xfrm>
                <a:off x="3881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3" name="Freeform 285"/>
              <p:cNvSpPr>
                <a:spLocks/>
              </p:cNvSpPr>
              <p:nvPr/>
            </p:nvSpPr>
            <p:spPr bwMode="auto">
              <a:xfrm>
                <a:off x="388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4" name="Rectangle 286"/>
              <p:cNvSpPr>
                <a:spLocks noChangeArrowheads="1"/>
              </p:cNvSpPr>
              <p:nvPr/>
            </p:nvSpPr>
            <p:spPr bwMode="auto">
              <a:xfrm>
                <a:off x="389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5" name="Freeform 287"/>
              <p:cNvSpPr>
                <a:spLocks/>
              </p:cNvSpPr>
              <p:nvPr/>
            </p:nvSpPr>
            <p:spPr bwMode="auto">
              <a:xfrm>
                <a:off x="390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6" name="Freeform 288"/>
              <p:cNvSpPr>
                <a:spLocks/>
              </p:cNvSpPr>
              <p:nvPr/>
            </p:nvSpPr>
            <p:spPr bwMode="auto">
              <a:xfrm>
                <a:off x="3917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7" name="Rectangle 289"/>
              <p:cNvSpPr>
                <a:spLocks noChangeArrowheads="1"/>
              </p:cNvSpPr>
              <p:nvPr/>
            </p:nvSpPr>
            <p:spPr bwMode="auto">
              <a:xfrm>
                <a:off x="3918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8" name="Freeform 290"/>
              <p:cNvSpPr>
                <a:spLocks/>
              </p:cNvSpPr>
              <p:nvPr/>
            </p:nvSpPr>
            <p:spPr bwMode="auto">
              <a:xfrm>
                <a:off x="3936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39" name="Freeform 291"/>
              <p:cNvSpPr>
                <a:spLocks/>
              </p:cNvSpPr>
              <p:nvPr/>
            </p:nvSpPr>
            <p:spPr bwMode="auto">
              <a:xfrm>
                <a:off x="394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0" name="Rectangle 292"/>
              <p:cNvSpPr>
                <a:spLocks noChangeArrowheads="1"/>
              </p:cNvSpPr>
              <p:nvPr/>
            </p:nvSpPr>
            <p:spPr bwMode="auto">
              <a:xfrm>
                <a:off x="394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1" name="Freeform 293"/>
              <p:cNvSpPr>
                <a:spLocks/>
              </p:cNvSpPr>
              <p:nvPr/>
            </p:nvSpPr>
            <p:spPr bwMode="auto">
              <a:xfrm>
                <a:off x="396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2" name="Freeform 294"/>
              <p:cNvSpPr>
                <a:spLocks/>
              </p:cNvSpPr>
              <p:nvPr/>
            </p:nvSpPr>
            <p:spPr bwMode="auto">
              <a:xfrm>
                <a:off x="3972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3" name="Rectangle 295"/>
              <p:cNvSpPr>
                <a:spLocks noChangeArrowheads="1"/>
              </p:cNvSpPr>
              <p:nvPr/>
            </p:nvSpPr>
            <p:spPr bwMode="auto">
              <a:xfrm>
                <a:off x="3973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4" name="Freeform 296"/>
              <p:cNvSpPr>
                <a:spLocks/>
              </p:cNvSpPr>
              <p:nvPr/>
            </p:nvSpPr>
            <p:spPr bwMode="auto">
              <a:xfrm>
                <a:off x="3990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5" name="Freeform 297"/>
              <p:cNvSpPr>
                <a:spLocks/>
              </p:cNvSpPr>
              <p:nvPr/>
            </p:nvSpPr>
            <p:spPr bwMode="auto">
              <a:xfrm>
                <a:off x="399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6" name="Rectangle 298"/>
              <p:cNvSpPr>
                <a:spLocks noChangeArrowheads="1"/>
              </p:cNvSpPr>
              <p:nvPr/>
            </p:nvSpPr>
            <p:spPr bwMode="auto">
              <a:xfrm>
                <a:off x="400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7" name="Freeform 299"/>
              <p:cNvSpPr>
                <a:spLocks/>
              </p:cNvSpPr>
              <p:nvPr/>
            </p:nvSpPr>
            <p:spPr bwMode="auto">
              <a:xfrm>
                <a:off x="401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8" name="Freeform 300"/>
              <p:cNvSpPr>
                <a:spLocks/>
              </p:cNvSpPr>
              <p:nvPr/>
            </p:nvSpPr>
            <p:spPr bwMode="auto">
              <a:xfrm>
                <a:off x="4027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49" name="Rectangle 301"/>
              <p:cNvSpPr>
                <a:spLocks noChangeArrowheads="1"/>
              </p:cNvSpPr>
              <p:nvPr/>
            </p:nvSpPr>
            <p:spPr bwMode="auto">
              <a:xfrm>
                <a:off x="4028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0" name="Freeform 302"/>
              <p:cNvSpPr>
                <a:spLocks/>
              </p:cNvSpPr>
              <p:nvPr/>
            </p:nvSpPr>
            <p:spPr bwMode="auto">
              <a:xfrm>
                <a:off x="4045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1" name="Freeform 303"/>
              <p:cNvSpPr>
                <a:spLocks/>
              </p:cNvSpPr>
              <p:nvPr/>
            </p:nvSpPr>
            <p:spPr bwMode="auto">
              <a:xfrm>
                <a:off x="405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2" name="Rectangle 304"/>
              <p:cNvSpPr>
                <a:spLocks noChangeArrowheads="1"/>
              </p:cNvSpPr>
              <p:nvPr/>
            </p:nvSpPr>
            <p:spPr bwMode="auto">
              <a:xfrm>
                <a:off x="405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3" name="Freeform 305"/>
              <p:cNvSpPr>
                <a:spLocks/>
              </p:cNvSpPr>
              <p:nvPr/>
            </p:nvSpPr>
            <p:spPr bwMode="auto">
              <a:xfrm>
                <a:off x="407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4" name="Freeform 306"/>
              <p:cNvSpPr>
                <a:spLocks/>
              </p:cNvSpPr>
              <p:nvPr/>
            </p:nvSpPr>
            <p:spPr bwMode="auto">
              <a:xfrm>
                <a:off x="4082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5" name="Rectangle 307"/>
              <p:cNvSpPr>
                <a:spLocks noChangeArrowheads="1"/>
              </p:cNvSpPr>
              <p:nvPr/>
            </p:nvSpPr>
            <p:spPr bwMode="auto">
              <a:xfrm>
                <a:off x="4083" y="1756"/>
                <a:ext cx="12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6" name="Freeform 308"/>
              <p:cNvSpPr>
                <a:spLocks/>
              </p:cNvSpPr>
              <p:nvPr/>
            </p:nvSpPr>
            <p:spPr bwMode="auto">
              <a:xfrm>
                <a:off x="4095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7" name="Freeform 309"/>
              <p:cNvSpPr>
                <a:spLocks/>
              </p:cNvSpPr>
              <p:nvPr/>
            </p:nvSpPr>
            <p:spPr bwMode="auto">
              <a:xfrm>
                <a:off x="4171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8" name="Rectangle 310"/>
              <p:cNvSpPr>
                <a:spLocks noChangeArrowheads="1"/>
              </p:cNvSpPr>
              <p:nvPr/>
            </p:nvSpPr>
            <p:spPr bwMode="auto">
              <a:xfrm>
                <a:off x="4173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59" name="Freeform 311"/>
              <p:cNvSpPr>
                <a:spLocks/>
              </p:cNvSpPr>
              <p:nvPr/>
            </p:nvSpPr>
            <p:spPr bwMode="auto">
              <a:xfrm>
                <a:off x="4190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0" name="Freeform 312"/>
              <p:cNvSpPr>
                <a:spLocks/>
              </p:cNvSpPr>
              <p:nvPr/>
            </p:nvSpPr>
            <p:spPr bwMode="auto">
              <a:xfrm>
                <a:off x="419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1" name="Rectangle 313"/>
              <p:cNvSpPr>
                <a:spLocks noChangeArrowheads="1"/>
              </p:cNvSpPr>
              <p:nvPr/>
            </p:nvSpPr>
            <p:spPr bwMode="auto">
              <a:xfrm>
                <a:off x="420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2" name="Freeform 314"/>
              <p:cNvSpPr>
                <a:spLocks/>
              </p:cNvSpPr>
              <p:nvPr/>
            </p:nvSpPr>
            <p:spPr bwMode="auto">
              <a:xfrm>
                <a:off x="421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3" name="Freeform 315"/>
              <p:cNvSpPr>
                <a:spLocks/>
              </p:cNvSpPr>
              <p:nvPr/>
            </p:nvSpPr>
            <p:spPr bwMode="auto">
              <a:xfrm>
                <a:off x="4226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4" name="Rectangle 316"/>
              <p:cNvSpPr>
                <a:spLocks noChangeArrowheads="1"/>
              </p:cNvSpPr>
              <p:nvPr/>
            </p:nvSpPr>
            <p:spPr bwMode="auto">
              <a:xfrm>
                <a:off x="4228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5" name="Freeform 317"/>
              <p:cNvSpPr>
                <a:spLocks/>
              </p:cNvSpPr>
              <p:nvPr/>
            </p:nvSpPr>
            <p:spPr bwMode="auto">
              <a:xfrm>
                <a:off x="4245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6" name="Freeform 318"/>
              <p:cNvSpPr>
                <a:spLocks/>
              </p:cNvSpPr>
              <p:nvPr/>
            </p:nvSpPr>
            <p:spPr bwMode="auto">
              <a:xfrm>
                <a:off x="425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7" name="Rectangle 319"/>
              <p:cNvSpPr>
                <a:spLocks noChangeArrowheads="1"/>
              </p:cNvSpPr>
              <p:nvPr/>
            </p:nvSpPr>
            <p:spPr bwMode="auto">
              <a:xfrm>
                <a:off x="425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8" name="Freeform 320"/>
              <p:cNvSpPr>
                <a:spLocks/>
              </p:cNvSpPr>
              <p:nvPr/>
            </p:nvSpPr>
            <p:spPr bwMode="auto">
              <a:xfrm>
                <a:off x="427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69" name="Freeform 321"/>
              <p:cNvSpPr>
                <a:spLocks/>
              </p:cNvSpPr>
              <p:nvPr/>
            </p:nvSpPr>
            <p:spPr bwMode="auto">
              <a:xfrm>
                <a:off x="4281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0" name="Rectangle 322"/>
              <p:cNvSpPr>
                <a:spLocks noChangeArrowheads="1"/>
              </p:cNvSpPr>
              <p:nvPr/>
            </p:nvSpPr>
            <p:spPr bwMode="auto">
              <a:xfrm>
                <a:off x="4282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1" name="Freeform 323"/>
              <p:cNvSpPr>
                <a:spLocks/>
              </p:cNvSpPr>
              <p:nvPr/>
            </p:nvSpPr>
            <p:spPr bwMode="auto">
              <a:xfrm>
                <a:off x="4300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2" name="Freeform 324"/>
              <p:cNvSpPr>
                <a:spLocks/>
              </p:cNvSpPr>
              <p:nvPr/>
            </p:nvSpPr>
            <p:spPr bwMode="auto">
              <a:xfrm>
                <a:off x="430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3" name="Rectangle 325"/>
              <p:cNvSpPr>
                <a:spLocks noChangeArrowheads="1"/>
              </p:cNvSpPr>
              <p:nvPr/>
            </p:nvSpPr>
            <p:spPr bwMode="auto">
              <a:xfrm>
                <a:off x="431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4" name="Freeform 326"/>
              <p:cNvSpPr>
                <a:spLocks/>
              </p:cNvSpPr>
              <p:nvPr/>
            </p:nvSpPr>
            <p:spPr bwMode="auto">
              <a:xfrm>
                <a:off x="432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5" name="Freeform 327"/>
              <p:cNvSpPr>
                <a:spLocks/>
              </p:cNvSpPr>
              <p:nvPr/>
            </p:nvSpPr>
            <p:spPr bwMode="auto">
              <a:xfrm>
                <a:off x="4336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6" name="Rectangle 328"/>
              <p:cNvSpPr>
                <a:spLocks noChangeArrowheads="1"/>
              </p:cNvSpPr>
              <p:nvPr/>
            </p:nvSpPr>
            <p:spPr bwMode="auto">
              <a:xfrm>
                <a:off x="433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7" name="Freeform 329"/>
              <p:cNvSpPr>
                <a:spLocks/>
              </p:cNvSpPr>
              <p:nvPr/>
            </p:nvSpPr>
            <p:spPr bwMode="auto">
              <a:xfrm>
                <a:off x="435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8" name="Freeform 330"/>
              <p:cNvSpPr>
                <a:spLocks/>
              </p:cNvSpPr>
              <p:nvPr/>
            </p:nvSpPr>
            <p:spPr bwMode="auto">
              <a:xfrm>
                <a:off x="436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79" name="Rectangle 331"/>
              <p:cNvSpPr>
                <a:spLocks noChangeArrowheads="1"/>
              </p:cNvSpPr>
              <p:nvPr/>
            </p:nvSpPr>
            <p:spPr bwMode="auto">
              <a:xfrm>
                <a:off x="436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0" name="Freeform 332"/>
              <p:cNvSpPr>
                <a:spLocks/>
              </p:cNvSpPr>
              <p:nvPr/>
            </p:nvSpPr>
            <p:spPr bwMode="auto">
              <a:xfrm>
                <a:off x="438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1" name="Freeform 333"/>
              <p:cNvSpPr>
                <a:spLocks/>
              </p:cNvSpPr>
              <p:nvPr/>
            </p:nvSpPr>
            <p:spPr bwMode="auto">
              <a:xfrm>
                <a:off x="4391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2" name="Rectangle 334"/>
              <p:cNvSpPr>
                <a:spLocks noChangeArrowheads="1"/>
              </p:cNvSpPr>
              <p:nvPr/>
            </p:nvSpPr>
            <p:spPr bwMode="auto">
              <a:xfrm>
                <a:off x="439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3" name="Freeform 335"/>
              <p:cNvSpPr>
                <a:spLocks/>
              </p:cNvSpPr>
              <p:nvPr/>
            </p:nvSpPr>
            <p:spPr bwMode="auto">
              <a:xfrm>
                <a:off x="440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4" name="Freeform 336"/>
              <p:cNvSpPr>
                <a:spLocks/>
              </p:cNvSpPr>
              <p:nvPr/>
            </p:nvSpPr>
            <p:spPr bwMode="auto">
              <a:xfrm>
                <a:off x="441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5" name="Rectangle 337"/>
              <p:cNvSpPr>
                <a:spLocks noChangeArrowheads="1"/>
              </p:cNvSpPr>
              <p:nvPr/>
            </p:nvSpPr>
            <p:spPr bwMode="auto">
              <a:xfrm>
                <a:off x="442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6" name="Freeform 338"/>
              <p:cNvSpPr>
                <a:spLocks/>
              </p:cNvSpPr>
              <p:nvPr/>
            </p:nvSpPr>
            <p:spPr bwMode="auto">
              <a:xfrm>
                <a:off x="443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7" name="Freeform 339"/>
              <p:cNvSpPr>
                <a:spLocks/>
              </p:cNvSpPr>
              <p:nvPr/>
            </p:nvSpPr>
            <p:spPr bwMode="auto">
              <a:xfrm>
                <a:off x="4446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8" name="Rectangle 340"/>
              <p:cNvSpPr>
                <a:spLocks noChangeArrowheads="1"/>
              </p:cNvSpPr>
              <p:nvPr/>
            </p:nvSpPr>
            <p:spPr bwMode="auto">
              <a:xfrm>
                <a:off x="444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89" name="Freeform 341"/>
              <p:cNvSpPr>
                <a:spLocks/>
              </p:cNvSpPr>
              <p:nvPr/>
            </p:nvSpPr>
            <p:spPr bwMode="auto">
              <a:xfrm>
                <a:off x="446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0" name="Freeform 342"/>
              <p:cNvSpPr>
                <a:spLocks/>
              </p:cNvSpPr>
              <p:nvPr/>
            </p:nvSpPr>
            <p:spPr bwMode="auto">
              <a:xfrm>
                <a:off x="447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1" name="Rectangle 343"/>
              <p:cNvSpPr>
                <a:spLocks noChangeArrowheads="1"/>
              </p:cNvSpPr>
              <p:nvPr/>
            </p:nvSpPr>
            <p:spPr bwMode="auto">
              <a:xfrm>
                <a:off x="447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2" name="Freeform 344"/>
              <p:cNvSpPr>
                <a:spLocks/>
              </p:cNvSpPr>
              <p:nvPr/>
            </p:nvSpPr>
            <p:spPr bwMode="auto">
              <a:xfrm>
                <a:off x="449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3" name="Freeform 345"/>
              <p:cNvSpPr>
                <a:spLocks/>
              </p:cNvSpPr>
              <p:nvPr/>
            </p:nvSpPr>
            <p:spPr bwMode="auto">
              <a:xfrm>
                <a:off x="450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4" name="Rectangle 346"/>
              <p:cNvSpPr>
                <a:spLocks noChangeArrowheads="1"/>
              </p:cNvSpPr>
              <p:nvPr/>
            </p:nvSpPr>
            <p:spPr bwMode="auto">
              <a:xfrm>
                <a:off x="450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5" name="Freeform 347"/>
              <p:cNvSpPr>
                <a:spLocks/>
              </p:cNvSpPr>
              <p:nvPr/>
            </p:nvSpPr>
            <p:spPr bwMode="auto">
              <a:xfrm>
                <a:off x="451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6" name="Freeform 348"/>
              <p:cNvSpPr>
                <a:spLocks/>
              </p:cNvSpPr>
              <p:nvPr/>
            </p:nvSpPr>
            <p:spPr bwMode="auto">
              <a:xfrm>
                <a:off x="452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7" name="Rectangle 349"/>
              <p:cNvSpPr>
                <a:spLocks noChangeArrowheads="1"/>
              </p:cNvSpPr>
              <p:nvPr/>
            </p:nvSpPr>
            <p:spPr bwMode="auto">
              <a:xfrm>
                <a:off x="453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8" name="Freeform 350"/>
              <p:cNvSpPr>
                <a:spLocks/>
              </p:cNvSpPr>
              <p:nvPr/>
            </p:nvSpPr>
            <p:spPr bwMode="auto">
              <a:xfrm>
                <a:off x="454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399" name="Freeform 351"/>
              <p:cNvSpPr>
                <a:spLocks/>
              </p:cNvSpPr>
              <p:nvPr/>
            </p:nvSpPr>
            <p:spPr bwMode="auto">
              <a:xfrm>
                <a:off x="455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0" name="Rectangle 352"/>
              <p:cNvSpPr>
                <a:spLocks noChangeArrowheads="1"/>
              </p:cNvSpPr>
              <p:nvPr/>
            </p:nvSpPr>
            <p:spPr bwMode="auto">
              <a:xfrm>
                <a:off x="455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1" name="Freeform 353"/>
              <p:cNvSpPr>
                <a:spLocks/>
              </p:cNvSpPr>
              <p:nvPr/>
            </p:nvSpPr>
            <p:spPr bwMode="auto">
              <a:xfrm>
                <a:off x="457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2" name="Freeform 354"/>
              <p:cNvSpPr>
                <a:spLocks/>
              </p:cNvSpPr>
              <p:nvPr/>
            </p:nvSpPr>
            <p:spPr bwMode="auto">
              <a:xfrm>
                <a:off x="458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3" name="Rectangle 355"/>
              <p:cNvSpPr>
                <a:spLocks noChangeArrowheads="1"/>
              </p:cNvSpPr>
              <p:nvPr/>
            </p:nvSpPr>
            <p:spPr bwMode="auto">
              <a:xfrm>
                <a:off x="4584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4" name="Freeform 356"/>
              <p:cNvSpPr>
                <a:spLocks/>
              </p:cNvSpPr>
              <p:nvPr/>
            </p:nvSpPr>
            <p:spPr bwMode="auto">
              <a:xfrm>
                <a:off x="4602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5" name="Freeform 357"/>
              <p:cNvSpPr>
                <a:spLocks/>
              </p:cNvSpPr>
              <p:nvPr/>
            </p:nvSpPr>
            <p:spPr bwMode="auto">
              <a:xfrm>
                <a:off x="461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6" name="Rectangle 358"/>
              <p:cNvSpPr>
                <a:spLocks noChangeArrowheads="1"/>
              </p:cNvSpPr>
              <p:nvPr/>
            </p:nvSpPr>
            <p:spPr bwMode="auto">
              <a:xfrm>
                <a:off x="461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7" name="Freeform 359"/>
              <p:cNvSpPr>
                <a:spLocks/>
              </p:cNvSpPr>
              <p:nvPr/>
            </p:nvSpPr>
            <p:spPr bwMode="auto">
              <a:xfrm>
                <a:off x="462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8" name="Freeform 360"/>
              <p:cNvSpPr>
                <a:spLocks/>
              </p:cNvSpPr>
              <p:nvPr/>
            </p:nvSpPr>
            <p:spPr bwMode="auto">
              <a:xfrm>
                <a:off x="4638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09" name="Rectangle 361"/>
              <p:cNvSpPr>
                <a:spLocks noChangeArrowheads="1"/>
              </p:cNvSpPr>
              <p:nvPr/>
            </p:nvSpPr>
            <p:spPr bwMode="auto">
              <a:xfrm>
                <a:off x="4639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0" name="Freeform 362"/>
              <p:cNvSpPr>
                <a:spLocks/>
              </p:cNvSpPr>
              <p:nvPr/>
            </p:nvSpPr>
            <p:spPr bwMode="auto">
              <a:xfrm>
                <a:off x="4657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1" name="Freeform 363"/>
              <p:cNvSpPr>
                <a:spLocks/>
              </p:cNvSpPr>
              <p:nvPr/>
            </p:nvSpPr>
            <p:spPr bwMode="auto">
              <a:xfrm>
                <a:off x="466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2" name="Rectangle 364"/>
              <p:cNvSpPr>
                <a:spLocks noChangeArrowheads="1"/>
              </p:cNvSpPr>
              <p:nvPr/>
            </p:nvSpPr>
            <p:spPr bwMode="auto">
              <a:xfrm>
                <a:off x="466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3" name="Freeform 365"/>
              <p:cNvSpPr>
                <a:spLocks/>
              </p:cNvSpPr>
              <p:nvPr/>
            </p:nvSpPr>
            <p:spPr bwMode="auto">
              <a:xfrm>
                <a:off x="468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4" name="Freeform 366"/>
              <p:cNvSpPr>
                <a:spLocks/>
              </p:cNvSpPr>
              <p:nvPr/>
            </p:nvSpPr>
            <p:spPr bwMode="auto">
              <a:xfrm>
                <a:off x="469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5" name="Rectangle 367"/>
              <p:cNvSpPr>
                <a:spLocks noChangeArrowheads="1"/>
              </p:cNvSpPr>
              <p:nvPr/>
            </p:nvSpPr>
            <p:spPr bwMode="auto">
              <a:xfrm>
                <a:off x="469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6" name="Freeform 368"/>
              <p:cNvSpPr>
                <a:spLocks/>
              </p:cNvSpPr>
              <p:nvPr/>
            </p:nvSpPr>
            <p:spPr bwMode="auto">
              <a:xfrm>
                <a:off x="471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7" name="Freeform 369"/>
              <p:cNvSpPr>
                <a:spLocks/>
              </p:cNvSpPr>
              <p:nvPr/>
            </p:nvSpPr>
            <p:spPr bwMode="auto">
              <a:xfrm>
                <a:off x="472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8" name="Rectangle 370"/>
              <p:cNvSpPr>
                <a:spLocks noChangeArrowheads="1"/>
              </p:cNvSpPr>
              <p:nvPr/>
            </p:nvSpPr>
            <p:spPr bwMode="auto">
              <a:xfrm>
                <a:off x="472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19" name="Freeform 371"/>
              <p:cNvSpPr>
                <a:spLocks/>
              </p:cNvSpPr>
              <p:nvPr/>
            </p:nvSpPr>
            <p:spPr bwMode="auto">
              <a:xfrm>
                <a:off x="473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0" name="Freeform 372"/>
              <p:cNvSpPr>
                <a:spLocks/>
              </p:cNvSpPr>
              <p:nvPr/>
            </p:nvSpPr>
            <p:spPr bwMode="auto">
              <a:xfrm>
                <a:off x="4748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1" name="Rectangle 373"/>
              <p:cNvSpPr>
                <a:spLocks noChangeArrowheads="1"/>
              </p:cNvSpPr>
              <p:nvPr/>
            </p:nvSpPr>
            <p:spPr bwMode="auto">
              <a:xfrm>
                <a:off x="474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2" name="Freeform 374"/>
              <p:cNvSpPr>
                <a:spLocks/>
              </p:cNvSpPr>
              <p:nvPr/>
            </p:nvSpPr>
            <p:spPr bwMode="auto">
              <a:xfrm>
                <a:off x="476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3" name="Freeform 375"/>
              <p:cNvSpPr>
                <a:spLocks/>
              </p:cNvSpPr>
              <p:nvPr/>
            </p:nvSpPr>
            <p:spPr bwMode="auto">
              <a:xfrm>
                <a:off x="477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4" name="Rectangle 376"/>
              <p:cNvSpPr>
                <a:spLocks noChangeArrowheads="1"/>
              </p:cNvSpPr>
              <p:nvPr/>
            </p:nvSpPr>
            <p:spPr bwMode="auto">
              <a:xfrm>
                <a:off x="477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5" name="Freeform 377"/>
              <p:cNvSpPr>
                <a:spLocks/>
              </p:cNvSpPr>
              <p:nvPr/>
            </p:nvSpPr>
            <p:spPr bwMode="auto">
              <a:xfrm>
                <a:off x="479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6" name="Freeform 378"/>
              <p:cNvSpPr>
                <a:spLocks/>
              </p:cNvSpPr>
              <p:nvPr/>
            </p:nvSpPr>
            <p:spPr bwMode="auto">
              <a:xfrm>
                <a:off x="480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7" name="Rectangle 379"/>
              <p:cNvSpPr>
                <a:spLocks noChangeArrowheads="1"/>
              </p:cNvSpPr>
              <p:nvPr/>
            </p:nvSpPr>
            <p:spPr bwMode="auto">
              <a:xfrm>
                <a:off x="480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8" name="Freeform 380"/>
              <p:cNvSpPr>
                <a:spLocks/>
              </p:cNvSpPr>
              <p:nvPr/>
            </p:nvSpPr>
            <p:spPr bwMode="auto">
              <a:xfrm>
                <a:off x="482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29" name="Freeform 381"/>
              <p:cNvSpPr>
                <a:spLocks/>
              </p:cNvSpPr>
              <p:nvPr/>
            </p:nvSpPr>
            <p:spPr bwMode="auto">
              <a:xfrm>
                <a:off x="483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0" name="Rectangle 382"/>
              <p:cNvSpPr>
                <a:spLocks noChangeArrowheads="1"/>
              </p:cNvSpPr>
              <p:nvPr/>
            </p:nvSpPr>
            <p:spPr bwMode="auto">
              <a:xfrm>
                <a:off x="483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1" name="Freeform 383"/>
              <p:cNvSpPr>
                <a:spLocks/>
              </p:cNvSpPr>
              <p:nvPr/>
            </p:nvSpPr>
            <p:spPr bwMode="auto">
              <a:xfrm>
                <a:off x="484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2" name="Freeform 384"/>
              <p:cNvSpPr>
                <a:spLocks/>
              </p:cNvSpPr>
              <p:nvPr/>
            </p:nvSpPr>
            <p:spPr bwMode="auto">
              <a:xfrm>
                <a:off x="485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3" name="Rectangle 385"/>
              <p:cNvSpPr>
                <a:spLocks noChangeArrowheads="1"/>
              </p:cNvSpPr>
              <p:nvPr/>
            </p:nvSpPr>
            <p:spPr bwMode="auto">
              <a:xfrm>
                <a:off x="485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4" name="Freeform 386"/>
              <p:cNvSpPr>
                <a:spLocks/>
              </p:cNvSpPr>
              <p:nvPr/>
            </p:nvSpPr>
            <p:spPr bwMode="auto">
              <a:xfrm>
                <a:off x="487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5" name="Freeform 387"/>
              <p:cNvSpPr>
                <a:spLocks/>
              </p:cNvSpPr>
              <p:nvPr/>
            </p:nvSpPr>
            <p:spPr bwMode="auto">
              <a:xfrm>
                <a:off x="126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6" name="Rectangle 388"/>
              <p:cNvSpPr>
                <a:spLocks noChangeArrowheads="1"/>
              </p:cNvSpPr>
              <p:nvPr/>
            </p:nvSpPr>
            <p:spPr bwMode="auto">
              <a:xfrm>
                <a:off x="126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7" name="Freeform 389"/>
              <p:cNvSpPr>
                <a:spLocks/>
              </p:cNvSpPr>
              <p:nvPr/>
            </p:nvSpPr>
            <p:spPr bwMode="auto">
              <a:xfrm>
                <a:off x="128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8" name="Freeform 390"/>
              <p:cNvSpPr>
                <a:spLocks/>
              </p:cNvSpPr>
              <p:nvPr/>
            </p:nvSpPr>
            <p:spPr bwMode="auto">
              <a:xfrm>
                <a:off x="129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39" name="Rectangle 391"/>
              <p:cNvSpPr>
                <a:spLocks noChangeArrowheads="1"/>
              </p:cNvSpPr>
              <p:nvPr/>
            </p:nvSpPr>
            <p:spPr bwMode="auto">
              <a:xfrm>
                <a:off x="129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0" name="Freeform 392"/>
              <p:cNvSpPr>
                <a:spLocks/>
              </p:cNvSpPr>
              <p:nvPr/>
            </p:nvSpPr>
            <p:spPr bwMode="auto">
              <a:xfrm>
                <a:off x="1312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1" name="Freeform 393"/>
              <p:cNvSpPr>
                <a:spLocks/>
              </p:cNvSpPr>
              <p:nvPr/>
            </p:nvSpPr>
            <p:spPr bwMode="auto">
              <a:xfrm>
                <a:off x="132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2" name="Rectangle 394"/>
              <p:cNvSpPr>
                <a:spLocks noChangeArrowheads="1"/>
              </p:cNvSpPr>
              <p:nvPr/>
            </p:nvSpPr>
            <p:spPr bwMode="auto">
              <a:xfrm>
                <a:off x="132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3" name="Freeform 395"/>
              <p:cNvSpPr>
                <a:spLocks/>
              </p:cNvSpPr>
              <p:nvPr/>
            </p:nvSpPr>
            <p:spPr bwMode="auto">
              <a:xfrm>
                <a:off x="133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4" name="Freeform 396"/>
              <p:cNvSpPr>
                <a:spLocks/>
              </p:cNvSpPr>
              <p:nvPr/>
            </p:nvSpPr>
            <p:spPr bwMode="auto">
              <a:xfrm>
                <a:off x="1348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5" name="Rectangle 397"/>
              <p:cNvSpPr>
                <a:spLocks noChangeArrowheads="1"/>
              </p:cNvSpPr>
              <p:nvPr/>
            </p:nvSpPr>
            <p:spPr bwMode="auto">
              <a:xfrm>
                <a:off x="1349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6" name="Freeform 398"/>
              <p:cNvSpPr>
                <a:spLocks/>
              </p:cNvSpPr>
              <p:nvPr/>
            </p:nvSpPr>
            <p:spPr bwMode="auto">
              <a:xfrm>
                <a:off x="1367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7" name="Freeform 399"/>
              <p:cNvSpPr>
                <a:spLocks/>
              </p:cNvSpPr>
              <p:nvPr/>
            </p:nvSpPr>
            <p:spPr bwMode="auto">
              <a:xfrm>
                <a:off x="137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8" name="Rectangle 400"/>
              <p:cNvSpPr>
                <a:spLocks noChangeArrowheads="1"/>
              </p:cNvSpPr>
              <p:nvPr/>
            </p:nvSpPr>
            <p:spPr bwMode="auto">
              <a:xfrm>
                <a:off x="137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49" name="Freeform 401"/>
              <p:cNvSpPr>
                <a:spLocks/>
              </p:cNvSpPr>
              <p:nvPr/>
            </p:nvSpPr>
            <p:spPr bwMode="auto">
              <a:xfrm>
                <a:off x="139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50" name="Freeform 402"/>
              <p:cNvSpPr>
                <a:spLocks/>
              </p:cNvSpPr>
              <p:nvPr/>
            </p:nvSpPr>
            <p:spPr bwMode="auto">
              <a:xfrm>
                <a:off x="1403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51" name="Rectangle 403"/>
              <p:cNvSpPr>
                <a:spLocks noChangeArrowheads="1"/>
              </p:cNvSpPr>
              <p:nvPr/>
            </p:nvSpPr>
            <p:spPr bwMode="auto">
              <a:xfrm>
                <a:off x="1404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52" name="Freeform 404"/>
              <p:cNvSpPr>
                <a:spLocks/>
              </p:cNvSpPr>
              <p:nvPr/>
            </p:nvSpPr>
            <p:spPr bwMode="auto">
              <a:xfrm>
                <a:off x="1422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53" name="Freeform 405"/>
              <p:cNvSpPr>
                <a:spLocks/>
              </p:cNvSpPr>
              <p:nvPr/>
            </p:nvSpPr>
            <p:spPr bwMode="auto">
              <a:xfrm>
                <a:off x="143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655" name="Group 607"/>
            <p:cNvGrpSpPr>
              <a:grpSpLocks/>
            </p:cNvGrpSpPr>
            <p:nvPr/>
          </p:nvGrpSpPr>
          <p:grpSpPr bwMode="auto">
            <a:xfrm>
              <a:off x="1063160" y="1875880"/>
              <a:ext cx="3787442" cy="5977"/>
              <a:chOff x="1432" y="1434"/>
              <a:chExt cx="1901" cy="3"/>
            </a:xfrm>
          </p:grpSpPr>
          <p:sp>
            <p:nvSpPr>
              <p:cNvPr id="2455" name="Rectangle 407"/>
              <p:cNvSpPr>
                <a:spLocks noChangeArrowheads="1"/>
              </p:cNvSpPr>
              <p:nvPr/>
            </p:nvSpPr>
            <p:spPr bwMode="auto">
              <a:xfrm>
                <a:off x="143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56" name="Freeform 408"/>
              <p:cNvSpPr>
                <a:spLocks/>
              </p:cNvSpPr>
              <p:nvPr/>
            </p:nvSpPr>
            <p:spPr bwMode="auto">
              <a:xfrm>
                <a:off x="144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57" name="Freeform 409"/>
              <p:cNvSpPr>
                <a:spLocks/>
              </p:cNvSpPr>
              <p:nvPr/>
            </p:nvSpPr>
            <p:spPr bwMode="auto">
              <a:xfrm>
                <a:off x="145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58" name="Rectangle 410"/>
              <p:cNvSpPr>
                <a:spLocks noChangeArrowheads="1"/>
              </p:cNvSpPr>
              <p:nvPr/>
            </p:nvSpPr>
            <p:spPr bwMode="auto">
              <a:xfrm>
                <a:off x="145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59" name="Freeform 411"/>
              <p:cNvSpPr>
                <a:spLocks/>
              </p:cNvSpPr>
              <p:nvPr/>
            </p:nvSpPr>
            <p:spPr bwMode="auto">
              <a:xfrm>
                <a:off x="147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0" name="Freeform 412"/>
              <p:cNvSpPr>
                <a:spLocks/>
              </p:cNvSpPr>
              <p:nvPr/>
            </p:nvSpPr>
            <p:spPr bwMode="auto">
              <a:xfrm>
                <a:off x="148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1" name="Rectangle 413"/>
              <p:cNvSpPr>
                <a:spLocks noChangeArrowheads="1"/>
              </p:cNvSpPr>
              <p:nvPr/>
            </p:nvSpPr>
            <p:spPr bwMode="auto">
              <a:xfrm>
                <a:off x="148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2" name="Freeform 414"/>
              <p:cNvSpPr>
                <a:spLocks/>
              </p:cNvSpPr>
              <p:nvPr/>
            </p:nvSpPr>
            <p:spPr bwMode="auto">
              <a:xfrm>
                <a:off x="1504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3" name="Freeform 415"/>
              <p:cNvSpPr>
                <a:spLocks/>
              </p:cNvSpPr>
              <p:nvPr/>
            </p:nvSpPr>
            <p:spPr bwMode="auto">
              <a:xfrm>
                <a:off x="1512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4" name="Rectangle 416"/>
              <p:cNvSpPr>
                <a:spLocks noChangeArrowheads="1"/>
              </p:cNvSpPr>
              <p:nvPr/>
            </p:nvSpPr>
            <p:spPr bwMode="auto">
              <a:xfrm>
                <a:off x="151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5" name="Freeform 417"/>
              <p:cNvSpPr>
                <a:spLocks/>
              </p:cNvSpPr>
              <p:nvPr/>
            </p:nvSpPr>
            <p:spPr bwMode="auto">
              <a:xfrm>
                <a:off x="153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6" name="Freeform 418"/>
              <p:cNvSpPr>
                <a:spLocks/>
              </p:cNvSpPr>
              <p:nvPr/>
            </p:nvSpPr>
            <p:spPr bwMode="auto">
              <a:xfrm>
                <a:off x="154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7" name="Rectangle 419"/>
              <p:cNvSpPr>
                <a:spLocks noChangeArrowheads="1"/>
              </p:cNvSpPr>
              <p:nvPr/>
            </p:nvSpPr>
            <p:spPr bwMode="auto">
              <a:xfrm>
                <a:off x="154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8" name="Freeform 420"/>
              <p:cNvSpPr>
                <a:spLocks/>
              </p:cNvSpPr>
              <p:nvPr/>
            </p:nvSpPr>
            <p:spPr bwMode="auto">
              <a:xfrm>
                <a:off x="1559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69" name="Freeform 421"/>
              <p:cNvSpPr>
                <a:spLocks/>
              </p:cNvSpPr>
              <p:nvPr/>
            </p:nvSpPr>
            <p:spPr bwMode="auto">
              <a:xfrm>
                <a:off x="156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0" name="Rectangle 422"/>
              <p:cNvSpPr>
                <a:spLocks noChangeArrowheads="1"/>
              </p:cNvSpPr>
              <p:nvPr/>
            </p:nvSpPr>
            <p:spPr bwMode="auto">
              <a:xfrm>
                <a:off x="156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1" name="Freeform 423"/>
              <p:cNvSpPr>
                <a:spLocks/>
              </p:cNvSpPr>
              <p:nvPr/>
            </p:nvSpPr>
            <p:spPr bwMode="auto">
              <a:xfrm>
                <a:off x="158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2" name="Freeform 424"/>
              <p:cNvSpPr>
                <a:spLocks/>
              </p:cNvSpPr>
              <p:nvPr/>
            </p:nvSpPr>
            <p:spPr bwMode="auto">
              <a:xfrm>
                <a:off x="159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3" name="Rectangle 425"/>
              <p:cNvSpPr>
                <a:spLocks noChangeArrowheads="1"/>
              </p:cNvSpPr>
              <p:nvPr/>
            </p:nvSpPr>
            <p:spPr bwMode="auto">
              <a:xfrm>
                <a:off x="159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4" name="Freeform 426"/>
              <p:cNvSpPr>
                <a:spLocks/>
              </p:cNvSpPr>
              <p:nvPr/>
            </p:nvSpPr>
            <p:spPr bwMode="auto">
              <a:xfrm>
                <a:off x="1614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5" name="Freeform 427"/>
              <p:cNvSpPr>
                <a:spLocks/>
              </p:cNvSpPr>
              <p:nvPr/>
            </p:nvSpPr>
            <p:spPr bwMode="auto">
              <a:xfrm>
                <a:off x="1622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6" name="Rectangle 428"/>
              <p:cNvSpPr>
                <a:spLocks noChangeArrowheads="1"/>
              </p:cNvSpPr>
              <p:nvPr/>
            </p:nvSpPr>
            <p:spPr bwMode="auto">
              <a:xfrm>
                <a:off x="162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7" name="Freeform 429"/>
              <p:cNvSpPr>
                <a:spLocks/>
              </p:cNvSpPr>
              <p:nvPr/>
            </p:nvSpPr>
            <p:spPr bwMode="auto">
              <a:xfrm>
                <a:off x="164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8" name="Freeform 430"/>
              <p:cNvSpPr>
                <a:spLocks/>
              </p:cNvSpPr>
              <p:nvPr/>
            </p:nvSpPr>
            <p:spPr bwMode="auto">
              <a:xfrm>
                <a:off x="1650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79" name="Rectangle 431"/>
              <p:cNvSpPr>
                <a:spLocks noChangeArrowheads="1"/>
              </p:cNvSpPr>
              <p:nvPr/>
            </p:nvSpPr>
            <p:spPr bwMode="auto">
              <a:xfrm>
                <a:off x="1651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0" name="Freeform 432"/>
              <p:cNvSpPr>
                <a:spLocks/>
              </p:cNvSpPr>
              <p:nvPr/>
            </p:nvSpPr>
            <p:spPr bwMode="auto">
              <a:xfrm>
                <a:off x="1669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1" name="Freeform 433"/>
              <p:cNvSpPr>
                <a:spLocks/>
              </p:cNvSpPr>
              <p:nvPr/>
            </p:nvSpPr>
            <p:spPr bwMode="auto">
              <a:xfrm>
                <a:off x="167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2" name="Rectangle 434"/>
              <p:cNvSpPr>
                <a:spLocks noChangeArrowheads="1"/>
              </p:cNvSpPr>
              <p:nvPr/>
            </p:nvSpPr>
            <p:spPr bwMode="auto">
              <a:xfrm>
                <a:off x="167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3" name="Freeform 435"/>
              <p:cNvSpPr>
                <a:spLocks/>
              </p:cNvSpPr>
              <p:nvPr/>
            </p:nvSpPr>
            <p:spPr bwMode="auto">
              <a:xfrm>
                <a:off x="169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4" name="Freeform 436"/>
              <p:cNvSpPr>
                <a:spLocks/>
              </p:cNvSpPr>
              <p:nvPr/>
            </p:nvSpPr>
            <p:spPr bwMode="auto">
              <a:xfrm>
                <a:off x="1705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5" name="Rectangle 437"/>
              <p:cNvSpPr>
                <a:spLocks noChangeArrowheads="1"/>
              </p:cNvSpPr>
              <p:nvPr/>
            </p:nvSpPr>
            <p:spPr bwMode="auto">
              <a:xfrm>
                <a:off x="1706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6" name="Freeform 438"/>
              <p:cNvSpPr>
                <a:spLocks/>
              </p:cNvSpPr>
              <p:nvPr/>
            </p:nvSpPr>
            <p:spPr bwMode="auto">
              <a:xfrm>
                <a:off x="1724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7" name="Freeform 439"/>
              <p:cNvSpPr>
                <a:spLocks/>
              </p:cNvSpPr>
              <p:nvPr/>
            </p:nvSpPr>
            <p:spPr bwMode="auto">
              <a:xfrm>
                <a:off x="1732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8" name="Rectangle 440"/>
              <p:cNvSpPr>
                <a:spLocks noChangeArrowheads="1"/>
              </p:cNvSpPr>
              <p:nvPr/>
            </p:nvSpPr>
            <p:spPr bwMode="auto">
              <a:xfrm>
                <a:off x="173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89" name="Freeform 441"/>
              <p:cNvSpPr>
                <a:spLocks/>
              </p:cNvSpPr>
              <p:nvPr/>
            </p:nvSpPr>
            <p:spPr bwMode="auto">
              <a:xfrm>
                <a:off x="175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0" name="Freeform 442"/>
              <p:cNvSpPr>
                <a:spLocks/>
              </p:cNvSpPr>
              <p:nvPr/>
            </p:nvSpPr>
            <p:spPr bwMode="auto">
              <a:xfrm>
                <a:off x="175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1" name="Rectangle 443"/>
              <p:cNvSpPr>
                <a:spLocks noChangeArrowheads="1"/>
              </p:cNvSpPr>
              <p:nvPr/>
            </p:nvSpPr>
            <p:spPr bwMode="auto">
              <a:xfrm>
                <a:off x="176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2" name="Freeform 444"/>
              <p:cNvSpPr>
                <a:spLocks/>
              </p:cNvSpPr>
              <p:nvPr/>
            </p:nvSpPr>
            <p:spPr bwMode="auto">
              <a:xfrm>
                <a:off x="1778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3" name="Freeform 445"/>
              <p:cNvSpPr>
                <a:spLocks/>
              </p:cNvSpPr>
              <p:nvPr/>
            </p:nvSpPr>
            <p:spPr bwMode="auto">
              <a:xfrm>
                <a:off x="178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4" name="Rectangle 446"/>
              <p:cNvSpPr>
                <a:spLocks noChangeArrowheads="1"/>
              </p:cNvSpPr>
              <p:nvPr/>
            </p:nvSpPr>
            <p:spPr bwMode="auto">
              <a:xfrm>
                <a:off x="178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5" name="Freeform 447"/>
              <p:cNvSpPr>
                <a:spLocks/>
              </p:cNvSpPr>
              <p:nvPr/>
            </p:nvSpPr>
            <p:spPr bwMode="auto">
              <a:xfrm>
                <a:off x="180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6" name="Freeform 448"/>
              <p:cNvSpPr>
                <a:spLocks/>
              </p:cNvSpPr>
              <p:nvPr/>
            </p:nvSpPr>
            <p:spPr bwMode="auto">
              <a:xfrm>
                <a:off x="181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7" name="Rectangle 449"/>
              <p:cNvSpPr>
                <a:spLocks noChangeArrowheads="1"/>
              </p:cNvSpPr>
              <p:nvPr/>
            </p:nvSpPr>
            <p:spPr bwMode="auto">
              <a:xfrm>
                <a:off x="181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8" name="Freeform 450"/>
              <p:cNvSpPr>
                <a:spLocks/>
              </p:cNvSpPr>
              <p:nvPr/>
            </p:nvSpPr>
            <p:spPr bwMode="auto">
              <a:xfrm>
                <a:off x="1833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99" name="Freeform 451"/>
              <p:cNvSpPr>
                <a:spLocks/>
              </p:cNvSpPr>
              <p:nvPr/>
            </p:nvSpPr>
            <p:spPr bwMode="auto">
              <a:xfrm>
                <a:off x="1842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0" name="Rectangle 452"/>
              <p:cNvSpPr>
                <a:spLocks noChangeArrowheads="1"/>
              </p:cNvSpPr>
              <p:nvPr/>
            </p:nvSpPr>
            <p:spPr bwMode="auto">
              <a:xfrm>
                <a:off x="184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1" name="Freeform 453"/>
              <p:cNvSpPr>
                <a:spLocks/>
              </p:cNvSpPr>
              <p:nvPr/>
            </p:nvSpPr>
            <p:spPr bwMode="auto">
              <a:xfrm>
                <a:off x="1861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2" name="Freeform 454"/>
              <p:cNvSpPr>
                <a:spLocks/>
              </p:cNvSpPr>
              <p:nvPr/>
            </p:nvSpPr>
            <p:spPr bwMode="auto">
              <a:xfrm>
                <a:off x="186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3" name="Rectangle 455"/>
              <p:cNvSpPr>
                <a:spLocks noChangeArrowheads="1"/>
              </p:cNvSpPr>
              <p:nvPr/>
            </p:nvSpPr>
            <p:spPr bwMode="auto">
              <a:xfrm>
                <a:off x="187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4" name="Freeform 456"/>
              <p:cNvSpPr>
                <a:spLocks/>
              </p:cNvSpPr>
              <p:nvPr/>
            </p:nvSpPr>
            <p:spPr bwMode="auto">
              <a:xfrm>
                <a:off x="1888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5" name="Freeform 457"/>
              <p:cNvSpPr>
                <a:spLocks/>
              </p:cNvSpPr>
              <p:nvPr/>
            </p:nvSpPr>
            <p:spPr bwMode="auto">
              <a:xfrm>
                <a:off x="189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6" name="Rectangle 458"/>
              <p:cNvSpPr>
                <a:spLocks noChangeArrowheads="1"/>
              </p:cNvSpPr>
              <p:nvPr/>
            </p:nvSpPr>
            <p:spPr bwMode="auto">
              <a:xfrm>
                <a:off x="189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7" name="Freeform 459"/>
              <p:cNvSpPr>
                <a:spLocks/>
              </p:cNvSpPr>
              <p:nvPr/>
            </p:nvSpPr>
            <p:spPr bwMode="auto">
              <a:xfrm>
                <a:off x="1916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8" name="Freeform 460"/>
              <p:cNvSpPr>
                <a:spLocks/>
              </p:cNvSpPr>
              <p:nvPr/>
            </p:nvSpPr>
            <p:spPr bwMode="auto">
              <a:xfrm>
                <a:off x="192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09" name="Rectangle 461"/>
              <p:cNvSpPr>
                <a:spLocks noChangeArrowheads="1"/>
              </p:cNvSpPr>
              <p:nvPr/>
            </p:nvSpPr>
            <p:spPr bwMode="auto">
              <a:xfrm>
                <a:off x="192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0" name="Freeform 462"/>
              <p:cNvSpPr>
                <a:spLocks/>
              </p:cNvSpPr>
              <p:nvPr/>
            </p:nvSpPr>
            <p:spPr bwMode="auto">
              <a:xfrm>
                <a:off x="1943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1" name="Freeform 463"/>
              <p:cNvSpPr>
                <a:spLocks/>
              </p:cNvSpPr>
              <p:nvPr/>
            </p:nvSpPr>
            <p:spPr bwMode="auto">
              <a:xfrm>
                <a:off x="1952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2" name="Rectangle 464"/>
              <p:cNvSpPr>
                <a:spLocks noChangeArrowheads="1"/>
              </p:cNvSpPr>
              <p:nvPr/>
            </p:nvSpPr>
            <p:spPr bwMode="auto">
              <a:xfrm>
                <a:off x="195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3" name="Freeform 465"/>
              <p:cNvSpPr>
                <a:spLocks/>
              </p:cNvSpPr>
              <p:nvPr/>
            </p:nvSpPr>
            <p:spPr bwMode="auto">
              <a:xfrm>
                <a:off x="1971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4" name="Freeform 466"/>
              <p:cNvSpPr>
                <a:spLocks/>
              </p:cNvSpPr>
              <p:nvPr/>
            </p:nvSpPr>
            <p:spPr bwMode="auto">
              <a:xfrm>
                <a:off x="197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5" name="Rectangle 467"/>
              <p:cNvSpPr>
                <a:spLocks noChangeArrowheads="1"/>
              </p:cNvSpPr>
              <p:nvPr/>
            </p:nvSpPr>
            <p:spPr bwMode="auto">
              <a:xfrm>
                <a:off x="198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6" name="Freeform 468"/>
              <p:cNvSpPr>
                <a:spLocks/>
              </p:cNvSpPr>
              <p:nvPr/>
            </p:nvSpPr>
            <p:spPr bwMode="auto">
              <a:xfrm>
                <a:off x="1998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7" name="Freeform 469"/>
              <p:cNvSpPr>
                <a:spLocks/>
              </p:cNvSpPr>
              <p:nvPr/>
            </p:nvSpPr>
            <p:spPr bwMode="auto">
              <a:xfrm>
                <a:off x="2007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8" name="Rectangle 470"/>
              <p:cNvSpPr>
                <a:spLocks noChangeArrowheads="1"/>
              </p:cNvSpPr>
              <p:nvPr/>
            </p:nvSpPr>
            <p:spPr bwMode="auto">
              <a:xfrm>
                <a:off x="2008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19" name="Freeform 471"/>
              <p:cNvSpPr>
                <a:spLocks/>
              </p:cNvSpPr>
              <p:nvPr/>
            </p:nvSpPr>
            <p:spPr bwMode="auto">
              <a:xfrm>
                <a:off x="2026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0" name="Freeform 472"/>
              <p:cNvSpPr>
                <a:spLocks/>
              </p:cNvSpPr>
              <p:nvPr/>
            </p:nvSpPr>
            <p:spPr bwMode="auto">
              <a:xfrm>
                <a:off x="203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1" name="Rectangle 473"/>
              <p:cNvSpPr>
                <a:spLocks noChangeArrowheads="1"/>
              </p:cNvSpPr>
              <p:nvPr/>
            </p:nvSpPr>
            <p:spPr bwMode="auto">
              <a:xfrm>
                <a:off x="203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2" name="Freeform 474"/>
              <p:cNvSpPr>
                <a:spLocks/>
              </p:cNvSpPr>
              <p:nvPr/>
            </p:nvSpPr>
            <p:spPr bwMode="auto">
              <a:xfrm>
                <a:off x="2053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3" name="Freeform 475"/>
              <p:cNvSpPr>
                <a:spLocks/>
              </p:cNvSpPr>
              <p:nvPr/>
            </p:nvSpPr>
            <p:spPr bwMode="auto">
              <a:xfrm>
                <a:off x="2062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4" name="Rectangle 476"/>
              <p:cNvSpPr>
                <a:spLocks noChangeArrowheads="1"/>
              </p:cNvSpPr>
              <p:nvPr/>
            </p:nvSpPr>
            <p:spPr bwMode="auto">
              <a:xfrm>
                <a:off x="2063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5" name="Freeform 477"/>
              <p:cNvSpPr>
                <a:spLocks/>
              </p:cNvSpPr>
              <p:nvPr/>
            </p:nvSpPr>
            <p:spPr bwMode="auto">
              <a:xfrm>
                <a:off x="2081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6" name="Freeform 478"/>
              <p:cNvSpPr>
                <a:spLocks/>
              </p:cNvSpPr>
              <p:nvPr/>
            </p:nvSpPr>
            <p:spPr bwMode="auto">
              <a:xfrm>
                <a:off x="208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7" name="Rectangle 479"/>
              <p:cNvSpPr>
                <a:spLocks noChangeArrowheads="1"/>
              </p:cNvSpPr>
              <p:nvPr/>
            </p:nvSpPr>
            <p:spPr bwMode="auto">
              <a:xfrm>
                <a:off x="209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8" name="Freeform 480"/>
              <p:cNvSpPr>
                <a:spLocks/>
              </p:cNvSpPr>
              <p:nvPr/>
            </p:nvSpPr>
            <p:spPr bwMode="auto">
              <a:xfrm>
                <a:off x="2108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29" name="Freeform 481"/>
              <p:cNvSpPr>
                <a:spLocks/>
              </p:cNvSpPr>
              <p:nvPr/>
            </p:nvSpPr>
            <p:spPr bwMode="auto">
              <a:xfrm>
                <a:off x="211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0" name="Rectangle 482"/>
              <p:cNvSpPr>
                <a:spLocks noChangeArrowheads="1"/>
              </p:cNvSpPr>
              <p:nvPr/>
            </p:nvSpPr>
            <p:spPr bwMode="auto">
              <a:xfrm>
                <a:off x="211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1" name="Freeform 483"/>
              <p:cNvSpPr>
                <a:spLocks/>
              </p:cNvSpPr>
              <p:nvPr/>
            </p:nvSpPr>
            <p:spPr bwMode="auto">
              <a:xfrm>
                <a:off x="213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2" name="Freeform 484"/>
              <p:cNvSpPr>
                <a:spLocks/>
              </p:cNvSpPr>
              <p:nvPr/>
            </p:nvSpPr>
            <p:spPr bwMode="auto">
              <a:xfrm>
                <a:off x="214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3" name="Rectangle 485"/>
              <p:cNvSpPr>
                <a:spLocks noChangeArrowheads="1"/>
              </p:cNvSpPr>
              <p:nvPr/>
            </p:nvSpPr>
            <p:spPr bwMode="auto">
              <a:xfrm>
                <a:off x="214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4" name="Freeform 486"/>
              <p:cNvSpPr>
                <a:spLocks/>
              </p:cNvSpPr>
              <p:nvPr/>
            </p:nvSpPr>
            <p:spPr bwMode="auto">
              <a:xfrm>
                <a:off x="2163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5" name="Freeform 487"/>
              <p:cNvSpPr>
                <a:spLocks/>
              </p:cNvSpPr>
              <p:nvPr/>
            </p:nvSpPr>
            <p:spPr bwMode="auto">
              <a:xfrm>
                <a:off x="217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6" name="Rectangle 488"/>
              <p:cNvSpPr>
                <a:spLocks noChangeArrowheads="1"/>
              </p:cNvSpPr>
              <p:nvPr/>
            </p:nvSpPr>
            <p:spPr bwMode="auto">
              <a:xfrm>
                <a:off x="217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7" name="Freeform 489"/>
              <p:cNvSpPr>
                <a:spLocks/>
              </p:cNvSpPr>
              <p:nvPr/>
            </p:nvSpPr>
            <p:spPr bwMode="auto">
              <a:xfrm>
                <a:off x="219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8" name="Freeform 490"/>
              <p:cNvSpPr>
                <a:spLocks/>
              </p:cNvSpPr>
              <p:nvPr/>
            </p:nvSpPr>
            <p:spPr bwMode="auto">
              <a:xfrm>
                <a:off x="219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39" name="Rectangle 491"/>
              <p:cNvSpPr>
                <a:spLocks noChangeArrowheads="1"/>
              </p:cNvSpPr>
              <p:nvPr/>
            </p:nvSpPr>
            <p:spPr bwMode="auto">
              <a:xfrm>
                <a:off x="220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0" name="Freeform 492"/>
              <p:cNvSpPr>
                <a:spLocks/>
              </p:cNvSpPr>
              <p:nvPr/>
            </p:nvSpPr>
            <p:spPr bwMode="auto">
              <a:xfrm>
                <a:off x="2218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1" name="Freeform 493"/>
              <p:cNvSpPr>
                <a:spLocks/>
              </p:cNvSpPr>
              <p:nvPr/>
            </p:nvSpPr>
            <p:spPr bwMode="auto">
              <a:xfrm>
                <a:off x="222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2" name="Rectangle 494"/>
              <p:cNvSpPr>
                <a:spLocks noChangeArrowheads="1"/>
              </p:cNvSpPr>
              <p:nvPr/>
            </p:nvSpPr>
            <p:spPr bwMode="auto">
              <a:xfrm>
                <a:off x="222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3" name="Freeform 495"/>
              <p:cNvSpPr>
                <a:spLocks/>
              </p:cNvSpPr>
              <p:nvPr/>
            </p:nvSpPr>
            <p:spPr bwMode="auto">
              <a:xfrm>
                <a:off x="224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4" name="Freeform 496"/>
              <p:cNvSpPr>
                <a:spLocks/>
              </p:cNvSpPr>
              <p:nvPr/>
            </p:nvSpPr>
            <p:spPr bwMode="auto">
              <a:xfrm>
                <a:off x="225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5" name="Rectangle 497"/>
              <p:cNvSpPr>
                <a:spLocks noChangeArrowheads="1"/>
              </p:cNvSpPr>
              <p:nvPr/>
            </p:nvSpPr>
            <p:spPr bwMode="auto">
              <a:xfrm>
                <a:off x="225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6" name="Freeform 498"/>
              <p:cNvSpPr>
                <a:spLocks/>
              </p:cNvSpPr>
              <p:nvPr/>
            </p:nvSpPr>
            <p:spPr bwMode="auto">
              <a:xfrm>
                <a:off x="2273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7" name="Freeform 499"/>
              <p:cNvSpPr>
                <a:spLocks/>
              </p:cNvSpPr>
              <p:nvPr/>
            </p:nvSpPr>
            <p:spPr bwMode="auto">
              <a:xfrm>
                <a:off x="228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8" name="Rectangle 500"/>
              <p:cNvSpPr>
                <a:spLocks noChangeArrowheads="1"/>
              </p:cNvSpPr>
              <p:nvPr/>
            </p:nvSpPr>
            <p:spPr bwMode="auto">
              <a:xfrm>
                <a:off x="228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49" name="Freeform 501"/>
              <p:cNvSpPr>
                <a:spLocks/>
              </p:cNvSpPr>
              <p:nvPr/>
            </p:nvSpPr>
            <p:spPr bwMode="auto">
              <a:xfrm>
                <a:off x="230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0" name="Freeform 502"/>
              <p:cNvSpPr>
                <a:spLocks/>
              </p:cNvSpPr>
              <p:nvPr/>
            </p:nvSpPr>
            <p:spPr bwMode="auto">
              <a:xfrm>
                <a:off x="2309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1" name="Rectangle 503"/>
              <p:cNvSpPr>
                <a:spLocks noChangeArrowheads="1"/>
              </p:cNvSpPr>
              <p:nvPr/>
            </p:nvSpPr>
            <p:spPr bwMode="auto">
              <a:xfrm>
                <a:off x="2310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2" name="Freeform 504"/>
              <p:cNvSpPr>
                <a:spLocks/>
              </p:cNvSpPr>
              <p:nvPr/>
            </p:nvSpPr>
            <p:spPr bwMode="auto">
              <a:xfrm>
                <a:off x="2328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3" name="Freeform 505"/>
              <p:cNvSpPr>
                <a:spLocks/>
              </p:cNvSpPr>
              <p:nvPr/>
            </p:nvSpPr>
            <p:spPr bwMode="auto">
              <a:xfrm>
                <a:off x="233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4" name="Rectangle 506"/>
              <p:cNvSpPr>
                <a:spLocks noChangeArrowheads="1"/>
              </p:cNvSpPr>
              <p:nvPr/>
            </p:nvSpPr>
            <p:spPr bwMode="auto">
              <a:xfrm>
                <a:off x="233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5" name="Freeform 507"/>
              <p:cNvSpPr>
                <a:spLocks/>
              </p:cNvSpPr>
              <p:nvPr/>
            </p:nvSpPr>
            <p:spPr bwMode="auto">
              <a:xfrm>
                <a:off x="235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6" name="Freeform 508"/>
              <p:cNvSpPr>
                <a:spLocks/>
              </p:cNvSpPr>
              <p:nvPr/>
            </p:nvSpPr>
            <p:spPr bwMode="auto">
              <a:xfrm>
                <a:off x="2364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7" name="Rectangle 509"/>
              <p:cNvSpPr>
                <a:spLocks noChangeArrowheads="1"/>
              </p:cNvSpPr>
              <p:nvPr/>
            </p:nvSpPr>
            <p:spPr bwMode="auto">
              <a:xfrm>
                <a:off x="2365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8" name="Freeform 510"/>
              <p:cNvSpPr>
                <a:spLocks/>
              </p:cNvSpPr>
              <p:nvPr/>
            </p:nvSpPr>
            <p:spPr bwMode="auto">
              <a:xfrm>
                <a:off x="2383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59" name="Freeform 511"/>
              <p:cNvSpPr>
                <a:spLocks/>
              </p:cNvSpPr>
              <p:nvPr/>
            </p:nvSpPr>
            <p:spPr bwMode="auto">
              <a:xfrm>
                <a:off x="239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0" name="Rectangle 512"/>
              <p:cNvSpPr>
                <a:spLocks noChangeArrowheads="1"/>
              </p:cNvSpPr>
              <p:nvPr/>
            </p:nvSpPr>
            <p:spPr bwMode="auto">
              <a:xfrm>
                <a:off x="239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1" name="Freeform 513"/>
              <p:cNvSpPr>
                <a:spLocks/>
              </p:cNvSpPr>
              <p:nvPr/>
            </p:nvSpPr>
            <p:spPr bwMode="auto">
              <a:xfrm>
                <a:off x="241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2" name="Freeform 514"/>
              <p:cNvSpPr>
                <a:spLocks/>
              </p:cNvSpPr>
              <p:nvPr/>
            </p:nvSpPr>
            <p:spPr bwMode="auto">
              <a:xfrm>
                <a:off x="241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3" name="Rectangle 515"/>
              <p:cNvSpPr>
                <a:spLocks noChangeArrowheads="1"/>
              </p:cNvSpPr>
              <p:nvPr/>
            </p:nvSpPr>
            <p:spPr bwMode="auto">
              <a:xfrm>
                <a:off x="242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4" name="Freeform 516"/>
              <p:cNvSpPr>
                <a:spLocks/>
              </p:cNvSpPr>
              <p:nvPr/>
            </p:nvSpPr>
            <p:spPr bwMode="auto">
              <a:xfrm>
                <a:off x="243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5" name="Freeform 517"/>
              <p:cNvSpPr>
                <a:spLocks/>
              </p:cNvSpPr>
              <p:nvPr/>
            </p:nvSpPr>
            <p:spPr bwMode="auto">
              <a:xfrm>
                <a:off x="244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6" name="Rectangle 518"/>
              <p:cNvSpPr>
                <a:spLocks noChangeArrowheads="1"/>
              </p:cNvSpPr>
              <p:nvPr/>
            </p:nvSpPr>
            <p:spPr bwMode="auto">
              <a:xfrm>
                <a:off x="244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7" name="Freeform 519"/>
              <p:cNvSpPr>
                <a:spLocks/>
              </p:cNvSpPr>
              <p:nvPr/>
            </p:nvSpPr>
            <p:spPr bwMode="auto">
              <a:xfrm>
                <a:off x="246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8" name="Freeform 520"/>
              <p:cNvSpPr>
                <a:spLocks/>
              </p:cNvSpPr>
              <p:nvPr/>
            </p:nvSpPr>
            <p:spPr bwMode="auto">
              <a:xfrm>
                <a:off x="247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69" name="Rectangle 521"/>
              <p:cNvSpPr>
                <a:spLocks noChangeArrowheads="1"/>
              </p:cNvSpPr>
              <p:nvPr/>
            </p:nvSpPr>
            <p:spPr bwMode="auto">
              <a:xfrm>
                <a:off x="247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0" name="Freeform 522"/>
              <p:cNvSpPr>
                <a:spLocks/>
              </p:cNvSpPr>
              <p:nvPr/>
            </p:nvSpPr>
            <p:spPr bwMode="auto">
              <a:xfrm>
                <a:off x="249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1" name="Freeform 523"/>
              <p:cNvSpPr>
                <a:spLocks/>
              </p:cNvSpPr>
              <p:nvPr/>
            </p:nvSpPr>
            <p:spPr bwMode="auto">
              <a:xfrm>
                <a:off x="250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2" name="Rectangle 524"/>
              <p:cNvSpPr>
                <a:spLocks noChangeArrowheads="1"/>
              </p:cNvSpPr>
              <p:nvPr/>
            </p:nvSpPr>
            <p:spPr bwMode="auto">
              <a:xfrm>
                <a:off x="250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3" name="Freeform 525"/>
              <p:cNvSpPr>
                <a:spLocks/>
              </p:cNvSpPr>
              <p:nvPr/>
            </p:nvSpPr>
            <p:spPr bwMode="auto">
              <a:xfrm>
                <a:off x="2520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4" name="Freeform 526"/>
              <p:cNvSpPr>
                <a:spLocks/>
              </p:cNvSpPr>
              <p:nvPr/>
            </p:nvSpPr>
            <p:spPr bwMode="auto">
              <a:xfrm>
                <a:off x="252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5" name="Rectangle 527"/>
              <p:cNvSpPr>
                <a:spLocks noChangeArrowheads="1"/>
              </p:cNvSpPr>
              <p:nvPr/>
            </p:nvSpPr>
            <p:spPr bwMode="auto">
              <a:xfrm>
                <a:off x="253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6" name="Freeform 528"/>
              <p:cNvSpPr>
                <a:spLocks/>
              </p:cNvSpPr>
              <p:nvPr/>
            </p:nvSpPr>
            <p:spPr bwMode="auto">
              <a:xfrm>
                <a:off x="254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7" name="Freeform 529"/>
              <p:cNvSpPr>
                <a:spLocks/>
              </p:cNvSpPr>
              <p:nvPr/>
            </p:nvSpPr>
            <p:spPr bwMode="auto">
              <a:xfrm>
                <a:off x="255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8" name="Rectangle 530"/>
              <p:cNvSpPr>
                <a:spLocks noChangeArrowheads="1"/>
              </p:cNvSpPr>
              <p:nvPr/>
            </p:nvSpPr>
            <p:spPr bwMode="auto">
              <a:xfrm>
                <a:off x="255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79" name="Freeform 531"/>
              <p:cNvSpPr>
                <a:spLocks/>
              </p:cNvSpPr>
              <p:nvPr/>
            </p:nvSpPr>
            <p:spPr bwMode="auto">
              <a:xfrm>
                <a:off x="2575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0" name="Freeform 532"/>
              <p:cNvSpPr>
                <a:spLocks/>
              </p:cNvSpPr>
              <p:nvPr/>
            </p:nvSpPr>
            <p:spPr bwMode="auto">
              <a:xfrm>
                <a:off x="258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1" name="Rectangle 533"/>
              <p:cNvSpPr>
                <a:spLocks noChangeArrowheads="1"/>
              </p:cNvSpPr>
              <p:nvPr/>
            </p:nvSpPr>
            <p:spPr bwMode="auto">
              <a:xfrm>
                <a:off x="258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2" name="Freeform 534"/>
              <p:cNvSpPr>
                <a:spLocks/>
              </p:cNvSpPr>
              <p:nvPr/>
            </p:nvSpPr>
            <p:spPr bwMode="auto">
              <a:xfrm>
                <a:off x="260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3" name="Freeform 535"/>
              <p:cNvSpPr>
                <a:spLocks/>
              </p:cNvSpPr>
              <p:nvPr/>
            </p:nvSpPr>
            <p:spPr bwMode="auto">
              <a:xfrm>
                <a:off x="261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4" name="Rectangle 536"/>
              <p:cNvSpPr>
                <a:spLocks noChangeArrowheads="1"/>
              </p:cNvSpPr>
              <p:nvPr/>
            </p:nvSpPr>
            <p:spPr bwMode="auto">
              <a:xfrm>
                <a:off x="261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5" name="Freeform 537"/>
              <p:cNvSpPr>
                <a:spLocks/>
              </p:cNvSpPr>
              <p:nvPr/>
            </p:nvSpPr>
            <p:spPr bwMode="auto">
              <a:xfrm>
                <a:off x="2630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6" name="Freeform 538"/>
              <p:cNvSpPr>
                <a:spLocks/>
              </p:cNvSpPr>
              <p:nvPr/>
            </p:nvSpPr>
            <p:spPr bwMode="auto">
              <a:xfrm>
                <a:off x="263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7" name="Rectangle 539"/>
              <p:cNvSpPr>
                <a:spLocks noChangeArrowheads="1"/>
              </p:cNvSpPr>
              <p:nvPr/>
            </p:nvSpPr>
            <p:spPr bwMode="auto">
              <a:xfrm>
                <a:off x="264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8" name="Freeform 540"/>
              <p:cNvSpPr>
                <a:spLocks/>
              </p:cNvSpPr>
              <p:nvPr/>
            </p:nvSpPr>
            <p:spPr bwMode="auto">
              <a:xfrm>
                <a:off x="265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89" name="Freeform 541"/>
              <p:cNvSpPr>
                <a:spLocks/>
              </p:cNvSpPr>
              <p:nvPr/>
            </p:nvSpPr>
            <p:spPr bwMode="auto">
              <a:xfrm>
                <a:off x="2666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0" name="Rectangle 542"/>
              <p:cNvSpPr>
                <a:spLocks noChangeArrowheads="1"/>
              </p:cNvSpPr>
              <p:nvPr/>
            </p:nvSpPr>
            <p:spPr bwMode="auto">
              <a:xfrm>
                <a:off x="2667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1" name="Freeform 543"/>
              <p:cNvSpPr>
                <a:spLocks/>
              </p:cNvSpPr>
              <p:nvPr/>
            </p:nvSpPr>
            <p:spPr bwMode="auto">
              <a:xfrm>
                <a:off x="2685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2" name="Freeform 544"/>
              <p:cNvSpPr>
                <a:spLocks/>
              </p:cNvSpPr>
              <p:nvPr/>
            </p:nvSpPr>
            <p:spPr bwMode="auto">
              <a:xfrm>
                <a:off x="269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3" name="Rectangle 545"/>
              <p:cNvSpPr>
                <a:spLocks noChangeArrowheads="1"/>
              </p:cNvSpPr>
              <p:nvPr/>
            </p:nvSpPr>
            <p:spPr bwMode="auto">
              <a:xfrm>
                <a:off x="269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4" name="Freeform 546"/>
              <p:cNvSpPr>
                <a:spLocks/>
              </p:cNvSpPr>
              <p:nvPr/>
            </p:nvSpPr>
            <p:spPr bwMode="auto">
              <a:xfrm>
                <a:off x="271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5" name="Freeform 547"/>
              <p:cNvSpPr>
                <a:spLocks/>
              </p:cNvSpPr>
              <p:nvPr/>
            </p:nvSpPr>
            <p:spPr bwMode="auto">
              <a:xfrm>
                <a:off x="2721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6" name="Rectangle 548"/>
              <p:cNvSpPr>
                <a:spLocks noChangeArrowheads="1"/>
              </p:cNvSpPr>
              <p:nvPr/>
            </p:nvSpPr>
            <p:spPr bwMode="auto">
              <a:xfrm>
                <a:off x="2722" y="1434"/>
                <a:ext cx="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7" name="Freeform 549"/>
              <p:cNvSpPr>
                <a:spLocks/>
              </p:cNvSpPr>
              <p:nvPr/>
            </p:nvSpPr>
            <p:spPr bwMode="auto">
              <a:xfrm>
                <a:off x="2729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8" name="Freeform 550"/>
              <p:cNvSpPr>
                <a:spLocks/>
              </p:cNvSpPr>
              <p:nvPr/>
            </p:nvSpPr>
            <p:spPr bwMode="auto">
              <a:xfrm>
                <a:off x="281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599" name="Rectangle 551"/>
              <p:cNvSpPr>
                <a:spLocks noChangeArrowheads="1"/>
              </p:cNvSpPr>
              <p:nvPr/>
            </p:nvSpPr>
            <p:spPr bwMode="auto">
              <a:xfrm>
                <a:off x="282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0" name="Freeform 552"/>
              <p:cNvSpPr>
                <a:spLocks/>
              </p:cNvSpPr>
              <p:nvPr/>
            </p:nvSpPr>
            <p:spPr bwMode="auto">
              <a:xfrm>
                <a:off x="283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1" name="Freeform 553"/>
              <p:cNvSpPr>
                <a:spLocks/>
              </p:cNvSpPr>
              <p:nvPr/>
            </p:nvSpPr>
            <p:spPr bwMode="auto">
              <a:xfrm>
                <a:off x="284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2" name="Rectangle 554"/>
              <p:cNvSpPr>
                <a:spLocks noChangeArrowheads="1"/>
              </p:cNvSpPr>
              <p:nvPr/>
            </p:nvSpPr>
            <p:spPr bwMode="auto">
              <a:xfrm>
                <a:off x="284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3" name="Freeform 555"/>
              <p:cNvSpPr>
                <a:spLocks/>
              </p:cNvSpPr>
              <p:nvPr/>
            </p:nvSpPr>
            <p:spPr bwMode="auto">
              <a:xfrm>
                <a:off x="2865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4" name="Freeform 556"/>
              <p:cNvSpPr>
                <a:spLocks/>
              </p:cNvSpPr>
              <p:nvPr/>
            </p:nvSpPr>
            <p:spPr bwMode="auto">
              <a:xfrm>
                <a:off x="287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5" name="Rectangle 557"/>
              <p:cNvSpPr>
                <a:spLocks noChangeArrowheads="1"/>
              </p:cNvSpPr>
              <p:nvPr/>
            </p:nvSpPr>
            <p:spPr bwMode="auto">
              <a:xfrm>
                <a:off x="287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6" name="Freeform 558"/>
              <p:cNvSpPr>
                <a:spLocks/>
              </p:cNvSpPr>
              <p:nvPr/>
            </p:nvSpPr>
            <p:spPr bwMode="auto">
              <a:xfrm>
                <a:off x="289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7" name="Freeform 559"/>
              <p:cNvSpPr>
                <a:spLocks/>
              </p:cNvSpPr>
              <p:nvPr/>
            </p:nvSpPr>
            <p:spPr bwMode="auto">
              <a:xfrm>
                <a:off x="2901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8" name="Rectangle 560"/>
              <p:cNvSpPr>
                <a:spLocks noChangeArrowheads="1"/>
              </p:cNvSpPr>
              <p:nvPr/>
            </p:nvSpPr>
            <p:spPr bwMode="auto">
              <a:xfrm>
                <a:off x="2902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09" name="Freeform 561"/>
              <p:cNvSpPr>
                <a:spLocks/>
              </p:cNvSpPr>
              <p:nvPr/>
            </p:nvSpPr>
            <p:spPr bwMode="auto">
              <a:xfrm>
                <a:off x="2920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0" name="Freeform 562"/>
              <p:cNvSpPr>
                <a:spLocks/>
              </p:cNvSpPr>
              <p:nvPr/>
            </p:nvSpPr>
            <p:spPr bwMode="auto">
              <a:xfrm>
                <a:off x="292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1" name="Rectangle 563"/>
              <p:cNvSpPr>
                <a:spLocks noChangeArrowheads="1"/>
              </p:cNvSpPr>
              <p:nvPr/>
            </p:nvSpPr>
            <p:spPr bwMode="auto">
              <a:xfrm>
                <a:off x="293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2" name="Freeform 564"/>
              <p:cNvSpPr>
                <a:spLocks/>
              </p:cNvSpPr>
              <p:nvPr/>
            </p:nvSpPr>
            <p:spPr bwMode="auto">
              <a:xfrm>
                <a:off x="294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3" name="Freeform 565"/>
              <p:cNvSpPr>
                <a:spLocks/>
              </p:cNvSpPr>
              <p:nvPr/>
            </p:nvSpPr>
            <p:spPr bwMode="auto">
              <a:xfrm>
                <a:off x="2956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4" name="Rectangle 566"/>
              <p:cNvSpPr>
                <a:spLocks noChangeArrowheads="1"/>
              </p:cNvSpPr>
              <p:nvPr/>
            </p:nvSpPr>
            <p:spPr bwMode="auto">
              <a:xfrm>
                <a:off x="295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5" name="Freeform 567"/>
              <p:cNvSpPr>
                <a:spLocks/>
              </p:cNvSpPr>
              <p:nvPr/>
            </p:nvSpPr>
            <p:spPr bwMode="auto">
              <a:xfrm>
                <a:off x="297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6" name="Freeform 568"/>
              <p:cNvSpPr>
                <a:spLocks/>
              </p:cNvSpPr>
              <p:nvPr/>
            </p:nvSpPr>
            <p:spPr bwMode="auto">
              <a:xfrm>
                <a:off x="298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7" name="Rectangle 569"/>
              <p:cNvSpPr>
                <a:spLocks noChangeArrowheads="1"/>
              </p:cNvSpPr>
              <p:nvPr/>
            </p:nvSpPr>
            <p:spPr bwMode="auto">
              <a:xfrm>
                <a:off x="298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8" name="Freeform 570"/>
              <p:cNvSpPr>
                <a:spLocks/>
              </p:cNvSpPr>
              <p:nvPr/>
            </p:nvSpPr>
            <p:spPr bwMode="auto">
              <a:xfrm>
                <a:off x="300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19" name="Freeform 571"/>
              <p:cNvSpPr>
                <a:spLocks/>
              </p:cNvSpPr>
              <p:nvPr/>
            </p:nvSpPr>
            <p:spPr bwMode="auto">
              <a:xfrm>
                <a:off x="3011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0" name="Rectangle 572"/>
              <p:cNvSpPr>
                <a:spLocks noChangeArrowheads="1"/>
              </p:cNvSpPr>
              <p:nvPr/>
            </p:nvSpPr>
            <p:spPr bwMode="auto">
              <a:xfrm>
                <a:off x="301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1" name="Freeform 573"/>
              <p:cNvSpPr>
                <a:spLocks/>
              </p:cNvSpPr>
              <p:nvPr/>
            </p:nvSpPr>
            <p:spPr bwMode="auto">
              <a:xfrm>
                <a:off x="302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2" name="Freeform 574"/>
              <p:cNvSpPr>
                <a:spLocks/>
              </p:cNvSpPr>
              <p:nvPr/>
            </p:nvSpPr>
            <p:spPr bwMode="auto">
              <a:xfrm>
                <a:off x="303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3" name="Rectangle 575"/>
              <p:cNvSpPr>
                <a:spLocks noChangeArrowheads="1"/>
              </p:cNvSpPr>
              <p:nvPr/>
            </p:nvSpPr>
            <p:spPr bwMode="auto">
              <a:xfrm>
                <a:off x="304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4" name="Freeform 576"/>
              <p:cNvSpPr>
                <a:spLocks/>
              </p:cNvSpPr>
              <p:nvPr/>
            </p:nvSpPr>
            <p:spPr bwMode="auto">
              <a:xfrm>
                <a:off x="305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5" name="Freeform 577"/>
              <p:cNvSpPr>
                <a:spLocks/>
              </p:cNvSpPr>
              <p:nvPr/>
            </p:nvSpPr>
            <p:spPr bwMode="auto">
              <a:xfrm>
                <a:off x="3066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6" name="Rectangle 578"/>
              <p:cNvSpPr>
                <a:spLocks noChangeArrowheads="1"/>
              </p:cNvSpPr>
              <p:nvPr/>
            </p:nvSpPr>
            <p:spPr bwMode="auto">
              <a:xfrm>
                <a:off x="306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7" name="Freeform 579"/>
              <p:cNvSpPr>
                <a:spLocks/>
              </p:cNvSpPr>
              <p:nvPr/>
            </p:nvSpPr>
            <p:spPr bwMode="auto">
              <a:xfrm>
                <a:off x="308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8" name="Freeform 580"/>
              <p:cNvSpPr>
                <a:spLocks/>
              </p:cNvSpPr>
              <p:nvPr/>
            </p:nvSpPr>
            <p:spPr bwMode="auto">
              <a:xfrm>
                <a:off x="309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29" name="Rectangle 581"/>
              <p:cNvSpPr>
                <a:spLocks noChangeArrowheads="1"/>
              </p:cNvSpPr>
              <p:nvPr/>
            </p:nvSpPr>
            <p:spPr bwMode="auto">
              <a:xfrm>
                <a:off x="309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0" name="Freeform 582"/>
              <p:cNvSpPr>
                <a:spLocks/>
              </p:cNvSpPr>
              <p:nvPr/>
            </p:nvSpPr>
            <p:spPr bwMode="auto">
              <a:xfrm>
                <a:off x="311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1" name="Freeform 583"/>
              <p:cNvSpPr>
                <a:spLocks/>
              </p:cNvSpPr>
              <p:nvPr/>
            </p:nvSpPr>
            <p:spPr bwMode="auto">
              <a:xfrm>
                <a:off x="312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2" name="Rectangle 584"/>
              <p:cNvSpPr>
                <a:spLocks noChangeArrowheads="1"/>
              </p:cNvSpPr>
              <p:nvPr/>
            </p:nvSpPr>
            <p:spPr bwMode="auto">
              <a:xfrm>
                <a:off x="312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3" name="Freeform 585"/>
              <p:cNvSpPr>
                <a:spLocks/>
              </p:cNvSpPr>
              <p:nvPr/>
            </p:nvSpPr>
            <p:spPr bwMode="auto">
              <a:xfrm>
                <a:off x="313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4" name="Freeform 586"/>
              <p:cNvSpPr>
                <a:spLocks/>
              </p:cNvSpPr>
              <p:nvPr/>
            </p:nvSpPr>
            <p:spPr bwMode="auto">
              <a:xfrm>
                <a:off x="314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5" name="Rectangle 587"/>
              <p:cNvSpPr>
                <a:spLocks noChangeArrowheads="1"/>
              </p:cNvSpPr>
              <p:nvPr/>
            </p:nvSpPr>
            <p:spPr bwMode="auto">
              <a:xfrm>
                <a:off x="315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6" name="Freeform 588"/>
              <p:cNvSpPr>
                <a:spLocks/>
              </p:cNvSpPr>
              <p:nvPr/>
            </p:nvSpPr>
            <p:spPr bwMode="auto">
              <a:xfrm>
                <a:off x="316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7" name="Freeform 589"/>
              <p:cNvSpPr>
                <a:spLocks/>
              </p:cNvSpPr>
              <p:nvPr/>
            </p:nvSpPr>
            <p:spPr bwMode="auto">
              <a:xfrm>
                <a:off x="317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8" name="Rectangle 590"/>
              <p:cNvSpPr>
                <a:spLocks noChangeArrowheads="1"/>
              </p:cNvSpPr>
              <p:nvPr/>
            </p:nvSpPr>
            <p:spPr bwMode="auto">
              <a:xfrm>
                <a:off x="317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39" name="Freeform 591"/>
              <p:cNvSpPr>
                <a:spLocks/>
              </p:cNvSpPr>
              <p:nvPr/>
            </p:nvSpPr>
            <p:spPr bwMode="auto">
              <a:xfrm>
                <a:off x="319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0" name="Freeform 592"/>
              <p:cNvSpPr>
                <a:spLocks/>
              </p:cNvSpPr>
              <p:nvPr/>
            </p:nvSpPr>
            <p:spPr bwMode="auto">
              <a:xfrm>
                <a:off x="3203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1" name="Rectangle 593"/>
              <p:cNvSpPr>
                <a:spLocks noChangeArrowheads="1"/>
              </p:cNvSpPr>
              <p:nvPr/>
            </p:nvSpPr>
            <p:spPr bwMode="auto">
              <a:xfrm>
                <a:off x="3204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2" name="Freeform 594"/>
              <p:cNvSpPr>
                <a:spLocks/>
              </p:cNvSpPr>
              <p:nvPr/>
            </p:nvSpPr>
            <p:spPr bwMode="auto">
              <a:xfrm>
                <a:off x="3222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3" name="Freeform 595"/>
              <p:cNvSpPr>
                <a:spLocks/>
              </p:cNvSpPr>
              <p:nvPr/>
            </p:nvSpPr>
            <p:spPr bwMode="auto">
              <a:xfrm>
                <a:off x="323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4" name="Rectangle 596"/>
              <p:cNvSpPr>
                <a:spLocks noChangeArrowheads="1"/>
              </p:cNvSpPr>
              <p:nvPr/>
            </p:nvSpPr>
            <p:spPr bwMode="auto">
              <a:xfrm>
                <a:off x="323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5" name="Freeform 597"/>
              <p:cNvSpPr>
                <a:spLocks/>
              </p:cNvSpPr>
              <p:nvPr/>
            </p:nvSpPr>
            <p:spPr bwMode="auto">
              <a:xfrm>
                <a:off x="324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6" name="Freeform 598"/>
              <p:cNvSpPr>
                <a:spLocks/>
              </p:cNvSpPr>
              <p:nvPr/>
            </p:nvSpPr>
            <p:spPr bwMode="auto">
              <a:xfrm>
                <a:off x="3258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7" name="Rectangle 599"/>
              <p:cNvSpPr>
                <a:spLocks noChangeArrowheads="1"/>
              </p:cNvSpPr>
              <p:nvPr/>
            </p:nvSpPr>
            <p:spPr bwMode="auto">
              <a:xfrm>
                <a:off x="3259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8" name="Freeform 600"/>
              <p:cNvSpPr>
                <a:spLocks/>
              </p:cNvSpPr>
              <p:nvPr/>
            </p:nvSpPr>
            <p:spPr bwMode="auto">
              <a:xfrm>
                <a:off x="3277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49" name="Freeform 601"/>
              <p:cNvSpPr>
                <a:spLocks/>
              </p:cNvSpPr>
              <p:nvPr/>
            </p:nvSpPr>
            <p:spPr bwMode="auto">
              <a:xfrm>
                <a:off x="328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50" name="Rectangle 602"/>
              <p:cNvSpPr>
                <a:spLocks noChangeArrowheads="1"/>
              </p:cNvSpPr>
              <p:nvPr/>
            </p:nvSpPr>
            <p:spPr bwMode="auto">
              <a:xfrm>
                <a:off x="328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51" name="Freeform 603"/>
              <p:cNvSpPr>
                <a:spLocks/>
              </p:cNvSpPr>
              <p:nvPr/>
            </p:nvSpPr>
            <p:spPr bwMode="auto">
              <a:xfrm>
                <a:off x="330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52" name="Freeform 604"/>
              <p:cNvSpPr>
                <a:spLocks/>
              </p:cNvSpPr>
              <p:nvPr/>
            </p:nvSpPr>
            <p:spPr bwMode="auto">
              <a:xfrm>
                <a:off x="3313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53" name="Rectangle 605"/>
              <p:cNvSpPr>
                <a:spLocks noChangeArrowheads="1"/>
              </p:cNvSpPr>
              <p:nvPr/>
            </p:nvSpPr>
            <p:spPr bwMode="auto">
              <a:xfrm>
                <a:off x="331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54" name="Freeform 606"/>
              <p:cNvSpPr>
                <a:spLocks/>
              </p:cNvSpPr>
              <p:nvPr/>
            </p:nvSpPr>
            <p:spPr bwMode="auto">
              <a:xfrm>
                <a:off x="333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856" name="Group 808"/>
            <p:cNvGrpSpPr>
              <a:grpSpLocks/>
            </p:cNvGrpSpPr>
            <p:nvPr/>
          </p:nvGrpSpPr>
          <p:grpSpPr bwMode="auto">
            <a:xfrm>
              <a:off x="730439" y="1234346"/>
              <a:ext cx="7198332" cy="647511"/>
              <a:chOff x="1265" y="1112"/>
              <a:chExt cx="3613" cy="325"/>
            </a:xfrm>
          </p:grpSpPr>
          <p:sp>
            <p:nvSpPr>
              <p:cNvPr id="2656" name="Freeform 608"/>
              <p:cNvSpPr>
                <a:spLocks/>
              </p:cNvSpPr>
              <p:nvPr/>
            </p:nvSpPr>
            <p:spPr bwMode="auto">
              <a:xfrm>
                <a:off x="334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57" name="Rectangle 609"/>
              <p:cNvSpPr>
                <a:spLocks noChangeArrowheads="1"/>
              </p:cNvSpPr>
              <p:nvPr/>
            </p:nvSpPr>
            <p:spPr bwMode="auto">
              <a:xfrm>
                <a:off x="334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58" name="Freeform 610"/>
              <p:cNvSpPr>
                <a:spLocks/>
              </p:cNvSpPr>
              <p:nvPr/>
            </p:nvSpPr>
            <p:spPr bwMode="auto">
              <a:xfrm>
                <a:off x="335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59" name="Freeform 611"/>
              <p:cNvSpPr>
                <a:spLocks/>
              </p:cNvSpPr>
              <p:nvPr/>
            </p:nvSpPr>
            <p:spPr bwMode="auto">
              <a:xfrm>
                <a:off x="3368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0" name="Rectangle 612"/>
              <p:cNvSpPr>
                <a:spLocks noChangeArrowheads="1"/>
              </p:cNvSpPr>
              <p:nvPr/>
            </p:nvSpPr>
            <p:spPr bwMode="auto">
              <a:xfrm>
                <a:off x="336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1" name="Freeform 613"/>
              <p:cNvSpPr>
                <a:spLocks/>
              </p:cNvSpPr>
              <p:nvPr/>
            </p:nvSpPr>
            <p:spPr bwMode="auto">
              <a:xfrm>
                <a:off x="338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2" name="Freeform 614"/>
              <p:cNvSpPr>
                <a:spLocks/>
              </p:cNvSpPr>
              <p:nvPr/>
            </p:nvSpPr>
            <p:spPr bwMode="auto">
              <a:xfrm>
                <a:off x="339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3" name="Rectangle 615"/>
              <p:cNvSpPr>
                <a:spLocks noChangeArrowheads="1"/>
              </p:cNvSpPr>
              <p:nvPr/>
            </p:nvSpPr>
            <p:spPr bwMode="auto">
              <a:xfrm>
                <a:off x="339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4" name="Freeform 616"/>
              <p:cNvSpPr>
                <a:spLocks/>
              </p:cNvSpPr>
              <p:nvPr/>
            </p:nvSpPr>
            <p:spPr bwMode="auto">
              <a:xfrm>
                <a:off x="341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5" name="Freeform 617"/>
              <p:cNvSpPr>
                <a:spLocks/>
              </p:cNvSpPr>
              <p:nvPr/>
            </p:nvSpPr>
            <p:spPr bwMode="auto">
              <a:xfrm>
                <a:off x="3423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6" name="Rectangle 618"/>
              <p:cNvSpPr>
                <a:spLocks noChangeArrowheads="1"/>
              </p:cNvSpPr>
              <p:nvPr/>
            </p:nvSpPr>
            <p:spPr bwMode="auto">
              <a:xfrm>
                <a:off x="342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7" name="Freeform 619"/>
              <p:cNvSpPr>
                <a:spLocks/>
              </p:cNvSpPr>
              <p:nvPr/>
            </p:nvSpPr>
            <p:spPr bwMode="auto">
              <a:xfrm>
                <a:off x="344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8" name="Freeform 620"/>
              <p:cNvSpPr>
                <a:spLocks/>
              </p:cNvSpPr>
              <p:nvPr/>
            </p:nvSpPr>
            <p:spPr bwMode="auto">
              <a:xfrm>
                <a:off x="345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69" name="Rectangle 621"/>
              <p:cNvSpPr>
                <a:spLocks noChangeArrowheads="1"/>
              </p:cNvSpPr>
              <p:nvPr/>
            </p:nvSpPr>
            <p:spPr bwMode="auto">
              <a:xfrm>
                <a:off x="345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0" name="Freeform 622"/>
              <p:cNvSpPr>
                <a:spLocks/>
              </p:cNvSpPr>
              <p:nvPr/>
            </p:nvSpPr>
            <p:spPr bwMode="auto">
              <a:xfrm>
                <a:off x="346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1" name="Freeform 623"/>
              <p:cNvSpPr>
                <a:spLocks/>
              </p:cNvSpPr>
              <p:nvPr/>
            </p:nvSpPr>
            <p:spPr bwMode="auto">
              <a:xfrm>
                <a:off x="347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2" name="Rectangle 624"/>
              <p:cNvSpPr>
                <a:spLocks noChangeArrowheads="1"/>
              </p:cNvSpPr>
              <p:nvPr/>
            </p:nvSpPr>
            <p:spPr bwMode="auto">
              <a:xfrm>
                <a:off x="347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3" name="Freeform 625"/>
              <p:cNvSpPr>
                <a:spLocks/>
              </p:cNvSpPr>
              <p:nvPr/>
            </p:nvSpPr>
            <p:spPr bwMode="auto">
              <a:xfrm>
                <a:off x="349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4" name="Freeform 626"/>
              <p:cNvSpPr>
                <a:spLocks/>
              </p:cNvSpPr>
              <p:nvPr/>
            </p:nvSpPr>
            <p:spPr bwMode="auto">
              <a:xfrm>
                <a:off x="3505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5" name="Rectangle 627"/>
              <p:cNvSpPr>
                <a:spLocks noChangeArrowheads="1"/>
              </p:cNvSpPr>
              <p:nvPr/>
            </p:nvSpPr>
            <p:spPr bwMode="auto">
              <a:xfrm>
                <a:off x="3506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6" name="Freeform 628"/>
              <p:cNvSpPr>
                <a:spLocks/>
              </p:cNvSpPr>
              <p:nvPr/>
            </p:nvSpPr>
            <p:spPr bwMode="auto">
              <a:xfrm>
                <a:off x="3524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7" name="Freeform 629"/>
              <p:cNvSpPr>
                <a:spLocks/>
              </p:cNvSpPr>
              <p:nvPr/>
            </p:nvSpPr>
            <p:spPr bwMode="auto">
              <a:xfrm>
                <a:off x="3532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8" name="Rectangle 630"/>
              <p:cNvSpPr>
                <a:spLocks noChangeArrowheads="1"/>
              </p:cNvSpPr>
              <p:nvPr/>
            </p:nvSpPr>
            <p:spPr bwMode="auto">
              <a:xfrm>
                <a:off x="353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79" name="Freeform 631"/>
              <p:cNvSpPr>
                <a:spLocks/>
              </p:cNvSpPr>
              <p:nvPr/>
            </p:nvSpPr>
            <p:spPr bwMode="auto">
              <a:xfrm>
                <a:off x="355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0" name="Freeform 632"/>
              <p:cNvSpPr>
                <a:spLocks/>
              </p:cNvSpPr>
              <p:nvPr/>
            </p:nvSpPr>
            <p:spPr bwMode="auto">
              <a:xfrm>
                <a:off x="3560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1" name="Rectangle 633"/>
              <p:cNvSpPr>
                <a:spLocks noChangeArrowheads="1"/>
              </p:cNvSpPr>
              <p:nvPr/>
            </p:nvSpPr>
            <p:spPr bwMode="auto">
              <a:xfrm>
                <a:off x="3561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2" name="Freeform 634"/>
              <p:cNvSpPr>
                <a:spLocks/>
              </p:cNvSpPr>
              <p:nvPr/>
            </p:nvSpPr>
            <p:spPr bwMode="auto">
              <a:xfrm>
                <a:off x="3579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3" name="Freeform 635"/>
              <p:cNvSpPr>
                <a:spLocks/>
              </p:cNvSpPr>
              <p:nvPr/>
            </p:nvSpPr>
            <p:spPr bwMode="auto">
              <a:xfrm>
                <a:off x="358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4" name="Rectangle 636"/>
              <p:cNvSpPr>
                <a:spLocks noChangeArrowheads="1"/>
              </p:cNvSpPr>
              <p:nvPr/>
            </p:nvSpPr>
            <p:spPr bwMode="auto">
              <a:xfrm>
                <a:off x="358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5" name="Freeform 637"/>
              <p:cNvSpPr>
                <a:spLocks/>
              </p:cNvSpPr>
              <p:nvPr/>
            </p:nvSpPr>
            <p:spPr bwMode="auto">
              <a:xfrm>
                <a:off x="360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6" name="Freeform 638"/>
              <p:cNvSpPr>
                <a:spLocks/>
              </p:cNvSpPr>
              <p:nvPr/>
            </p:nvSpPr>
            <p:spPr bwMode="auto">
              <a:xfrm>
                <a:off x="3615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7" name="Rectangle 639"/>
              <p:cNvSpPr>
                <a:spLocks noChangeArrowheads="1"/>
              </p:cNvSpPr>
              <p:nvPr/>
            </p:nvSpPr>
            <p:spPr bwMode="auto">
              <a:xfrm>
                <a:off x="361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8" name="Freeform 640"/>
              <p:cNvSpPr>
                <a:spLocks/>
              </p:cNvSpPr>
              <p:nvPr/>
            </p:nvSpPr>
            <p:spPr bwMode="auto">
              <a:xfrm>
                <a:off x="3633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89" name="Freeform 641"/>
              <p:cNvSpPr>
                <a:spLocks/>
              </p:cNvSpPr>
              <p:nvPr/>
            </p:nvSpPr>
            <p:spPr bwMode="auto">
              <a:xfrm>
                <a:off x="3642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0" name="Rectangle 642"/>
              <p:cNvSpPr>
                <a:spLocks noChangeArrowheads="1"/>
              </p:cNvSpPr>
              <p:nvPr/>
            </p:nvSpPr>
            <p:spPr bwMode="auto">
              <a:xfrm>
                <a:off x="364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1" name="Freeform 643"/>
              <p:cNvSpPr>
                <a:spLocks/>
              </p:cNvSpPr>
              <p:nvPr/>
            </p:nvSpPr>
            <p:spPr bwMode="auto">
              <a:xfrm>
                <a:off x="366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2" name="Freeform 644"/>
              <p:cNvSpPr>
                <a:spLocks/>
              </p:cNvSpPr>
              <p:nvPr/>
            </p:nvSpPr>
            <p:spPr bwMode="auto">
              <a:xfrm>
                <a:off x="3670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3" name="Rectangle 645"/>
              <p:cNvSpPr>
                <a:spLocks noChangeArrowheads="1"/>
              </p:cNvSpPr>
              <p:nvPr/>
            </p:nvSpPr>
            <p:spPr bwMode="auto">
              <a:xfrm>
                <a:off x="367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4" name="Freeform 646"/>
              <p:cNvSpPr>
                <a:spLocks/>
              </p:cNvSpPr>
              <p:nvPr/>
            </p:nvSpPr>
            <p:spPr bwMode="auto">
              <a:xfrm>
                <a:off x="3688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5" name="Freeform 647"/>
              <p:cNvSpPr>
                <a:spLocks/>
              </p:cNvSpPr>
              <p:nvPr/>
            </p:nvSpPr>
            <p:spPr bwMode="auto">
              <a:xfrm>
                <a:off x="369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6" name="Rectangle 648"/>
              <p:cNvSpPr>
                <a:spLocks noChangeArrowheads="1"/>
              </p:cNvSpPr>
              <p:nvPr/>
            </p:nvSpPr>
            <p:spPr bwMode="auto">
              <a:xfrm>
                <a:off x="369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7" name="Freeform 649"/>
              <p:cNvSpPr>
                <a:spLocks/>
              </p:cNvSpPr>
              <p:nvPr/>
            </p:nvSpPr>
            <p:spPr bwMode="auto">
              <a:xfrm>
                <a:off x="371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8" name="Freeform 650"/>
              <p:cNvSpPr>
                <a:spLocks/>
              </p:cNvSpPr>
              <p:nvPr/>
            </p:nvSpPr>
            <p:spPr bwMode="auto">
              <a:xfrm>
                <a:off x="3725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99" name="Rectangle 651"/>
              <p:cNvSpPr>
                <a:spLocks noChangeArrowheads="1"/>
              </p:cNvSpPr>
              <p:nvPr/>
            </p:nvSpPr>
            <p:spPr bwMode="auto">
              <a:xfrm>
                <a:off x="372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0" name="Freeform 652"/>
              <p:cNvSpPr>
                <a:spLocks/>
              </p:cNvSpPr>
              <p:nvPr/>
            </p:nvSpPr>
            <p:spPr bwMode="auto">
              <a:xfrm>
                <a:off x="3743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1" name="Freeform 653"/>
              <p:cNvSpPr>
                <a:spLocks/>
              </p:cNvSpPr>
              <p:nvPr/>
            </p:nvSpPr>
            <p:spPr bwMode="auto">
              <a:xfrm>
                <a:off x="3752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2" name="Rectangle 654"/>
              <p:cNvSpPr>
                <a:spLocks noChangeArrowheads="1"/>
              </p:cNvSpPr>
              <p:nvPr/>
            </p:nvSpPr>
            <p:spPr bwMode="auto">
              <a:xfrm>
                <a:off x="375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3" name="Freeform 655"/>
              <p:cNvSpPr>
                <a:spLocks/>
              </p:cNvSpPr>
              <p:nvPr/>
            </p:nvSpPr>
            <p:spPr bwMode="auto">
              <a:xfrm>
                <a:off x="377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4" name="Freeform 656"/>
              <p:cNvSpPr>
                <a:spLocks/>
              </p:cNvSpPr>
              <p:nvPr/>
            </p:nvSpPr>
            <p:spPr bwMode="auto">
              <a:xfrm>
                <a:off x="377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5" name="Rectangle 657"/>
              <p:cNvSpPr>
                <a:spLocks noChangeArrowheads="1"/>
              </p:cNvSpPr>
              <p:nvPr/>
            </p:nvSpPr>
            <p:spPr bwMode="auto">
              <a:xfrm>
                <a:off x="378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6" name="Freeform 658"/>
              <p:cNvSpPr>
                <a:spLocks/>
              </p:cNvSpPr>
              <p:nvPr/>
            </p:nvSpPr>
            <p:spPr bwMode="auto">
              <a:xfrm>
                <a:off x="3798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7" name="Freeform 659"/>
              <p:cNvSpPr>
                <a:spLocks/>
              </p:cNvSpPr>
              <p:nvPr/>
            </p:nvSpPr>
            <p:spPr bwMode="auto">
              <a:xfrm>
                <a:off x="380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8" name="Rectangle 660"/>
              <p:cNvSpPr>
                <a:spLocks noChangeArrowheads="1"/>
              </p:cNvSpPr>
              <p:nvPr/>
            </p:nvSpPr>
            <p:spPr bwMode="auto">
              <a:xfrm>
                <a:off x="380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09" name="Freeform 661"/>
              <p:cNvSpPr>
                <a:spLocks/>
              </p:cNvSpPr>
              <p:nvPr/>
            </p:nvSpPr>
            <p:spPr bwMode="auto">
              <a:xfrm>
                <a:off x="382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0" name="Freeform 662"/>
              <p:cNvSpPr>
                <a:spLocks/>
              </p:cNvSpPr>
              <p:nvPr/>
            </p:nvSpPr>
            <p:spPr bwMode="auto">
              <a:xfrm>
                <a:off x="383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1" name="Rectangle 663"/>
              <p:cNvSpPr>
                <a:spLocks noChangeArrowheads="1"/>
              </p:cNvSpPr>
              <p:nvPr/>
            </p:nvSpPr>
            <p:spPr bwMode="auto">
              <a:xfrm>
                <a:off x="383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2" name="Freeform 664"/>
              <p:cNvSpPr>
                <a:spLocks/>
              </p:cNvSpPr>
              <p:nvPr/>
            </p:nvSpPr>
            <p:spPr bwMode="auto">
              <a:xfrm>
                <a:off x="3853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3" name="Freeform 665"/>
              <p:cNvSpPr>
                <a:spLocks/>
              </p:cNvSpPr>
              <p:nvPr/>
            </p:nvSpPr>
            <p:spPr bwMode="auto">
              <a:xfrm>
                <a:off x="3862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4" name="Rectangle 666"/>
              <p:cNvSpPr>
                <a:spLocks noChangeArrowheads="1"/>
              </p:cNvSpPr>
              <p:nvPr/>
            </p:nvSpPr>
            <p:spPr bwMode="auto">
              <a:xfrm>
                <a:off x="3863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5" name="Freeform 667"/>
              <p:cNvSpPr>
                <a:spLocks/>
              </p:cNvSpPr>
              <p:nvPr/>
            </p:nvSpPr>
            <p:spPr bwMode="auto">
              <a:xfrm>
                <a:off x="3881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6" name="Freeform 668"/>
              <p:cNvSpPr>
                <a:spLocks/>
              </p:cNvSpPr>
              <p:nvPr/>
            </p:nvSpPr>
            <p:spPr bwMode="auto">
              <a:xfrm>
                <a:off x="388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7" name="Rectangle 669"/>
              <p:cNvSpPr>
                <a:spLocks noChangeArrowheads="1"/>
              </p:cNvSpPr>
              <p:nvPr/>
            </p:nvSpPr>
            <p:spPr bwMode="auto">
              <a:xfrm>
                <a:off x="389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8" name="Freeform 670"/>
              <p:cNvSpPr>
                <a:spLocks/>
              </p:cNvSpPr>
              <p:nvPr/>
            </p:nvSpPr>
            <p:spPr bwMode="auto">
              <a:xfrm>
                <a:off x="3908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19" name="Freeform 671"/>
              <p:cNvSpPr>
                <a:spLocks/>
              </p:cNvSpPr>
              <p:nvPr/>
            </p:nvSpPr>
            <p:spPr bwMode="auto">
              <a:xfrm>
                <a:off x="3917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0" name="Rectangle 672"/>
              <p:cNvSpPr>
                <a:spLocks noChangeArrowheads="1"/>
              </p:cNvSpPr>
              <p:nvPr/>
            </p:nvSpPr>
            <p:spPr bwMode="auto">
              <a:xfrm>
                <a:off x="3918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1" name="Freeform 673"/>
              <p:cNvSpPr>
                <a:spLocks/>
              </p:cNvSpPr>
              <p:nvPr/>
            </p:nvSpPr>
            <p:spPr bwMode="auto">
              <a:xfrm>
                <a:off x="3936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2" name="Freeform 674"/>
              <p:cNvSpPr>
                <a:spLocks/>
              </p:cNvSpPr>
              <p:nvPr/>
            </p:nvSpPr>
            <p:spPr bwMode="auto">
              <a:xfrm>
                <a:off x="394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3" name="Rectangle 675"/>
              <p:cNvSpPr>
                <a:spLocks noChangeArrowheads="1"/>
              </p:cNvSpPr>
              <p:nvPr/>
            </p:nvSpPr>
            <p:spPr bwMode="auto">
              <a:xfrm>
                <a:off x="394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4" name="Freeform 676"/>
              <p:cNvSpPr>
                <a:spLocks/>
              </p:cNvSpPr>
              <p:nvPr/>
            </p:nvSpPr>
            <p:spPr bwMode="auto">
              <a:xfrm>
                <a:off x="3963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5" name="Freeform 677"/>
              <p:cNvSpPr>
                <a:spLocks/>
              </p:cNvSpPr>
              <p:nvPr/>
            </p:nvSpPr>
            <p:spPr bwMode="auto">
              <a:xfrm>
                <a:off x="3972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6" name="Rectangle 678"/>
              <p:cNvSpPr>
                <a:spLocks noChangeArrowheads="1"/>
              </p:cNvSpPr>
              <p:nvPr/>
            </p:nvSpPr>
            <p:spPr bwMode="auto">
              <a:xfrm>
                <a:off x="397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7" name="Freeform 679"/>
              <p:cNvSpPr>
                <a:spLocks/>
              </p:cNvSpPr>
              <p:nvPr/>
            </p:nvSpPr>
            <p:spPr bwMode="auto">
              <a:xfrm>
                <a:off x="399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8" name="Freeform 680"/>
              <p:cNvSpPr>
                <a:spLocks/>
              </p:cNvSpPr>
              <p:nvPr/>
            </p:nvSpPr>
            <p:spPr bwMode="auto">
              <a:xfrm>
                <a:off x="399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29" name="Rectangle 681"/>
              <p:cNvSpPr>
                <a:spLocks noChangeArrowheads="1"/>
              </p:cNvSpPr>
              <p:nvPr/>
            </p:nvSpPr>
            <p:spPr bwMode="auto">
              <a:xfrm>
                <a:off x="400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0" name="Freeform 682"/>
              <p:cNvSpPr>
                <a:spLocks/>
              </p:cNvSpPr>
              <p:nvPr/>
            </p:nvSpPr>
            <p:spPr bwMode="auto">
              <a:xfrm>
                <a:off x="4018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1" name="Freeform 683"/>
              <p:cNvSpPr>
                <a:spLocks/>
              </p:cNvSpPr>
              <p:nvPr/>
            </p:nvSpPr>
            <p:spPr bwMode="auto">
              <a:xfrm>
                <a:off x="4027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2" name="Rectangle 684"/>
              <p:cNvSpPr>
                <a:spLocks noChangeArrowheads="1"/>
              </p:cNvSpPr>
              <p:nvPr/>
            </p:nvSpPr>
            <p:spPr bwMode="auto">
              <a:xfrm>
                <a:off x="402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3" name="Freeform 685"/>
              <p:cNvSpPr>
                <a:spLocks/>
              </p:cNvSpPr>
              <p:nvPr/>
            </p:nvSpPr>
            <p:spPr bwMode="auto">
              <a:xfrm>
                <a:off x="404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4" name="Freeform 686"/>
              <p:cNvSpPr>
                <a:spLocks/>
              </p:cNvSpPr>
              <p:nvPr/>
            </p:nvSpPr>
            <p:spPr bwMode="auto">
              <a:xfrm>
                <a:off x="405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5" name="Rectangle 687"/>
              <p:cNvSpPr>
                <a:spLocks noChangeArrowheads="1"/>
              </p:cNvSpPr>
              <p:nvPr/>
            </p:nvSpPr>
            <p:spPr bwMode="auto">
              <a:xfrm>
                <a:off x="405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6" name="Freeform 688"/>
              <p:cNvSpPr>
                <a:spLocks/>
              </p:cNvSpPr>
              <p:nvPr/>
            </p:nvSpPr>
            <p:spPr bwMode="auto">
              <a:xfrm>
                <a:off x="4073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7" name="Freeform 689"/>
              <p:cNvSpPr>
                <a:spLocks/>
              </p:cNvSpPr>
              <p:nvPr/>
            </p:nvSpPr>
            <p:spPr bwMode="auto">
              <a:xfrm>
                <a:off x="4082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8" name="Rectangle 690"/>
              <p:cNvSpPr>
                <a:spLocks noChangeArrowheads="1"/>
              </p:cNvSpPr>
              <p:nvPr/>
            </p:nvSpPr>
            <p:spPr bwMode="auto">
              <a:xfrm>
                <a:off x="4083" y="1434"/>
                <a:ext cx="12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39" name="Freeform 691"/>
              <p:cNvSpPr>
                <a:spLocks/>
              </p:cNvSpPr>
              <p:nvPr/>
            </p:nvSpPr>
            <p:spPr bwMode="auto">
              <a:xfrm>
                <a:off x="409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0" name="Freeform 692"/>
              <p:cNvSpPr>
                <a:spLocks/>
              </p:cNvSpPr>
              <p:nvPr/>
            </p:nvSpPr>
            <p:spPr bwMode="auto">
              <a:xfrm>
                <a:off x="417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1" name="Rectangle 693"/>
              <p:cNvSpPr>
                <a:spLocks noChangeArrowheads="1"/>
              </p:cNvSpPr>
              <p:nvPr/>
            </p:nvSpPr>
            <p:spPr bwMode="auto">
              <a:xfrm>
                <a:off x="417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2" name="Freeform 694"/>
              <p:cNvSpPr>
                <a:spLocks/>
              </p:cNvSpPr>
              <p:nvPr/>
            </p:nvSpPr>
            <p:spPr bwMode="auto">
              <a:xfrm>
                <a:off x="419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3" name="Freeform 695"/>
              <p:cNvSpPr>
                <a:spLocks/>
              </p:cNvSpPr>
              <p:nvPr/>
            </p:nvSpPr>
            <p:spPr bwMode="auto">
              <a:xfrm>
                <a:off x="419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4" name="Rectangle 696"/>
              <p:cNvSpPr>
                <a:spLocks noChangeArrowheads="1"/>
              </p:cNvSpPr>
              <p:nvPr/>
            </p:nvSpPr>
            <p:spPr bwMode="auto">
              <a:xfrm>
                <a:off x="420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5" name="Freeform 697"/>
              <p:cNvSpPr>
                <a:spLocks/>
              </p:cNvSpPr>
              <p:nvPr/>
            </p:nvSpPr>
            <p:spPr bwMode="auto">
              <a:xfrm>
                <a:off x="421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6" name="Freeform 698"/>
              <p:cNvSpPr>
                <a:spLocks/>
              </p:cNvSpPr>
              <p:nvPr/>
            </p:nvSpPr>
            <p:spPr bwMode="auto">
              <a:xfrm>
                <a:off x="422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7" name="Rectangle 699"/>
              <p:cNvSpPr>
                <a:spLocks noChangeArrowheads="1"/>
              </p:cNvSpPr>
              <p:nvPr/>
            </p:nvSpPr>
            <p:spPr bwMode="auto">
              <a:xfrm>
                <a:off x="422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8" name="Freeform 700"/>
              <p:cNvSpPr>
                <a:spLocks/>
              </p:cNvSpPr>
              <p:nvPr/>
            </p:nvSpPr>
            <p:spPr bwMode="auto">
              <a:xfrm>
                <a:off x="4245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49" name="Freeform 701"/>
              <p:cNvSpPr>
                <a:spLocks/>
              </p:cNvSpPr>
              <p:nvPr/>
            </p:nvSpPr>
            <p:spPr bwMode="auto">
              <a:xfrm>
                <a:off x="425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0" name="Rectangle 702"/>
              <p:cNvSpPr>
                <a:spLocks noChangeArrowheads="1"/>
              </p:cNvSpPr>
              <p:nvPr/>
            </p:nvSpPr>
            <p:spPr bwMode="auto">
              <a:xfrm>
                <a:off x="425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1" name="Freeform 703"/>
              <p:cNvSpPr>
                <a:spLocks/>
              </p:cNvSpPr>
              <p:nvPr/>
            </p:nvSpPr>
            <p:spPr bwMode="auto">
              <a:xfrm>
                <a:off x="427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2" name="Freeform 704"/>
              <p:cNvSpPr>
                <a:spLocks/>
              </p:cNvSpPr>
              <p:nvPr/>
            </p:nvSpPr>
            <p:spPr bwMode="auto">
              <a:xfrm>
                <a:off x="4281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3" name="Rectangle 705"/>
              <p:cNvSpPr>
                <a:spLocks noChangeArrowheads="1"/>
              </p:cNvSpPr>
              <p:nvPr/>
            </p:nvSpPr>
            <p:spPr bwMode="auto">
              <a:xfrm>
                <a:off x="4282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4" name="Freeform 706"/>
              <p:cNvSpPr>
                <a:spLocks/>
              </p:cNvSpPr>
              <p:nvPr/>
            </p:nvSpPr>
            <p:spPr bwMode="auto">
              <a:xfrm>
                <a:off x="4300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5" name="Freeform 707"/>
              <p:cNvSpPr>
                <a:spLocks/>
              </p:cNvSpPr>
              <p:nvPr/>
            </p:nvSpPr>
            <p:spPr bwMode="auto">
              <a:xfrm>
                <a:off x="430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6" name="Rectangle 708"/>
              <p:cNvSpPr>
                <a:spLocks noChangeArrowheads="1"/>
              </p:cNvSpPr>
              <p:nvPr/>
            </p:nvSpPr>
            <p:spPr bwMode="auto">
              <a:xfrm>
                <a:off x="431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7" name="Freeform 709"/>
              <p:cNvSpPr>
                <a:spLocks/>
              </p:cNvSpPr>
              <p:nvPr/>
            </p:nvSpPr>
            <p:spPr bwMode="auto">
              <a:xfrm>
                <a:off x="432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8" name="Freeform 710"/>
              <p:cNvSpPr>
                <a:spLocks/>
              </p:cNvSpPr>
              <p:nvPr/>
            </p:nvSpPr>
            <p:spPr bwMode="auto">
              <a:xfrm>
                <a:off x="4336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59" name="Rectangle 711"/>
              <p:cNvSpPr>
                <a:spLocks noChangeArrowheads="1"/>
              </p:cNvSpPr>
              <p:nvPr/>
            </p:nvSpPr>
            <p:spPr bwMode="auto">
              <a:xfrm>
                <a:off x="433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0" name="Freeform 712"/>
              <p:cNvSpPr>
                <a:spLocks/>
              </p:cNvSpPr>
              <p:nvPr/>
            </p:nvSpPr>
            <p:spPr bwMode="auto">
              <a:xfrm>
                <a:off x="435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1" name="Freeform 713"/>
              <p:cNvSpPr>
                <a:spLocks/>
              </p:cNvSpPr>
              <p:nvPr/>
            </p:nvSpPr>
            <p:spPr bwMode="auto">
              <a:xfrm>
                <a:off x="436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2" name="Rectangle 714"/>
              <p:cNvSpPr>
                <a:spLocks noChangeArrowheads="1"/>
              </p:cNvSpPr>
              <p:nvPr/>
            </p:nvSpPr>
            <p:spPr bwMode="auto">
              <a:xfrm>
                <a:off x="436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3" name="Freeform 715"/>
              <p:cNvSpPr>
                <a:spLocks/>
              </p:cNvSpPr>
              <p:nvPr/>
            </p:nvSpPr>
            <p:spPr bwMode="auto">
              <a:xfrm>
                <a:off x="438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4" name="Freeform 716"/>
              <p:cNvSpPr>
                <a:spLocks/>
              </p:cNvSpPr>
              <p:nvPr/>
            </p:nvSpPr>
            <p:spPr bwMode="auto">
              <a:xfrm>
                <a:off x="4391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5" name="Rectangle 717"/>
              <p:cNvSpPr>
                <a:spLocks noChangeArrowheads="1"/>
              </p:cNvSpPr>
              <p:nvPr/>
            </p:nvSpPr>
            <p:spPr bwMode="auto">
              <a:xfrm>
                <a:off x="439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6" name="Freeform 718"/>
              <p:cNvSpPr>
                <a:spLocks/>
              </p:cNvSpPr>
              <p:nvPr/>
            </p:nvSpPr>
            <p:spPr bwMode="auto">
              <a:xfrm>
                <a:off x="440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7" name="Freeform 719"/>
              <p:cNvSpPr>
                <a:spLocks/>
              </p:cNvSpPr>
              <p:nvPr/>
            </p:nvSpPr>
            <p:spPr bwMode="auto">
              <a:xfrm>
                <a:off x="441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8" name="Rectangle 720"/>
              <p:cNvSpPr>
                <a:spLocks noChangeArrowheads="1"/>
              </p:cNvSpPr>
              <p:nvPr/>
            </p:nvSpPr>
            <p:spPr bwMode="auto">
              <a:xfrm>
                <a:off x="442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69" name="Freeform 721"/>
              <p:cNvSpPr>
                <a:spLocks/>
              </p:cNvSpPr>
              <p:nvPr/>
            </p:nvSpPr>
            <p:spPr bwMode="auto">
              <a:xfrm>
                <a:off x="443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0" name="Freeform 722"/>
              <p:cNvSpPr>
                <a:spLocks/>
              </p:cNvSpPr>
              <p:nvPr/>
            </p:nvSpPr>
            <p:spPr bwMode="auto">
              <a:xfrm>
                <a:off x="4446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1" name="Rectangle 723"/>
              <p:cNvSpPr>
                <a:spLocks noChangeArrowheads="1"/>
              </p:cNvSpPr>
              <p:nvPr/>
            </p:nvSpPr>
            <p:spPr bwMode="auto">
              <a:xfrm>
                <a:off x="444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2" name="Freeform 724"/>
              <p:cNvSpPr>
                <a:spLocks/>
              </p:cNvSpPr>
              <p:nvPr/>
            </p:nvSpPr>
            <p:spPr bwMode="auto">
              <a:xfrm>
                <a:off x="446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3" name="Freeform 725"/>
              <p:cNvSpPr>
                <a:spLocks/>
              </p:cNvSpPr>
              <p:nvPr/>
            </p:nvSpPr>
            <p:spPr bwMode="auto">
              <a:xfrm>
                <a:off x="447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4" name="Rectangle 726"/>
              <p:cNvSpPr>
                <a:spLocks noChangeArrowheads="1"/>
              </p:cNvSpPr>
              <p:nvPr/>
            </p:nvSpPr>
            <p:spPr bwMode="auto">
              <a:xfrm>
                <a:off x="447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5" name="Freeform 727"/>
              <p:cNvSpPr>
                <a:spLocks/>
              </p:cNvSpPr>
              <p:nvPr/>
            </p:nvSpPr>
            <p:spPr bwMode="auto">
              <a:xfrm>
                <a:off x="449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6" name="Freeform 728"/>
              <p:cNvSpPr>
                <a:spLocks/>
              </p:cNvSpPr>
              <p:nvPr/>
            </p:nvSpPr>
            <p:spPr bwMode="auto">
              <a:xfrm>
                <a:off x="450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7" name="Rectangle 729"/>
              <p:cNvSpPr>
                <a:spLocks noChangeArrowheads="1"/>
              </p:cNvSpPr>
              <p:nvPr/>
            </p:nvSpPr>
            <p:spPr bwMode="auto">
              <a:xfrm>
                <a:off x="450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8" name="Freeform 730"/>
              <p:cNvSpPr>
                <a:spLocks/>
              </p:cNvSpPr>
              <p:nvPr/>
            </p:nvSpPr>
            <p:spPr bwMode="auto">
              <a:xfrm>
                <a:off x="451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79" name="Freeform 731"/>
              <p:cNvSpPr>
                <a:spLocks/>
              </p:cNvSpPr>
              <p:nvPr/>
            </p:nvSpPr>
            <p:spPr bwMode="auto">
              <a:xfrm>
                <a:off x="452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0" name="Rectangle 732"/>
              <p:cNvSpPr>
                <a:spLocks noChangeArrowheads="1"/>
              </p:cNvSpPr>
              <p:nvPr/>
            </p:nvSpPr>
            <p:spPr bwMode="auto">
              <a:xfrm>
                <a:off x="453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1" name="Freeform 733"/>
              <p:cNvSpPr>
                <a:spLocks/>
              </p:cNvSpPr>
              <p:nvPr/>
            </p:nvSpPr>
            <p:spPr bwMode="auto">
              <a:xfrm>
                <a:off x="454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2" name="Freeform 734"/>
              <p:cNvSpPr>
                <a:spLocks/>
              </p:cNvSpPr>
              <p:nvPr/>
            </p:nvSpPr>
            <p:spPr bwMode="auto">
              <a:xfrm>
                <a:off x="455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3" name="Rectangle 735"/>
              <p:cNvSpPr>
                <a:spLocks noChangeArrowheads="1"/>
              </p:cNvSpPr>
              <p:nvPr/>
            </p:nvSpPr>
            <p:spPr bwMode="auto">
              <a:xfrm>
                <a:off x="455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4" name="Freeform 736"/>
              <p:cNvSpPr>
                <a:spLocks/>
              </p:cNvSpPr>
              <p:nvPr/>
            </p:nvSpPr>
            <p:spPr bwMode="auto">
              <a:xfrm>
                <a:off x="457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5" name="Freeform 737"/>
              <p:cNvSpPr>
                <a:spLocks/>
              </p:cNvSpPr>
              <p:nvPr/>
            </p:nvSpPr>
            <p:spPr bwMode="auto">
              <a:xfrm>
                <a:off x="4583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6" name="Rectangle 738"/>
              <p:cNvSpPr>
                <a:spLocks noChangeArrowheads="1"/>
              </p:cNvSpPr>
              <p:nvPr/>
            </p:nvSpPr>
            <p:spPr bwMode="auto">
              <a:xfrm>
                <a:off x="4584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7" name="Freeform 739"/>
              <p:cNvSpPr>
                <a:spLocks/>
              </p:cNvSpPr>
              <p:nvPr/>
            </p:nvSpPr>
            <p:spPr bwMode="auto">
              <a:xfrm>
                <a:off x="4602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8" name="Freeform 740"/>
              <p:cNvSpPr>
                <a:spLocks/>
              </p:cNvSpPr>
              <p:nvPr/>
            </p:nvSpPr>
            <p:spPr bwMode="auto">
              <a:xfrm>
                <a:off x="461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89" name="Rectangle 741"/>
              <p:cNvSpPr>
                <a:spLocks noChangeArrowheads="1"/>
              </p:cNvSpPr>
              <p:nvPr/>
            </p:nvSpPr>
            <p:spPr bwMode="auto">
              <a:xfrm>
                <a:off x="461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0" name="Freeform 742"/>
              <p:cNvSpPr>
                <a:spLocks/>
              </p:cNvSpPr>
              <p:nvPr/>
            </p:nvSpPr>
            <p:spPr bwMode="auto">
              <a:xfrm>
                <a:off x="462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1" name="Freeform 743"/>
              <p:cNvSpPr>
                <a:spLocks/>
              </p:cNvSpPr>
              <p:nvPr/>
            </p:nvSpPr>
            <p:spPr bwMode="auto">
              <a:xfrm>
                <a:off x="4638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2" name="Rectangle 744"/>
              <p:cNvSpPr>
                <a:spLocks noChangeArrowheads="1"/>
              </p:cNvSpPr>
              <p:nvPr/>
            </p:nvSpPr>
            <p:spPr bwMode="auto">
              <a:xfrm>
                <a:off x="4639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3" name="Freeform 745"/>
              <p:cNvSpPr>
                <a:spLocks/>
              </p:cNvSpPr>
              <p:nvPr/>
            </p:nvSpPr>
            <p:spPr bwMode="auto">
              <a:xfrm>
                <a:off x="4657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4" name="Freeform 746"/>
              <p:cNvSpPr>
                <a:spLocks/>
              </p:cNvSpPr>
              <p:nvPr/>
            </p:nvSpPr>
            <p:spPr bwMode="auto">
              <a:xfrm>
                <a:off x="466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5" name="Rectangle 747"/>
              <p:cNvSpPr>
                <a:spLocks noChangeArrowheads="1"/>
              </p:cNvSpPr>
              <p:nvPr/>
            </p:nvSpPr>
            <p:spPr bwMode="auto">
              <a:xfrm>
                <a:off x="466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6" name="Freeform 748"/>
              <p:cNvSpPr>
                <a:spLocks/>
              </p:cNvSpPr>
              <p:nvPr/>
            </p:nvSpPr>
            <p:spPr bwMode="auto">
              <a:xfrm>
                <a:off x="468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7" name="Freeform 749"/>
              <p:cNvSpPr>
                <a:spLocks/>
              </p:cNvSpPr>
              <p:nvPr/>
            </p:nvSpPr>
            <p:spPr bwMode="auto">
              <a:xfrm>
                <a:off x="4693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8" name="Rectangle 750"/>
              <p:cNvSpPr>
                <a:spLocks noChangeArrowheads="1"/>
              </p:cNvSpPr>
              <p:nvPr/>
            </p:nvSpPr>
            <p:spPr bwMode="auto">
              <a:xfrm>
                <a:off x="469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99" name="Freeform 751"/>
              <p:cNvSpPr>
                <a:spLocks/>
              </p:cNvSpPr>
              <p:nvPr/>
            </p:nvSpPr>
            <p:spPr bwMode="auto">
              <a:xfrm>
                <a:off x="471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0" name="Freeform 752"/>
              <p:cNvSpPr>
                <a:spLocks/>
              </p:cNvSpPr>
              <p:nvPr/>
            </p:nvSpPr>
            <p:spPr bwMode="auto">
              <a:xfrm>
                <a:off x="472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1" name="Rectangle 753"/>
              <p:cNvSpPr>
                <a:spLocks noChangeArrowheads="1"/>
              </p:cNvSpPr>
              <p:nvPr/>
            </p:nvSpPr>
            <p:spPr bwMode="auto">
              <a:xfrm>
                <a:off x="472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2" name="Freeform 754"/>
              <p:cNvSpPr>
                <a:spLocks/>
              </p:cNvSpPr>
              <p:nvPr/>
            </p:nvSpPr>
            <p:spPr bwMode="auto">
              <a:xfrm>
                <a:off x="473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3" name="Freeform 755"/>
              <p:cNvSpPr>
                <a:spLocks/>
              </p:cNvSpPr>
              <p:nvPr/>
            </p:nvSpPr>
            <p:spPr bwMode="auto">
              <a:xfrm>
                <a:off x="4748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4" name="Rectangle 756"/>
              <p:cNvSpPr>
                <a:spLocks noChangeArrowheads="1"/>
              </p:cNvSpPr>
              <p:nvPr/>
            </p:nvSpPr>
            <p:spPr bwMode="auto">
              <a:xfrm>
                <a:off x="474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5" name="Freeform 757"/>
              <p:cNvSpPr>
                <a:spLocks/>
              </p:cNvSpPr>
              <p:nvPr/>
            </p:nvSpPr>
            <p:spPr bwMode="auto">
              <a:xfrm>
                <a:off x="476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6" name="Freeform 758"/>
              <p:cNvSpPr>
                <a:spLocks/>
              </p:cNvSpPr>
              <p:nvPr/>
            </p:nvSpPr>
            <p:spPr bwMode="auto">
              <a:xfrm>
                <a:off x="477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7" name="Rectangle 759"/>
              <p:cNvSpPr>
                <a:spLocks noChangeArrowheads="1"/>
              </p:cNvSpPr>
              <p:nvPr/>
            </p:nvSpPr>
            <p:spPr bwMode="auto">
              <a:xfrm>
                <a:off x="477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8" name="Freeform 760"/>
              <p:cNvSpPr>
                <a:spLocks/>
              </p:cNvSpPr>
              <p:nvPr/>
            </p:nvSpPr>
            <p:spPr bwMode="auto">
              <a:xfrm>
                <a:off x="479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09" name="Freeform 761"/>
              <p:cNvSpPr>
                <a:spLocks/>
              </p:cNvSpPr>
              <p:nvPr/>
            </p:nvSpPr>
            <p:spPr bwMode="auto">
              <a:xfrm>
                <a:off x="4803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0" name="Rectangle 762"/>
              <p:cNvSpPr>
                <a:spLocks noChangeArrowheads="1"/>
              </p:cNvSpPr>
              <p:nvPr/>
            </p:nvSpPr>
            <p:spPr bwMode="auto">
              <a:xfrm>
                <a:off x="4804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1" name="Freeform 763"/>
              <p:cNvSpPr>
                <a:spLocks/>
              </p:cNvSpPr>
              <p:nvPr/>
            </p:nvSpPr>
            <p:spPr bwMode="auto">
              <a:xfrm>
                <a:off x="4821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2" name="Freeform 764"/>
              <p:cNvSpPr>
                <a:spLocks/>
              </p:cNvSpPr>
              <p:nvPr/>
            </p:nvSpPr>
            <p:spPr bwMode="auto">
              <a:xfrm>
                <a:off x="483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3" name="Rectangle 765"/>
              <p:cNvSpPr>
                <a:spLocks noChangeArrowheads="1"/>
              </p:cNvSpPr>
              <p:nvPr/>
            </p:nvSpPr>
            <p:spPr bwMode="auto">
              <a:xfrm>
                <a:off x="483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4" name="Freeform 766"/>
              <p:cNvSpPr>
                <a:spLocks/>
              </p:cNvSpPr>
              <p:nvPr/>
            </p:nvSpPr>
            <p:spPr bwMode="auto">
              <a:xfrm>
                <a:off x="484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5" name="Freeform 767"/>
              <p:cNvSpPr>
                <a:spLocks/>
              </p:cNvSpPr>
              <p:nvPr/>
            </p:nvSpPr>
            <p:spPr bwMode="auto">
              <a:xfrm>
                <a:off x="4857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6" name="Rectangle 768"/>
              <p:cNvSpPr>
                <a:spLocks noChangeArrowheads="1"/>
              </p:cNvSpPr>
              <p:nvPr/>
            </p:nvSpPr>
            <p:spPr bwMode="auto">
              <a:xfrm>
                <a:off x="4859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7" name="Freeform 769"/>
              <p:cNvSpPr>
                <a:spLocks/>
              </p:cNvSpPr>
              <p:nvPr/>
            </p:nvSpPr>
            <p:spPr bwMode="auto">
              <a:xfrm>
                <a:off x="4876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8" name="Freeform 770"/>
              <p:cNvSpPr>
                <a:spLocks/>
              </p:cNvSpPr>
              <p:nvPr/>
            </p:nvSpPr>
            <p:spPr bwMode="auto">
              <a:xfrm>
                <a:off x="1265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19" name="Rectangle 771"/>
              <p:cNvSpPr>
                <a:spLocks noChangeArrowheads="1"/>
              </p:cNvSpPr>
              <p:nvPr/>
            </p:nvSpPr>
            <p:spPr bwMode="auto">
              <a:xfrm>
                <a:off x="126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0" name="Freeform 772"/>
              <p:cNvSpPr>
                <a:spLocks/>
              </p:cNvSpPr>
              <p:nvPr/>
            </p:nvSpPr>
            <p:spPr bwMode="auto">
              <a:xfrm>
                <a:off x="1284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1" name="Freeform 773"/>
              <p:cNvSpPr>
                <a:spLocks/>
              </p:cNvSpPr>
              <p:nvPr/>
            </p:nvSpPr>
            <p:spPr bwMode="auto">
              <a:xfrm>
                <a:off x="129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2" name="Rectangle 774"/>
              <p:cNvSpPr>
                <a:spLocks noChangeArrowheads="1"/>
              </p:cNvSpPr>
              <p:nvPr/>
            </p:nvSpPr>
            <p:spPr bwMode="auto">
              <a:xfrm>
                <a:off x="129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3" name="Freeform 775"/>
              <p:cNvSpPr>
                <a:spLocks/>
              </p:cNvSpPr>
              <p:nvPr/>
            </p:nvSpPr>
            <p:spPr bwMode="auto">
              <a:xfrm>
                <a:off x="1312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4" name="Freeform 776"/>
              <p:cNvSpPr>
                <a:spLocks/>
              </p:cNvSpPr>
              <p:nvPr/>
            </p:nvSpPr>
            <p:spPr bwMode="auto">
              <a:xfrm>
                <a:off x="1320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5" name="Rectangle 777"/>
              <p:cNvSpPr>
                <a:spLocks noChangeArrowheads="1"/>
              </p:cNvSpPr>
              <p:nvPr/>
            </p:nvSpPr>
            <p:spPr bwMode="auto">
              <a:xfrm>
                <a:off x="132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6" name="Freeform 778"/>
              <p:cNvSpPr>
                <a:spLocks/>
              </p:cNvSpPr>
              <p:nvPr/>
            </p:nvSpPr>
            <p:spPr bwMode="auto">
              <a:xfrm>
                <a:off x="1339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7" name="Freeform 779"/>
              <p:cNvSpPr>
                <a:spLocks/>
              </p:cNvSpPr>
              <p:nvPr/>
            </p:nvSpPr>
            <p:spPr bwMode="auto">
              <a:xfrm>
                <a:off x="1348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8" name="Rectangle 780"/>
              <p:cNvSpPr>
                <a:spLocks noChangeArrowheads="1"/>
              </p:cNvSpPr>
              <p:nvPr/>
            </p:nvSpPr>
            <p:spPr bwMode="auto">
              <a:xfrm>
                <a:off x="1349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29" name="Freeform 781"/>
              <p:cNvSpPr>
                <a:spLocks/>
              </p:cNvSpPr>
              <p:nvPr/>
            </p:nvSpPr>
            <p:spPr bwMode="auto">
              <a:xfrm>
                <a:off x="1367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0" name="Freeform 782"/>
              <p:cNvSpPr>
                <a:spLocks/>
              </p:cNvSpPr>
              <p:nvPr/>
            </p:nvSpPr>
            <p:spPr bwMode="auto">
              <a:xfrm>
                <a:off x="1375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1" name="Rectangle 783"/>
              <p:cNvSpPr>
                <a:spLocks noChangeArrowheads="1"/>
              </p:cNvSpPr>
              <p:nvPr/>
            </p:nvSpPr>
            <p:spPr bwMode="auto">
              <a:xfrm>
                <a:off x="137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2" name="Freeform 784"/>
              <p:cNvSpPr>
                <a:spLocks/>
              </p:cNvSpPr>
              <p:nvPr/>
            </p:nvSpPr>
            <p:spPr bwMode="auto">
              <a:xfrm>
                <a:off x="1394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3" name="Freeform 785"/>
              <p:cNvSpPr>
                <a:spLocks/>
              </p:cNvSpPr>
              <p:nvPr/>
            </p:nvSpPr>
            <p:spPr bwMode="auto">
              <a:xfrm>
                <a:off x="1403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4" name="Rectangle 786"/>
              <p:cNvSpPr>
                <a:spLocks noChangeArrowheads="1"/>
              </p:cNvSpPr>
              <p:nvPr/>
            </p:nvSpPr>
            <p:spPr bwMode="auto">
              <a:xfrm>
                <a:off x="1404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5" name="Freeform 787"/>
              <p:cNvSpPr>
                <a:spLocks/>
              </p:cNvSpPr>
              <p:nvPr/>
            </p:nvSpPr>
            <p:spPr bwMode="auto">
              <a:xfrm>
                <a:off x="1422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6" name="Freeform 788"/>
              <p:cNvSpPr>
                <a:spLocks/>
              </p:cNvSpPr>
              <p:nvPr/>
            </p:nvSpPr>
            <p:spPr bwMode="auto">
              <a:xfrm>
                <a:off x="1430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7" name="Rectangle 789"/>
              <p:cNvSpPr>
                <a:spLocks noChangeArrowheads="1"/>
              </p:cNvSpPr>
              <p:nvPr/>
            </p:nvSpPr>
            <p:spPr bwMode="auto">
              <a:xfrm>
                <a:off x="143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8" name="Freeform 790"/>
              <p:cNvSpPr>
                <a:spLocks/>
              </p:cNvSpPr>
              <p:nvPr/>
            </p:nvSpPr>
            <p:spPr bwMode="auto">
              <a:xfrm>
                <a:off x="1449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39" name="Freeform 791"/>
              <p:cNvSpPr>
                <a:spLocks/>
              </p:cNvSpPr>
              <p:nvPr/>
            </p:nvSpPr>
            <p:spPr bwMode="auto">
              <a:xfrm>
                <a:off x="1457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0" name="Rectangle 792"/>
              <p:cNvSpPr>
                <a:spLocks noChangeArrowheads="1"/>
              </p:cNvSpPr>
              <p:nvPr/>
            </p:nvSpPr>
            <p:spPr bwMode="auto">
              <a:xfrm>
                <a:off x="1459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1" name="Freeform 793"/>
              <p:cNvSpPr>
                <a:spLocks/>
              </p:cNvSpPr>
              <p:nvPr/>
            </p:nvSpPr>
            <p:spPr bwMode="auto">
              <a:xfrm>
                <a:off x="1476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2" name="Freeform 794"/>
              <p:cNvSpPr>
                <a:spLocks/>
              </p:cNvSpPr>
              <p:nvPr/>
            </p:nvSpPr>
            <p:spPr bwMode="auto">
              <a:xfrm>
                <a:off x="1485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3" name="Rectangle 795"/>
              <p:cNvSpPr>
                <a:spLocks noChangeArrowheads="1"/>
              </p:cNvSpPr>
              <p:nvPr/>
            </p:nvSpPr>
            <p:spPr bwMode="auto">
              <a:xfrm>
                <a:off x="148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4" name="Freeform 796"/>
              <p:cNvSpPr>
                <a:spLocks/>
              </p:cNvSpPr>
              <p:nvPr/>
            </p:nvSpPr>
            <p:spPr bwMode="auto">
              <a:xfrm>
                <a:off x="1504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5" name="Freeform 797"/>
              <p:cNvSpPr>
                <a:spLocks/>
              </p:cNvSpPr>
              <p:nvPr/>
            </p:nvSpPr>
            <p:spPr bwMode="auto">
              <a:xfrm>
                <a:off x="1512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6" name="Rectangle 798"/>
              <p:cNvSpPr>
                <a:spLocks noChangeArrowheads="1"/>
              </p:cNvSpPr>
              <p:nvPr/>
            </p:nvSpPr>
            <p:spPr bwMode="auto">
              <a:xfrm>
                <a:off x="1514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7" name="Freeform 799"/>
              <p:cNvSpPr>
                <a:spLocks/>
              </p:cNvSpPr>
              <p:nvPr/>
            </p:nvSpPr>
            <p:spPr bwMode="auto">
              <a:xfrm>
                <a:off x="1531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8" name="Freeform 800"/>
              <p:cNvSpPr>
                <a:spLocks/>
              </p:cNvSpPr>
              <p:nvPr/>
            </p:nvSpPr>
            <p:spPr bwMode="auto">
              <a:xfrm>
                <a:off x="1540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49" name="Rectangle 801"/>
              <p:cNvSpPr>
                <a:spLocks noChangeArrowheads="1"/>
              </p:cNvSpPr>
              <p:nvPr/>
            </p:nvSpPr>
            <p:spPr bwMode="auto">
              <a:xfrm>
                <a:off x="154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50" name="Freeform 802"/>
              <p:cNvSpPr>
                <a:spLocks/>
              </p:cNvSpPr>
              <p:nvPr/>
            </p:nvSpPr>
            <p:spPr bwMode="auto">
              <a:xfrm>
                <a:off x="1559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51" name="Freeform 803"/>
              <p:cNvSpPr>
                <a:spLocks/>
              </p:cNvSpPr>
              <p:nvPr/>
            </p:nvSpPr>
            <p:spPr bwMode="auto">
              <a:xfrm>
                <a:off x="1567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52" name="Rectangle 804"/>
              <p:cNvSpPr>
                <a:spLocks noChangeArrowheads="1"/>
              </p:cNvSpPr>
              <p:nvPr/>
            </p:nvSpPr>
            <p:spPr bwMode="auto">
              <a:xfrm>
                <a:off x="1569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53" name="Freeform 805"/>
              <p:cNvSpPr>
                <a:spLocks/>
              </p:cNvSpPr>
              <p:nvPr/>
            </p:nvSpPr>
            <p:spPr bwMode="auto">
              <a:xfrm>
                <a:off x="1586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54" name="Freeform 806"/>
              <p:cNvSpPr>
                <a:spLocks/>
              </p:cNvSpPr>
              <p:nvPr/>
            </p:nvSpPr>
            <p:spPr bwMode="auto">
              <a:xfrm>
                <a:off x="1595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55" name="Rectangle 807"/>
              <p:cNvSpPr>
                <a:spLocks noChangeArrowheads="1"/>
              </p:cNvSpPr>
              <p:nvPr/>
            </p:nvSpPr>
            <p:spPr bwMode="auto">
              <a:xfrm>
                <a:off x="159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057" name="Group 1009"/>
            <p:cNvGrpSpPr>
              <a:grpSpLocks/>
            </p:cNvGrpSpPr>
            <p:nvPr/>
          </p:nvGrpSpPr>
          <p:grpSpPr bwMode="auto">
            <a:xfrm>
              <a:off x="1425767" y="1234346"/>
              <a:ext cx="3769511" cy="5977"/>
              <a:chOff x="1614" y="1112"/>
              <a:chExt cx="1892" cy="3"/>
            </a:xfrm>
          </p:grpSpPr>
          <p:sp>
            <p:nvSpPr>
              <p:cNvPr id="2857" name="Freeform 809"/>
              <p:cNvSpPr>
                <a:spLocks/>
              </p:cNvSpPr>
              <p:nvPr/>
            </p:nvSpPr>
            <p:spPr bwMode="auto">
              <a:xfrm>
                <a:off x="1614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58" name="Freeform 810"/>
              <p:cNvSpPr>
                <a:spLocks/>
              </p:cNvSpPr>
              <p:nvPr/>
            </p:nvSpPr>
            <p:spPr bwMode="auto">
              <a:xfrm>
                <a:off x="1622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59" name="Rectangle 811"/>
              <p:cNvSpPr>
                <a:spLocks noChangeArrowheads="1"/>
              </p:cNvSpPr>
              <p:nvPr/>
            </p:nvSpPr>
            <p:spPr bwMode="auto">
              <a:xfrm>
                <a:off x="1624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0" name="Freeform 812"/>
              <p:cNvSpPr>
                <a:spLocks/>
              </p:cNvSpPr>
              <p:nvPr/>
            </p:nvSpPr>
            <p:spPr bwMode="auto">
              <a:xfrm>
                <a:off x="1641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1" name="Freeform 813"/>
              <p:cNvSpPr>
                <a:spLocks/>
              </p:cNvSpPr>
              <p:nvPr/>
            </p:nvSpPr>
            <p:spPr bwMode="auto">
              <a:xfrm>
                <a:off x="1650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2" name="Rectangle 814"/>
              <p:cNvSpPr>
                <a:spLocks noChangeArrowheads="1"/>
              </p:cNvSpPr>
              <p:nvPr/>
            </p:nvSpPr>
            <p:spPr bwMode="auto">
              <a:xfrm>
                <a:off x="1651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3" name="Freeform 815"/>
              <p:cNvSpPr>
                <a:spLocks/>
              </p:cNvSpPr>
              <p:nvPr/>
            </p:nvSpPr>
            <p:spPr bwMode="auto">
              <a:xfrm>
                <a:off x="1669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4" name="Freeform 816"/>
              <p:cNvSpPr>
                <a:spLocks/>
              </p:cNvSpPr>
              <p:nvPr/>
            </p:nvSpPr>
            <p:spPr bwMode="auto">
              <a:xfrm>
                <a:off x="1677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5" name="Rectangle 817"/>
              <p:cNvSpPr>
                <a:spLocks noChangeArrowheads="1"/>
              </p:cNvSpPr>
              <p:nvPr/>
            </p:nvSpPr>
            <p:spPr bwMode="auto">
              <a:xfrm>
                <a:off x="1679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6" name="Freeform 818"/>
              <p:cNvSpPr>
                <a:spLocks/>
              </p:cNvSpPr>
              <p:nvPr/>
            </p:nvSpPr>
            <p:spPr bwMode="auto">
              <a:xfrm>
                <a:off x="1696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7" name="Freeform 819"/>
              <p:cNvSpPr>
                <a:spLocks/>
              </p:cNvSpPr>
              <p:nvPr/>
            </p:nvSpPr>
            <p:spPr bwMode="auto">
              <a:xfrm>
                <a:off x="1705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8" name="Rectangle 820"/>
              <p:cNvSpPr>
                <a:spLocks noChangeArrowheads="1"/>
              </p:cNvSpPr>
              <p:nvPr/>
            </p:nvSpPr>
            <p:spPr bwMode="auto">
              <a:xfrm>
                <a:off x="1706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69" name="Freeform 821"/>
              <p:cNvSpPr>
                <a:spLocks/>
              </p:cNvSpPr>
              <p:nvPr/>
            </p:nvSpPr>
            <p:spPr bwMode="auto">
              <a:xfrm>
                <a:off x="1724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0" name="Freeform 822"/>
              <p:cNvSpPr>
                <a:spLocks/>
              </p:cNvSpPr>
              <p:nvPr/>
            </p:nvSpPr>
            <p:spPr bwMode="auto">
              <a:xfrm>
                <a:off x="1732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1" name="Rectangle 823"/>
              <p:cNvSpPr>
                <a:spLocks noChangeArrowheads="1"/>
              </p:cNvSpPr>
              <p:nvPr/>
            </p:nvSpPr>
            <p:spPr bwMode="auto">
              <a:xfrm>
                <a:off x="1734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2" name="Freeform 824"/>
              <p:cNvSpPr>
                <a:spLocks/>
              </p:cNvSpPr>
              <p:nvPr/>
            </p:nvSpPr>
            <p:spPr bwMode="auto">
              <a:xfrm>
                <a:off x="1751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3" name="Freeform 825"/>
              <p:cNvSpPr>
                <a:spLocks/>
              </p:cNvSpPr>
              <p:nvPr/>
            </p:nvSpPr>
            <p:spPr bwMode="auto">
              <a:xfrm>
                <a:off x="1759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4" name="Rectangle 826"/>
              <p:cNvSpPr>
                <a:spLocks noChangeArrowheads="1"/>
              </p:cNvSpPr>
              <p:nvPr/>
            </p:nvSpPr>
            <p:spPr bwMode="auto">
              <a:xfrm>
                <a:off x="1761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5" name="Freeform 827"/>
              <p:cNvSpPr>
                <a:spLocks/>
              </p:cNvSpPr>
              <p:nvPr/>
            </p:nvSpPr>
            <p:spPr bwMode="auto">
              <a:xfrm>
                <a:off x="1778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6" name="Freeform 828"/>
              <p:cNvSpPr>
                <a:spLocks/>
              </p:cNvSpPr>
              <p:nvPr/>
            </p:nvSpPr>
            <p:spPr bwMode="auto">
              <a:xfrm>
                <a:off x="1787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7" name="Rectangle 829"/>
              <p:cNvSpPr>
                <a:spLocks noChangeArrowheads="1"/>
              </p:cNvSpPr>
              <p:nvPr/>
            </p:nvSpPr>
            <p:spPr bwMode="auto">
              <a:xfrm>
                <a:off x="1789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8" name="Freeform 830"/>
              <p:cNvSpPr>
                <a:spLocks/>
              </p:cNvSpPr>
              <p:nvPr/>
            </p:nvSpPr>
            <p:spPr bwMode="auto">
              <a:xfrm>
                <a:off x="1806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79" name="Freeform 831"/>
              <p:cNvSpPr>
                <a:spLocks/>
              </p:cNvSpPr>
              <p:nvPr/>
            </p:nvSpPr>
            <p:spPr bwMode="auto">
              <a:xfrm>
                <a:off x="1814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0" name="Rectangle 832"/>
              <p:cNvSpPr>
                <a:spLocks noChangeArrowheads="1"/>
              </p:cNvSpPr>
              <p:nvPr/>
            </p:nvSpPr>
            <p:spPr bwMode="auto">
              <a:xfrm>
                <a:off x="1816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1" name="Freeform 833"/>
              <p:cNvSpPr>
                <a:spLocks/>
              </p:cNvSpPr>
              <p:nvPr/>
            </p:nvSpPr>
            <p:spPr bwMode="auto">
              <a:xfrm>
                <a:off x="1833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2" name="Freeform 834"/>
              <p:cNvSpPr>
                <a:spLocks/>
              </p:cNvSpPr>
              <p:nvPr/>
            </p:nvSpPr>
            <p:spPr bwMode="auto">
              <a:xfrm>
                <a:off x="1842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3" name="Rectangle 835"/>
              <p:cNvSpPr>
                <a:spLocks noChangeArrowheads="1"/>
              </p:cNvSpPr>
              <p:nvPr/>
            </p:nvSpPr>
            <p:spPr bwMode="auto">
              <a:xfrm>
                <a:off x="1844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4" name="Freeform 836"/>
              <p:cNvSpPr>
                <a:spLocks/>
              </p:cNvSpPr>
              <p:nvPr/>
            </p:nvSpPr>
            <p:spPr bwMode="auto">
              <a:xfrm>
                <a:off x="1861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5" name="Freeform 837"/>
              <p:cNvSpPr>
                <a:spLocks/>
              </p:cNvSpPr>
              <p:nvPr/>
            </p:nvSpPr>
            <p:spPr bwMode="auto">
              <a:xfrm>
                <a:off x="1869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6" name="Rectangle 838"/>
              <p:cNvSpPr>
                <a:spLocks noChangeArrowheads="1"/>
              </p:cNvSpPr>
              <p:nvPr/>
            </p:nvSpPr>
            <p:spPr bwMode="auto">
              <a:xfrm>
                <a:off x="1871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7" name="Freeform 839"/>
              <p:cNvSpPr>
                <a:spLocks/>
              </p:cNvSpPr>
              <p:nvPr/>
            </p:nvSpPr>
            <p:spPr bwMode="auto">
              <a:xfrm>
                <a:off x="1888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8" name="Freeform 840"/>
              <p:cNvSpPr>
                <a:spLocks/>
              </p:cNvSpPr>
              <p:nvPr/>
            </p:nvSpPr>
            <p:spPr bwMode="auto">
              <a:xfrm>
                <a:off x="1897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89" name="Rectangle 841"/>
              <p:cNvSpPr>
                <a:spLocks noChangeArrowheads="1"/>
              </p:cNvSpPr>
              <p:nvPr/>
            </p:nvSpPr>
            <p:spPr bwMode="auto">
              <a:xfrm>
                <a:off x="1899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0" name="Freeform 842"/>
              <p:cNvSpPr>
                <a:spLocks/>
              </p:cNvSpPr>
              <p:nvPr/>
            </p:nvSpPr>
            <p:spPr bwMode="auto">
              <a:xfrm>
                <a:off x="1916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1" name="Freeform 843"/>
              <p:cNvSpPr>
                <a:spLocks/>
              </p:cNvSpPr>
              <p:nvPr/>
            </p:nvSpPr>
            <p:spPr bwMode="auto">
              <a:xfrm>
                <a:off x="1924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2" name="Rectangle 844"/>
              <p:cNvSpPr>
                <a:spLocks noChangeArrowheads="1"/>
              </p:cNvSpPr>
              <p:nvPr/>
            </p:nvSpPr>
            <p:spPr bwMode="auto">
              <a:xfrm>
                <a:off x="1926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3" name="Freeform 845"/>
              <p:cNvSpPr>
                <a:spLocks/>
              </p:cNvSpPr>
              <p:nvPr/>
            </p:nvSpPr>
            <p:spPr bwMode="auto">
              <a:xfrm>
                <a:off x="1943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4" name="Freeform 846"/>
              <p:cNvSpPr>
                <a:spLocks/>
              </p:cNvSpPr>
              <p:nvPr/>
            </p:nvSpPr>
            <p:spPr bwMode="auto">
              <a:xfrm>
                <a:off x="1952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5" name="Rectangle 847"/>
              <p:cNvSpPr>
                <a:spLocks noChangeArrowheads="1"/>
              </p:cNvSpPr>
              <p:nvPr/>
            </p:nvSpPr>
            <p:spPr bwMode="auto">
              <a:xfrm>
                <a:off x="1954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6" name="Freeform 848"/>
              <p:cNvSpPr>
                <a:spLocks/>
              </p:cNvSpPr>
              <p:nvPr/>
            </p:nvSpPr>
            <p:spPr bwMode="auto">
              <a:xfrm>
                <a:off x="1971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7" name="Freeform 849"/>
              <p:cNvSpPr>
                <a:spLocks/>
              </p:cNvSpPr>
              <p:nvPr/>
            </p:nvSpPr>
            <p:spPr bwMode="auto">
              <a:xfrm>
                <a:off x="1979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8" name="Rectangle 850"/>
              <p:cNvSpPr>
                <a:spLocks noChangeArrowheads="1"/>
              </p:cNvSpPr>
              <p:nvPr/>
            </p:nvSpPr>
            <p:spPr bwMode="auto">
              <a:xfrm>
                <a:off x="1981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899" name="Freeform 851"/>
              <p:cNvSpPr>
                <a:spLocks/>
              </p:cNvSpPr>
              <p:nvPr/>
            </p:nvSpPr>
            <p:spPr bwMode="auto">
              <a:xfrm>
                <a:off x="1998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0" name="Freeform 852"/>
              <p:cNvSpPr>
                <a:spLocks/>
              </p:cNvSpPr>
              <p:nvPr/>
            </p:nvSpPr>
            <p:spPr bwMode="auto">
              <a:xfrm>
                <a:off x="2007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1" name="Rectangle 853"/>
              <p:cNvSpPr>
                <a:spLocks noChangeArrowheads="1"/>
              </p:cNvSpPr>
              <p:nvPr/>
            </p:nvSpPr>
            <p:spPr bwMode="auto">
              <a:xfrm>
                <a:off x="2008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2" name="Freeform 854"/>
              <p:cNvSpPr>
                <a:spLocks/>
              </p:cNvSpPr>
              <p:nvPr/>
            </p:nvSpPr>
            <p:spPr bwMode="auto">
              <a:xfrm>
                <a:off x="2026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3" name="Freeform 855"/>
              <p:cNvSpPr>
                <a:spLocks/>
              </p:cNvSpPr>
              <p:nvPr/>
            </p:nvSpPr>
            <p:spPr bwMode="auto">
              <a:xfrm>
                <a:off x="2034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4" name="Rectangle 856"/>
              <p:cNvSpPr>
                <a:spLocks noChangeArrowheads="1"/>
              </p:cNvSpPr>
              <p:nvPr/>
            </p:nvSpPr>
            <p:spPr bwMode="auto">
              <a:xfrm>
                <a:off x="2036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5" name="Freeform 857"/>
              <p:cNvSpPr>
                <a:spLocks/>
              </p:cNvSpPr>
              <p:nvPr/>
            </p:nvSpPr>
            <p:spPr bwMode="auto">
              <a:xfrm>
                <a:off x="2053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6" name="Freeform 858"/>
              <p:cNvSpPr>
                <a:spLocks/>
              </p:cNvSpPr>
              <p:nvPr/>
            </p:nvSpPr>
            <p:spPr bwMode="auto">
              <a:xfrm>
                <a:off x="2062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7" name="Rectangle 859"/>
              <p:cNvSpPr>
                <a:spLocks noChangeArrowheads="1"/>
              </p:cNvSpPr>
              <p:nvPr/>
            </p:nvSpPr>
            <p:spPr bwMode="auto">
              <a:xfrm>
                <a:off x="2063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8" name="Freeform 860"/>
              <p:cNvSpPr>
                <a:spLocks/>
              </p:cNvSpPr>
              <p:nvPr/>
            </p:nvSpPr>
            <p:spPr bwMode="auto">
              <a:xfrm>
                <a:off x="2081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09" name="Freeform 861"/>
              <p:cNvSpPr>
                <a:spLocks/>
              </p:cNvSpPr>
              <p:nvPr/>
            </p:nvSpPr>
            <p:spPr bwMode="auto">
              <a:xfrm>
                <a:off x="2089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0" name="Rectangle 862"/>
              <p:cNvSpPr>
                <a:spLocks noChangeArrowheads="1"/>
              </p:cNvSpPr>
              <p:nvPr/>
            </p:nvSpPr>
            <p:spPr bwMode="auto">
              <a:xfrm>
                <a:off x="2091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1" name="Freeform 863"/>
              <p:cNvSpPr>
                <a:spLocks/>
              </p:cNvSpPr>
              <p:nvPr/>
            </p:nvSpPr>
            <p:spPr bwMode="auto">
              <a:xfrm>
                <a:off x="2108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2" name="Freeform 864"/>
              <p:cNvSpPr>
                <a:spLocks/>
              </p:cNvSpPr>
              <p:nvPr/>
            </p:nvSpPr>
            <p:spPr bwMode="auto">
              <a:xfrm>
                <a:off x="211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3" name="Rectangle 865"/>
              <p:cNvSpPr>
                <a:spLocks noChangeArrowheads="1"/>
              </p:cNvSpPr>
              <p:nvPr/>
            </p:nvSpPr>
            <p:spPr bwMode="auto">
              <a:xfrm>
                <a:off x="211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4" name="Freeform 866"/>
              <p:cNvSpPr>
                <a:spLocks/>
              </p:cNvSpPr>
              <p:nvPr/>
            </p:nvSpPr>
            <p:spPr bwMode="auto">
              <a:xfrm>
                <a:off x="2135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5" name="Freeform 867"/>
              <p:cNvSpPr>
                <a:spLocks/>
              </p:cNvSpPr>
              <p:nvPr/>
            </p:nvSpPr>
            <p:spPr bwMode="auto">
              <a:xfrm>
                <a:off x="2144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6" name="Rectangle 868"/>
              <p:cNvSpPr>
                <a:spLocks noChangeArrowheads="1"/>
              </p:cNvSpPr>
              <p:nvPr/>
            </p:nvSpPr>
            <p:spPr bwMode="auto">
              <a:xfrm>
                <a:off x="2146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7" name="Freeform 869"/>
              <p:cNvSpPr>
                <a:spLocks/>
              </p:cNvSpPr>
              <p:nvPr/>
            </p:nvSpPr>
            <p:spPr bwMode="auto">
              <a:xfrm>
                <a:off x="2163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8" name="Freeform 870"/>
              <p:cNvSpPr>
                <a:spLocks/>
              </p:cNvSpPr>
              <p:nvPr/>
            </p:nvSpPr>
            <p:spPr bwMode="auto">
              <a:xfrm>
                <a:off x="2171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19" name="Rectangle 871"/>
              <p:cNvSpPr>
                <a:spLocks noChangeArrowheads="1"/>
              </p:cNvSpPr>
              <p:nvPr/>
            </p:nvSpPr>
            <p:spPr bwMode="auto">
              <a:xfrm>
                <a:off x="2173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0" name="Freeform 872"/>
              <p:cNvSpPr>
                <a:spLocks/>
              </p:cNvSpPr>
              <p:nvPr/>
            </p:nvSpPr>
            <p:spPr bwMode="auto">
              <a:xfrm>
                <a:off x="2190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1" name="Freeform 873"/>
              <p:cNvSpPr>
                <a:spLocks/>
              </p:cNvSpPr>
              <p:nvPr/>
            </p:nvSpPr>
            <p:spPr bwMode="auto">
              <a:xfrm>
                <a:off x="2199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2" name="Rectangle 874"/>
              <p:cNvSpPr>
                <a:spLocks noChangeArrowheads="1"/>
              </p:cNvSpPr>
              <p:nvPr/>
            </p:nvSpPr>
            <p:spPr bwMode="auto">
              <a:xfrm>
                <a:off x="2201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3" name="Freeform 875"/>
              <p:cNvSpPr>
                <a:spLocks/>
              </p:cNvSpPr>
              <p:nvPr/>
            </p:nvSpPr>
            <p:spPr bwMode="auto">
              <a:xfrm>
                <a:off x="2218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4" name="Freeform 876"/>
              <p:cNvSpPr>
                <a:spLocks/>
              </p:cNvSpPr>
              <p:nvPr/>
            </p:nvSpPr>
            <p:spPr bwMode="auto">
              <a:xfrm>
                <a:off x="222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5" name="Rectangle 877"/>
              <p:cNvSpPr>
                <a:spLocks noChangeArrowheads="1"/>
              </p:cNvSpPr>
              <p:nvPr/>
            </p:nvSpPr>
            <p:spPr bwMode="auto">
              <a:xfrm>
                <a:off x="222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6" name="Freeform 878"/>
              <p:cNvSpPr>
                <a:spLocks/>
              </p:cNvSpPr>
              <p:nvPr/>
            </p:nvSpPr>
            <p:spPr bwMode="auto">
              <a:xfrm>
                <a:off x="2245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7" name="Freeform 879"/>
              <p:cNvSpPr>
                <a:spLocks/>
              </p:cNvSpPr>
              <p:nvPr/>
            </p:nvSpPr>
            <p:spPr bwMode="auto">
              <a:xfrm>
                <a:off x="2254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8" name="Rectangle 880"/>
              <p:cNvSpPr>
                <a:spLocks noChangeArrowheads="1"/>
              </p:cNvSpPr>
              <p:nvPr/>
            </p:nvSpPr>
            <p:spPr bwMode="auto">
              <a:xfrm>
                <a:off x="2256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29" name="Freeform 881"/>
              <p:cNvSpPr>
                <a:spLocks/>
              </p:cNvSpPr>
              <p:nvPr/>
            </p:nvSpPr>
            <p:spPr bwMode="auto">
              <a:xfrm>
                <a:off x="2273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0" name="Freeform 882"/>
              <p:cNvSpPr>
                <a:spLocks/>
              </p:cNvSpPr>
              <p:nvPr/>
            </p:nvSpPr>
            <p:spPr bwMode="auto">
              <a:xfrm>
                <a:off x="2281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1" name="Rectangle 883"/>
              <p:cNvSpPr>
                <a:spLocks noChangeArrowheads="1"/>
              </p:cNvSpPr>
              <p:nvPr/>
            </p:nvSpPr>
            <p:spPr bwMode="auto">
              <a:xfrm>
                <a:off x="2283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2" name="Freeform 884"/>
              <p:cNvSpPr>
                <a:spLocks/>
              </p:cNvSpPr>
              <p:nvPr/>
            </p:nvSpPr>
            <p:spPr bwMode="auto">
              <a:xfrm>
                <a:off x="2300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3" name="Freeform 885"/>
              <p:cNvSpPr>
                <a:spLocks/>
              </p:cNvSpPr>
              <p:nvPr/>
            </p:nvSpPr>
            <p:spPr bwMode="auto">
              <a:xfrm>
                <a:off x="2309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4" name="Rectangle 886"/>
              <p:cNvSpPr>
                <a:spLocks noChangeArrowheads="1"/>
              </p:cNvSpPr>
              <p:nvPr/>
            </p:nvSpPr>
            <p:spPr bwMode="auto">
              <a:xfrm>
                <a:off x="2310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5" name="Freeform 887"/>
              <p:cNvSpPr>
                <a:spLocks/>
              </p:cNvSpPr>
              <p:nvPr/>
            </p:nvSpPr>
            <p:spPr bwMode="auto">
              <a:xfrm>
                <a:off x="2328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6" name="Freeform 888"/>
              <p:cNvSpPr>
                <a:spLocks/>
              </p:cNvSpPr>
              <p:nvPr/>
            </p:nvSpPr>
            <p:spPr bwMode="auto">
              <a:xfrm>
                <a:off x="233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7" name="Rectangle 889"/>
              <p:cNvSpPr>
                <a:spLocks noChangeArrowheads="1"/>
              </p:cNvSpPr>
              <p:nvPr/>
            </p:nvSpPr>
            <p:spPr bwMode="auto">
              <a:xfrm>
                <a:off x="233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8" name="Freeform 890"/>
              <p:cNvSpPr>
                <a:spLocks/>
              </p:cNvSpPr>
              <p:nvPr/>
            </p:nvSpPr>
            <p:spPr bwMode="auto">
              <a:xfrm>
                <a:off x="2355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39" name="Freeform 891"/>
              <p:cNvSpPr>
                <a:spLocks/>
              </p:cNvSpPr>
              <p:nvPr/>
            </p:nvSpPr>
            <p:spPr bwMode="auto">
              <a:xfrm>
                <a:off x="2364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0" name="Rectangle 892"/>
              <p:cNvSpPr>
                <a:spLocks noChangeArrowheads="1"/>
              </p:cNvSpPr>
              <p:nvPr/>
            </p:nvSpPr>
            <p:spPr bwMode="auto">
              <a:xfrm>
                <a:off x="2365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1" name="Freeform 893"/>
              <p:cNvSpPr>
                <a:spLocks/>
              </p:cNvSpPr>
              <p:nvPr/>
            </p:nvSpPr>
            <p:spPr bwMode="auto">
              <a:xfrm>
                <a:off x="2383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2" name="Freeform 894"/>
              <p:cNvSpPr>
                <a:spLocks/>
              </p:cNvSpPr>
              <p:nvPr/>
            </p:nvSpPr>
            <p:spPr bwMode="auto">
              <a:xfrm>
                <a:off x="2391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3" name="Rectangle 895"/>
              <p:cNvSpPr>
                <a:spLocks noChangeArrowheads="1"/>
              </p:cNvSpPr>
              <p:nvPr/>
            </p:nvSpPr>
            <p:spPr bwMode="auto">
              <a:xfrm>
                <a:off x="2393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4" name="Freeform 896"/>
              <p:cNvSpPr>
                <a:spLocks/>
              </p:cNvSpPr>
              <p:nvPr/>
            </p:nvSpPr>
            <p:spPr bwMode="auto">
              <a:xfrm>
                <a:off x="2410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5" name="Freeform 897"/>
              <p:cNvSpPr>
                <a:spLocks/>
              </p:cNvSpPr>
              <p:nvPr/>
            </p:nvSpPr>
            <p:spPr bwMode="auto">
              <a:xfrm>
                <a:off x="241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6" name="Rectangle 898"/>
              <p:cNvSpPr>
                <a:spLocks noChangeArrowheads="1"/>
              </p:cNvSpPr>
              <p:nvPr/>
            </p:nvSpPr>
            <p:spPr bwMode="auto">
              <a:xfrm>
                <a:off x="242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7" name="Freeform 899"/>
              <p:cNvSpPr>
                <a:spLocks/>
              </p:cNvSpPr>
              <p:nvPr/>
            </p:nvSpPr>
            <p:spPr bwMode="auto">
              <a:xfrm>
                <a:off x="243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8" name="Freeform 900"/>
              <p:cNvSpPr>
                <a:spLocks/>
              </p:cNvSpPr>
              <p:nvPr/>
            </p:nvSpPr>
            <p:spPr bwMode="auto">
              <a:xfrm>
                <a:off x="244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49" name="Rectangle 901"/>
              <p:cNvSpPr>
                <a:spLocks noChangeArrowheads="1"/>
              </p:cNvSpPr>
              <p:nvPr/>
            </p:nvSpPr>
            <p:spPr bwMode="auto">
              <a:xfrm>
                <a:off x="244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0" name="Freeform 902"/>
              <p:cNvSpPr>
                <a:spLocks/>
              </p:cNvSpPr>
              <p:nvPr/>
            </p:nvSpPr>
            <p:spPr bwMode="auto">
              <a:xfrm>
                <a:off x="2465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1" name="Freeform 903"/>
              <p:cNvSpPr>
                <a:spLocks/>
              </p:cNvSpPr>
              <p:nvPr/>
            </p:nvSpPr>
            <p:spPr bwMode="auto">
              <a:xfrm>
                <a:off x="247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2" name="Rectangle 904"/>
              <p:cNvSpPr>
                <a:spLocks noChangeArrowheads="1"/>
              </p:cNvSpPr>
              <p:nvPr/>
            </p:nvSpPr>
            <p:spPr bwMode="auto">
              <a:xfrm>
                <a:off x="247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3" name="Freeform 905"/>
              <p:cNvSpPr>
                <a:spLocks/>
              </p:cNvSpPr>
              <p:nvPr/>
            </p:nvSpPr>
            <p:spPr bwMode="auto">
              <a:xfrm>
                <a:off x="2492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4" name="Freeform 906"/>
              <p:cNvSpPr>
                <a:spLocks/>
              </p:cNvSpPr>
              <p:nvPr/>
            </p:nvSpPr>
            <p:spPr bwMode="auto">
              <a:xfrm>
                <a:off x="2501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5" name="Rectangle 907"/>
              <p:cNvSpPr>
                <a:spLocks noChangeArrowheads="1"/>
              </p:cNvSpPr>
              <p:nvPr/>
            </p:nvSpPr>
            <p:spPr bwMode="auto">
              <a:xfrm>
                <a:off x="2503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6" name="Freeform 908"/>
              <p:cNvSpPr>
                <a:spLocks/>
              </p:cNvSpPr>
              <p:nvPr/>
            </p:nvSpPr>
            <p:spPr bwMode="auto">
              <a:xfrm>
                <a:off x="2520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7" name="Freeform 909"/>
              <p:cNvSpPr>
                <a:spLocks/>
              </p:cNvSpPr>
              <p:nvPr/>
            </p:nvSpPr>
            <p:spPr bwMode="auto">
              <a:xfrm>
                <a:off x="252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8" name="Rectangle 910"/>
              <p:cNvSpPr>
                <a:spLocks noChangeArrowheads="1"/>
              </p:cNvSpPr>
              <p:nvPr/>
            </p:nvSpPr>
            <p:spPr bwMode="auto">
              <a:xfrm>
                <a:off x="253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59" name="Freeform 911"/>
              <p:cNvSpPr>
                <a:spLocks/>
              </p:cNvSpPr>
              <p:nvPr/>
            </p:nvSpPr>
            <p:spPr bwMode="auto">
              <a:xfrm>
                <a:off x="254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0" name="Freeform 912"/>
              <p:cNvSpPr>
                <a:spLocks/>
              </p:cNvSpPr>
              <p:nvPr/>
            </p:nvSpPr>
            <p:spPr bwMode="auto">
              <a:xfrm>
                <a:off x="255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1" name="Rectangle 913"/>
              <p:cNvSpPr>
                <a:spLocks noChangeArrowheads="1"/>
              </p:cNvSpPr>
              <p:nvPr/>
            </p:nvSpPr>
            <p:spPr bwMode="auto">
              <a:xfrm>
                <a:off x="255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2" name="Freeform 914"/>
              <p:cNvSpPr>
                <a:spLocks/>
              </p:cNvSpPr>
              <p:nvPr/>
            </p:nvSpPr>
            <p:spPr bwMode="auto">
              <a:xfrm>
                <a:off x="2575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3" name="Freeform 915"/>
              <p:cNvSpPr>
                <a:spLocks/>
              </p:cNvSpPr>
              <p:nvPr/>
            </p:nvSpPr>
            <p:spPr bwMode="auto">
              <a:xfrm>
                <a:off x="258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4" name="Rectangle 916"/>
              <p:cNvSpPr>
                <a:spLocks noChangeArrowheads="1"/>
              </p:cNvSpPr>
              <p:nvPr/>
            </p:nvSpPr>
            <p:spPr bwMode="auto">
              <a:xfrm>
                <a:off x="258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5" name="Freeform 917"/>
              <p:cNvSpPr>
                <a:spLocks/>
              </p:cNvSpPr>
              <p:nvPr/>
            </p:nvSpPr>
            <p:spPr bwMode="auto">
              <a:xfrm>
                <a:off x="2602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6" name="Freeform 918"/>
              <p:cNvSpPr>
                <a:spLocks/>
              </p:cNvSpPr>
              <p:nvPr/>
            </p:nvSpPr>
            <p:spPr bwMode="auto">
              <a:xfrm>
                <a:off x="2611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7" name="Rectangle 919"/>
              <p:cNvSpPr>
                <a:spLocks noChangeArrowheads="1"/>
              </p:cNvSpPr>
              <p:nvPr/>
            </p:nvSpPr>
            <p:spPr bwMode="auto">
              <a:xfrm>
                <a:off x="2613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8" name="Freeform 920"/>
              <p:cNvSpPr>
                <a:spLocks/>
              </p:cNvSpPr>
              <p:nvPr/>
            </p:nvSpPr>
            <p:spPr bwMode="auto">
              <a:xfrm>
                <a:off x="2630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69" name="Freeform 921"/>
              <p:cNvSpPr>
                <a:spLocks/>
              </p:cNvSpPr>
              <p:nvPr/>
            </p:nvSpPr>
            <p:spPr bwMode="auto">
              <a:xfrm>
                <a:off x="263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0" name="Rectangle 922"/>
              <p:cNvSpPr>
                <a:spLocks noChangeArrowheads="1"/>
              </p:cNvSpPr>
              <p:nvPr/>
            </p:nvSpPr>
            <p:spPr bwMode="auto">
              <a:xfrm>
                <a:off x="264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1" name="Freeform 923"/>
              <p:cNvSpPr>
                <a:spLocks/>
              </p:cNvSpPr>
              <p:nvPr/>
            </p:nvSpPr>
            <p:spPr bwMode="auto">
              <a:xfrm>
                <a:off x="265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2" name="Freeform 924"/>
              <p:cNvSpPr>
                <a:spLocks/>
              </p:cNvSpPr>
              <p:nvPr/>
            </p:nvSpPr>
            <p:spPr bwMode="auto">
              <a:xfrm>
                <a:off x="2666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3" name="Rectangle 925"/>
              <p:cNvSpPr>
                <a:spLocks noChangeArrowheads="1"/>
              </p:cNvSpPr>
              <p:nvPr/>
            </p:nvSpPr>
            <p:spPr bwMode="auto">
              <a:xfrm>
                <a:off x="2667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4" name="Freeform 926"/>
              <p:cNvSpPr>
                <a:spLocks/>
              </p:cNvSpPr>
              <p:nvPr/>
            </p:nvSpPr>
            <p:spPr bwMode="auto">
              <a:xfrm>
                <a:off x="2685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5" name="Freeform 927"/>
              <p:cNvSpPr>
                <a:spLocks/>
              </p:cNvSpPr>
              <p:nvPr/>
            </p:nvSpPr>
            <p:spPr bwMode="auto">
              <a:xfrm>
                <a:off x="269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6" name="Rectangle 928"/>
              <p:cNvSpPr>
                <a:spLocks noChangeArrowheads="1"/>
              </p:cNvSpPr>
              <p:nvPr/>
            </p:nvSpPr>
            <p:spPr bwMode="auto">
              <a:xfrm>
                <a:off x="269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7" name="Freeform 929"/>
              <p:cNvSpPr>
                <a:spLocks/>
              </p:cNvSpPr>
              <p:nvPr/>
            </p:nvSpPr>
            <p:spPr bwMode="auto">
              <a:xfrm>
                <a:off x="2712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8" name="Freeform 930"/>
              <p:cNvSpPr>
                <a:spLocks/>
              </p:cNvSpPr>
              <p:nvPr/>
            </p:nvSpPr>
            <p:spPr bwMode="auto">
              <a:xfrm>
                <a:off x="2721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79" name="Rectangle 931"/>
              <p:cNvSpPr>
                <a:spLocks noChangeArrowheads="1"/>
              </p:cNvSpPr>
              <p:nvPr/>
            </p:nvSpPr>
            <p:spPr bwMode="auto">
              <a:xfrm>
                <a:off x="2722" y="1112"/>
                <a:ext cx="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0" name="Freeform 932"/>
              <p:cNvSpPr>
                <a:spLocks/>
              </p:cNvSpPr>
              <p:nvPr/>
            </p:nvSpPr>
            <p:spPr bwMode="auto">
              <a:xfrm>
                <a:off x="2729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1" name="Freeform 933"/>
              <p:cNvSpPr>
                <a:spLocks/>
              </p:cNvSpPr>
              <p:nvPr/>
            </p:nvSpPr>
            <p:spPr bwMode="auto">
              <a:xfrm>
                <a:off x="281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2" name="Rectangle 934"/>
              <p:cNvSpPr>
                <a:spLocks noChangeArrowheads="1"/>
              </p:cNvSpPr>
              <p:nvPr/>
            </p:nvSpPr>
            <p:spPr bwMode="auto">
              <a:xfrm>
                <a:off x="282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3" name="Freeform 935"/>
              <p:cNvSpPr>
                <a:spLocks/>
              </p:cNvSpPr>
              <p:nvPr/>
            </p:nvSpPr>
            <p:spPr bwMode="auto">
              <a:xfrm>
                <a:off x="283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4" name="Freeform 936"/>
              <p:cNvSpPr>
                <a:spLocks/>
              </p:cNvSpPr>
              <p:nvPr/>
            </p:nvSpPr>
            <p:spPr bwMode="auto">
              <a:xfrm>
                <a:off x="284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5" name="Rectangle 937"/>
              <p:cNvSpPr>
                <a:spLocks noChangeArrowheads="1"/>
              </p:cNvSpPr>
              <p:nvPr/>
            </p:nvSpPr>
            <p:spPr bwMode="auto">
              <a:xfrm>
                <a:off x="284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6" name="Freeform 938"/>
              <p:cNvSpPr>
                <a:spLocks/>
              </p:cNvSpPr>
              <p:nvPr/>
            </p:nvSpPr>
            <p:spPr bwMode="auto">
              <a:xfrm>
                <a:off x="2865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7" name="Freeform 939"/>
              <p:cNvSpPr>
                <a:spLocks/>
              </p:cNvSpPr>
              <p:nvPr/>
            </p:nvSpPr>
            <p:spPr bwMode="auto">
              <a:xfrm>
                <a:off x="287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8" name="Rectangle 940"/>
              <p:cNvSpPr>
                <a:spLocks noChangeArrowheads="1"/>
              </p:cNvSpPr>
              <p:nvPr/>
            </p:nvSpPr>
            <p:spPr bwMode="auto">
              <a:xfrm>
                <a:off x="287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89" name="Freeform 941"/>
              <p:cNvSpPr>
                <a:spLocks/>
              </p:cNvSpPr>
              <p:nvPr/>
            </p:nvSpPr>
            <p:spPr bwMode="auto">
              <a:xfrm>
                <a:off x="2892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0" name="Freeform 942"/>
              <p:cNvSpPr>
                <a:spLocks/>
              </p:cNvSpPr>
              <p:nvPr/>
            </p:nvSpPr>
            <p:spPr bwMode="auto">
              <a:xfrm>
                <a:off x="2901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1" name="Rectangle 943"/>
              <p:cNvSpPr>
                <a:spLocks noChangeArrowheads="1"/>
              </p:cNvSpPr>
              <p:nvPr/>
            </p:nvSpPr>
            <p:spPr bwMode="auto">
              <a:xfrm>
                <a:off x="2902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2" name="Freeform 944"/>
              <p:cNvSpPr>
                <a:spLocks/>
              </p:cNvSpPr>
              <p:nvPr/>
            </p:nvSpPr>
            <p:spPr bwMode="auto">
              <a:xfrm>
                <a:off x="2920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3" name="Freeform 945"/>
              <p:cNvSpPr>
                <a:spLocks/>
              </p:cNvSpPr>
              <p:nvPr/>
            </p:nvSpPr>
            <p:spPr bwMode="auto">
              <a:xfrm>
                <a:off x="292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4" name="Rectangle 946"/>
              <p:cNvSpPr>
                <a:spLocks noChangeArrowheads="1"/>
              </p:cNvSpPr>
              <p:nvPr/>
            </p:nvSpPr>
            <p:spPr bwMode="auto">
              <a:xfrm>
                <a:off x="293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5" name="Freeform 947"/>
              <p:cNvSpPr>
                <a:spLocks/>
              </p:cNvSpPr>
              <p:nvPr/>
            </p:nvSpPr>
            <p:spPr bwMode="auto">
              <a:xfrm>
                <a:off x="294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6" name="Freeform 948"/>
              <p:cNvSpPr>
                <a:spLocks/>
              </p:cNvSpPr>
              <p:nvPr/>
            </p:nvSpPr>
            <p:spPr bwMode="auto">
              <a:xfrm>
                <a:off x="2956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7" name="Rectangle 949"/>
              <p:cNvSpPr>
                <a:spLocks noChangeArrowheads="1"/>
              </p:cNvSpPr>
              <p:nvPr/>
            </p:nvSpPr>
            <p:spPr bwMode="auto">
              <a:xfrm>
                <a:off x="295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8" name="Freeform 950"/>
              <p:cNvSpPr>
                <a:spLocks/>
              </p:cNvSpPr>
              <p:nvPr/>
            </p:nvSpPr>
            <p:spPr bwMode="auto">
              <a:xfrm>
                <a:off x="2974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99" name="Freeform 951"/>
              <p:cNvSpPr>
                <a:spLocks/>
              </p:cNvSpPr>
              <p:nvPr/>
            </p:nvSpPr>
            <p:spPr bwMode="auto">
              <a:xfrm>
                <a:off x="298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0" name="Rectangle 952"/>
              <p:cNvSpPr>
                <a:spLocks noChangeArrowheads="1"/>
              </p:cNvSpPr>
              <p:nvPr/>
            </p:nvSpPr>
            <p:spPr bwMode="auto">
              <a:xfrm>
                <a:off x="298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1" name="Freeform 953"/>
              <p:cNvSpPr>
                <a:spLocks/>
              </p:cNvSpPr>
              <p:nvPr/>
            </p:nvSpPr>
            <p:spPr bwMode="auto">
              <a:xfrm>
                <a:off x="3002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2" name="Freeform 954"/>
              <p:cNvSpPr>
                <a:spLocks/>
              </p:cNvSpPr>
              <p:nvPr/>
            </p:nvSpPr>
            <p:spPr bwMode="auto">
              <a:xfrm>
                <a:off x="3011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3" name="Rectangle 955"/>
              <p:cNvSpPr>
                <a:spLocks noChangeArrowheads="1"/>
              </p:cNvSpPr>
              <p:nvPr/>
            </p:nvSpPr>
            <p:spPr bwMode="auto">
              <a:xfrm>
                <a:off x="301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4" name="Freeform 956"/>
              <p:cNvSpPr>
                <a:spLocks/>
              </p:cNvSpPr>
              <p:nvPr/>
            </p:nvSpPr>
            <p:spPr bwMode="auto">
              <a:xfrm>
                <a:off x="3029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5" name="Freeform 957"/>
              <p:cNvSpPr>
                <a:spLocks/>
              </p:cNvSpPr>
              <p:nvPr/>
            </p:nvSpPr>
            <p:spPr bwMode="auto">
              <a:xfrm>
                <a:off x="303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6" name="Rectangle 958"/>
              <p:cNvSpPr>
                <a:spLocks noChangeArrowheads="1"/>
              </p:cNvSpPr>
              <p:nvPr/>
            </p:nvSpPr>
            <p:spPr bwMode="auto">
              <a:xfrm>
                <a:off x="304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7" name="Freeform 959"/>
              <p:cNvSpPr>
                <a:spLocks/>
              </p:cNvSpPr>
              <p:nvPr/>
            </p:nvSpPr>
            <p:spPr bwMode="auto">
              <a:xfrm>
                <a:off x="305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8" name="Freeform 960"/>
              <p:cNvSpPr>
                <a:spLocks/>
              </p:cNvSpPr>
              <p:nvPr/>
            </p:nvSpPr>
            <p:spPr bwMode="auto">
              <a:xfrm>
                <a:off x="3066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09" name="Rectangle 961"/>
              <p:cNvSpPr>
                <a:spLocks noChangeArrowheads="1"/>
              </p:cNvSpPr>
              <p:nvPr/>
            </p:nvSpPr>
            <p:spPr bwMode="auto">
              <a:xfrm>
                <a:off x="306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0" name="Freeform 962"/>
              <p:cNvSpPr>
                <a:spLocks/>
              </p:cNvSpPr>
              <p:nvPr/>
            </p:nvSpPr>
            <p:spPr bwMode="auto">
              <a:xfrm>
                <a:off x="3084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1" name="Freeform 963"/>
              <p:cNvSpPr>
                <a:spLocks/>
              </p:cNvSpPr>
              <p:nvPr/>
            </p:nvSpPr>
            <p:spPr bwMode="auto">
              <a:xfrm>
                <a:off x="309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2" name="Rectangle 964"/>
              <p:cNvSpPr>
                <a:spLocks noChangeArrowheads="1"/>
              </p:cNvSpPr>
              <p:nvPr/>
            </p:nvSpPr>
            <p:spPr bwMode="auto">
              <a:xfrm>
                <a:off x="309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3" name="Freeform 965"/>
              <p:cNvSpPr>
                <a:spLocks/>
              </p:cNvSpPr>
              <p:nvPr/>
            </p:nvSpPr>
            <p:spPr bwMode="auto">
              <a:xfrm>
                <a:off x="3112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4" name="Freeform 966"/>
              <p:cNvSpPr>
                <a:spLocks/>
              </p:cNvSpPr>
              <p:nvPr/>
            </p:nvSpPr>
            <p:spPr bwMode="auto">
              <a:xfrm>
                <a:off x="3120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5" name="Rectangle 967"/>
              <p:cNvSpPr>
                <a:spLocks noChangeArrowheads="1"/>
              </p:cNvSpPr>
              <p:nvPr/>
            </p:nvSpPr>
            <p:spPr bwMode="auto">
              <a:xfrm>
                <a:off x="312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6" name="Freeform 968"/>
              <p:cNvSpPr>
                <a:spLocks/>
              </p:cNvSpPr>
              <p:nvPr/>
            </p:nvSpPr>
            <p:spPr bwMode="auto">
              <a:xfrm>
                <a:off x="3139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7" name="Freeform 969"/>
              <p:cNvSpPr>
                <a:spLocks/>
              </p:cNvSpPr>
              <p:nvPr/>
            </p:nvSpPr>
            <p:spPr bwMode="auto">
              <a:xfrm>
                <a:off x="314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8" name="Rectangle 970"/>
              <p:cNvSpPr>
                <a:spLocks noChangeArrowheads="1"/>
              </p:cNvSpPr>
              <p:nvPr/>
            </p:nvSpPr>
            <p:spPr bwMode="auto">
              <a:xfrm>
                <a:off x="315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19" name="Freeform 971"/>
              <p:cNvSpPr>
                <a:spLocks/>
              </p:cNvSpPr>
              <p:nvPr/>
            </p:nvSpPr>
            <p:spPr bwMode="auto">
              <a:xfrm>
                <a:off x="316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0" name="Freeform 972"/>
              <p:cNvSpPr>
                <a:spLocks/>
              </p:cNvSpPr>
              <p:nvPr/>
            </p:nvSpPr>
            <p:spPr bwMode="auto">
              <a:xfrm>
                <a:off x="3175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1" name="Rectangle 973"/>
              <p:cNvSpPr>
                <a:spLocks noChangeArrowheads="1"/>
              </p:cNvSpPr>
              <p:nvPr/>
            </p:nvSpPr>
            <p:spPr bwMode="auto">
              <a:xfrm>
                <a:off x="317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2" name="Freeform 974"/>
              <p:cNvSpPr>
                <a:spLocks/>
              </p:cNvSpPr>
              <p:nvPr/>
            </p:nvSpPr>
            <p:spPr bwMode="auto">
              <a:xfrm>
                <a:off x="3194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3" name="Freeform 975"/>
              <p:cNvSpPr>
                <a:spLocks/>
              </p:cNvSpPr>
              <p:nvPr/>
            </p:nvSpPr>
            <p:spPr bwMode="auto">
              <a:xfrm>
                <a:off x="3203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4" name="Rectangle 976"/>
              <p:cNvSpPr>
                <a:spLocks noChangeArrowheads="1"/>
              </p:cNvSpPr>
              <p:nvPr/>
            </p:nvSpPr>
            <p:spPr bwMode="auto">
              <a:xfrm>
                <a:off x="3204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5" name="Freeform 977"/>
              <p:cNvSpPr>
                <a:spLocks/>
              </p:cNvSpPr>
              <p:nvPr/>
            </p:nvSpPr>
            <p:spPr bwMode="auto">
              <a:xfrm>
                <a:off x="3222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6" name="Freeform 978"/>
              <p:cNvSpPr>
                <a:spLocks/>
              </p:cNvSpPr>
              <p:nvPr/>
            </p:nvSpPr>
            <p:spPr bwMode="auto">
              <a:xfrm>
                <a:off x="3230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7" name="Rectangle 979"/>
              <p:cNvSpPr>
                <a:spLocks noChangeArrowheads="1"/>
              </p:cNvSpPr>
              <p:nvPr/>
            </p:nvSpPr>
            <p:spPr bwMode="auto">
              <a:xfrm>
                <a:off x="323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8" name="Freeform 980"/>
              <p:cNvSpPr>
                <a:spLocks/>
              </p:cNvSpPr>
              <p:nvPr/>
            </p:nvSpPr>
            <p:spPr bwMode="auto">
              <a:xfrm>
                <a:off x="3249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29" name="Freeform 981"/>
              <p:cNvSpPr>
                <a:spLocks/>
              </p:cNvSpPr>
              <p:nvPr/>
            </p:nvSpPr>
            <p:spPr bwMode="auto">
              <a:xfrm>
                <a:off x="3258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0" name="Rectangle 982"/>
              <p:cNvSpPr>
                <a:spLocks noChangeArrowheads="1"/>
              </p:cNvSpPr>
              <p:nvPr/>
            </p:nvSpPr>
            <p:spPr bwMode="auto">
              <a:xfrm>
                <a:off x="3259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1" name="Freeform 983"/>
              <p:cNvSpPr>
                <a:spLocks/>
              </p:cNvSpPr>
              <p:nvPr/>
            </p:nvSpPr>
            <p:spPr bwMode="auto">
              <a:xfrm>
                <a:off x="3277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2" name="Freeform 984"/>
              <p:cNvSpPr>
                <a:spLocks/>
              </p:cNvSpPr>
              <p:nvPr/>
            </p:nvSpPr>
            <p:spPr bwMode="auto">
              <a:xfrm>
                <a:off x="3285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3" name="Rectangle 985"/>
              <p:cNvSpPr>
                <a:spLocks noChangeArrowheads="1"/>
              </p:cNvSpPr>
              <p:nvPr/>
            </p:nvSpPr>
            <p:spPr bwMode="auto">
              <a:xfrm>
                <a:off x="328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4" name="Freeform 986"/>
              <p:cNvSpPr>
                <a:spLocks/>
              </p:cNvSpPr>
              <p:nvPr/>
            </p:nvSpPr>
            <p:spPr bwMode="auto">
              <a:xfrm>
                <a:off x="3304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5" name="Freeform 987"/>
              <p:cNvSpPr>
                <a:spLocks/>
              </p:cNvSpPr>
              <p:nvPr/>
            </p:nvSpPr>
            <p:spPr bwMode="auto">
              <a:xfrm>
                <a:off x="3313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6" name="Rectangle 988"/>
              <p:cNvSpPr>
                <a:spLocks noChangeArrowheads="1"/>
              </p:cNvSpPr>
              <p:nvPr/>
            </p:nvSpPr>
            <p:spPr bwMode="auto">
              <a:xfrm>
                <a:off x="3314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7" name="Freeform 989"/>
              <p:cNvSpPr>
                <a:spLocks/>
              </p:cNvSpPr>
              <p:nvPr/>
            </p:nvSpPr>
            <p:spPr bwMode="auto">
              <a:xfrm>
                <a:off x="3331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8" name="Freeform 990"/>
              <p:cNvSpPr>
                <a:spLocks/>
              </p:cNvSpPr>
              <p:nvPr/>
            </p:nvSpPr>
            <p:spPr bwMode="auto">
              <a:xfrm>
                <a:off x="3340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39" name="Rectangle 991"/>
              <p:cNvSpPr>
                <a:spLocks noChangeArrowheads="1"/>
              </p:cNvSpPr>
              <p:nvPr/>
            </p:nvSpPr>
            <p:spPr bwMode="auto">
              <a:xfrm>
                <a:off x="334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0" name="Freeform 992"/>
              <p:cNvSpPr>
                <a:spLocks/>
              </p:cNvSpPr>
              <p:nvPr/>
            </p:nvSpPr>
            <p:spPr bwMode="auto">
              <a:xfrm>
                <a:off x="3359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1" name="Freeform 993"/>
              <p:cNvSpPr>
                <a:spLocks/>
              </p:cNvSpPr>
              <p:nvPr/>
            </p:nvSpPr>
            <p:spPr bwMode="auto">
              <a:xfrm>
                <a:off x="3368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2" name="Rectangle 994"/>
              <p:cNvSpPr>
                <a:spLocks noChangeArrowheads="1"/>
              </p:cNvSpPr>
              <p:nvPr/>
            </p:nvSpPr>
            <p:spPr bwMode="auto">
              <a:xfrm>
                <a:off x="3369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3" name="Freeform 995"/>
              <p:cNvSpPr>
                <a:spLocks/>
              </p:cNvSpPr>
              <p:nvPr/>
            </p:nvSpPr>
            <p:spPr bwMode="auto">
              <a:xfrm>
                <a:off x="3386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4" name="Freeform 996"/>
              <p:cNvSpPr>
                <a:spLocks/>
              </p:cNvSpPr>
              <p:nvPr/>
            </p:nvSpPr>
            <p:spPr bwMode="auto">
              <a:xfrm>
                <a:off x="3395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5" name="Rectangle 997"/>
              <p:cNvSpPr>
                <a:spLocks noChangeArrowheads="1"/>
              </p:cNvSpPr>
              <p:nvPr/>
            </p:nvSpPr>
            <p:spPr bwMode="auto">
              <a:xfrm>
                <a:off x="339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6" name="Freeform 998"/>
              <p:cNvSpPr>
                <a:spLocks/>
              </p:cNvSpPr>
              <p:nvPr/>
            </p:nvSpPr>
            <p:spPr bwMode="auto">
              <a:xfrm>
                <a:off x="3414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7" name="Freeform 999"/>
              <p:cNvSpPr>
                <a:spLocks/>
              </p:cNvSpPr>
              <p:nvPr/>
            </p:nvSpPr>
            <p:spPr bwMode="auto">
              <a:xfrm>
                <a:off x="3423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8" name="Rectangle 1000"/>
              <p:cNvSpPr>
                <a:spLocks noChangeArrowheads="1"/>
              </p:cNvSpPr>
              <p:nvPr/>
            </p:nvSpPr>
            <p:spPr bwMode="auto">
              <a:xfrm>
                <a:off x="3424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49" name="Freeform 1001"/>
              <p:cNvSpPr>
                <a:spLocks/>
              </p:cNvSpPr>
              <p:nvPr/>
            </p:nvSpPr>
            <p:spPr bwMode="auto">
              <a:xfrm>
                <a:off x="3441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50" name="Freeform 1002"/>
              <p:cNvSpPr>
                <a:spLocks/>
              </p:cNvSpPr>
              <p:nvPr/>
            </p:nvSpPr>
            <p:spPr bwMode="auto">
              <a:xfrm>
                <a:off x="3450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51" name="Rectangle 1003"/>
              <p:cNvSpPr>
                <a:spLocks noChangeArrowheads="1"/>
              </p:cNvSpPr>
              <p:nvPr/>
            </p:nvSpPr>
            <p:spPr bwMode="auto">
              <a:xfrm>
                <a:off x="345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52" name="Freeform 1004"/>
              <p:cNvSpPr>
                <a:spLocks/>
              </p:cNvSpPr>
              <p:nvPr/>
            </p:nvSpPr>
            <p:spPr bwMode="auto">
              <a:xfrm>
                <a:off x="3469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53" name="Freeform 1005"/>
              <p:cNvSpPr>
                <a:spLocks/>
              </p:cNvSpPr>
              <p:nvPr/>
            </p:nvSpPr>
            <p:spPr bwMode="auto">
              <a:xfrm>
                <a:off x="3477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54" name="Rectangle 1006"/>
              <p:cNvSpPr>
                <a:spLocks noChangeArrowheads="1"/>
              </p:cNvSpPr>
              <p:nvPr/>
            </p:nvSpPr>
            <p:spPr bwMode="auto">
              <a:xfrm>
                <a:off x="3479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55" name="Freeform 1007"/>
              <p:cNvSpPr>
                <a:spLocks/>
              </p:cNvSpPr>
              <p:nvPr/>
            </p:nvSpPr>
            <p:spPr bwMode="auto">
              <a:xfrm>
                <a:off x="3496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56" name="Freeform 1008"/>
              <p:cNvSpPr>
                <a:spLocks/>
              </p:cNvSpPr>
              <p:nvPr/>
            </p:nvSpPr>
            <p:spPr bwMode="auto">
              <a:xfrm>
                <a:off x="3505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058" name="Rectangle 1010"/>
            <p:cNvSpPr>
              <a:spLocks noChangeArrowheads="1"/>
            </p:cNvSpPr>
            <p:nvPr/>
          </p:nvSpPr>
          <p:spPr bwMode="auto">
            <a:xfrm>
              <a:off x="5195278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59" name="Freeform 1011"/>
            <p:cNvSpPr>
              <a:spLocks/>
            </p:cNvSpPr>
            <p:nvPr/>
          </p:nvSpPr>
          <p:spPr bwMode="auto">
            <a:xfrm>
              <a:off x="5231140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0" name="Freeform 1012"/>
            <p:cNvSpPr>
              <a:spLocks/>
            </p:cNvSpPr>
            <p:nvPr/>
          </p:nvSpPr>
          <p:spPr bwMode="auto">
            <a:xfrm>
              <a:off x="5247079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1" name="Rectangle 1013"/>
            <p:cNvSpPr>
              <a:spLocks noChangeArrowheads="1"/>
            </p:cNvSpPr>
            <p:nvPr/>
          </p:nvSpPr>
          <p:spPr bwMode="auto">
            <a:xfrm>
              <a:off x="5251063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2" name="Freeform 1014"/>
            <p:cNvSpPr>
              <a:spLocks/>
            </p:cNvSpPr>
            <p:nvPr/>
          </p:nvSpPr>
          <p:spPr bwMode="auto">
            <a:xfrm>
              <a:off x="5284933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3" name="Freeform 1015"/>
            <p:cNvSpPr>
              <a:spLocks/>
            </p:cNvSpPr>
            <p:nvPr/>
          </p:nvSpPr>
          <p:spPr bwMode="auto">
            <a:xfrm>
              <a:off x="5302864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4" name="Rectangle 1016"/>
            <p:cNvSpPr>
              <a:spLocks noChangeArrowheads="1"/>
            </p:cNvSpPr>
            <p:nvPr/>
          </p:nvSpPr>
          <p:spPr bwMode="auto">
            <a:xfrm>
              <a:off x="5304857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5" name="Freeform 1017"/>
            <p:cNvSpPr>
              <a:spLocks/>
            </p:cNvSpPr>
            <p:nvPr/>
          </p:nvSpPr>
          <p:spPr bwMode="auto">
            <a:xfrm>
              <a:off x="5340719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6" name="Freeform 1018"/>
            <p:cNvSpPr>
              <a:spLocks/>
            </p:cNvSpPr>
            <p:nvPr/>
          </p:nvSpPr>
          <p:spPr bwMode="auto">
            <a:xfrm>
              <a:off x="5356657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7" name="Rectangle 1019"/>
            <p:cNvSpPr>
              <a:spLocks noChangeArrowheads="1"/>
            </p:cNvSpPr>
            <p:nvPr/>
          </p:nvSpPr>
          <p:spPr bwMode="auto">
            <a:xfrm>
              <a:off x="5360642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8" name="Freeform 1020"/>
            <p:cNvSpPr>
              <a:spLocks/>
            </p:cNvSpPr>
            <p:nvPr/>
          </p:nvSpPr>
          <p:spPr bwMode="auto">
            <a:xfrm>
              <a:off x="5394512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69" name="Freeform 1021"/>
            <p:cNvSpPr>
              <a:spLocks/>
            </p:cNvSpPr>
            <p:nvPr/>
          </p:nvSpPr>
          <p:spPr bwMode="auto">
            <a:xfrm>
              <a:off x="5412443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0" name="Rectangle 1022"/>
            <p:cNvSpPr>
              <a:spLocks noChangeArrowheads="1"/>
            </p:cNvSpPr>
            <p:nvPr/>
          </p:nvSpPr>
          <p:spPr bwMode="auto">
            <a:xfrm>
              <a:off x="5414435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1" name="Freeform 1023"/>
            <p:cNvSpPr>
              <a:spLocks/>
            </p:cNvSpPr>
            <p:nvPr/>
          </p:nvSpPr>
          <p:spPr bwMode="auto">
            <a:xfrm>
              <a:off x="5448305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2" name="Freeform 1024"/>
            <p:cNvSpPr>
              <a:spLocks/>
            </p:cNvSpPr>
            <p:nvPr/>
          </p:nvSpPr>
          <p:spPr bwMode="auto">
            <a:xfrm>
              <a:off x="5466236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3" name="Rectangle 1025"/>
            <p:cNvSpPr>
              <a:spLocks noChangeArrowheads="1"/>
            </p:cNvSpPr>
            <p:nvPr/>
          </p:nvSpPr>
          <p:spPr bwMode="auto">
            <a:xfrm>
              <a:off x="5470221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4" name="Freeform 1026"/>
            <p:cNvSpPr>
              <a:spLocks/>
            </p:cNvSpPr>
            <p:nvPr/>
          </p:nvSpPr>
          <p:spPr bwMode="auto">
            <a:xfrm>
              <a:off x="5504091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5" name="Freeform 1027"/>
            <p:cNvSpPr>
              <a:spLocks/>
            </p:cNvSpPr>
            <p:nvPr/>
          </p:nvSpPr>
          <p:spPr bwMode="auto">
            <a:xfrm>
              <a:off x="5522022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6" name="Rectangle 1028"/>
            <p:cNvSpPr>
              <a:spLocks noChangeArrowheads="1"/>
            </p:cNvSpPr>
            <p:nvPr/>
          </p:nvSpPr>
          <p:spPr bwMode="auto">
            <a:xfrm>
              <a:off x="5524014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7" name="Freeform 1029"/>
            <p:cNvSpPr>
              <a:spLocks/>
            </p:cNvSpPr>
            <p:nvPr/>
          </p:nvSpPr>
          <p:spPr bwMode="auto">
            <a:xfrm>
              <a:off x="5557884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8" name="Freeform 1030"/>
            <p:cNvSpPr>
              <a:spLocks/>
            </p:cNvSpPr>
            <p:nvPr/>
          </p:nvSpPr>
          <p:spPr bwMode="auto">
            <a:xfrm>
              <a:off x="5575815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79" name="Rectangle 1031"/>
            <p:cNvSpPr>
              <a:spLocks noChangeArrowheads="1"/>
            </p:cNvSpPr>
            <p:nvPr/>
          </p:nvSpPr>
          <p:spPr bwMode="auto">
            <a:xfrm>
              <a:off x="5579800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0" name="Freeform 1032"/>
            <p:cNvSpPr>
              <a:spLocks/>
            </p:cNvSpPr>
            <p:nvPr/>
          </p:nvSpPr>
          <p:spPr bwMode="auto">
            <a:xfrm>
              <a:off x="5613670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1" name="Freeform 1033"/>
            <p:cNvSpPr>
              <a:spLocks/>
            </p:cNvSpPr>
            <p:nvPr/>
          </p:nvSpPr>
          <p:spPr bwMode="auto">
            <a:xfrm>
              <a:off x="5631601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2" name="Rectangle 1034"/>
            <p:cNvSpPr>
              <a:spLocks noChangeArrowheads="1"/>
            </p:cNvSpPr>
            <p:nvPr/>
          </p:nvSpPr>
          <p:spPr bwMode="auto">
            <a:xfrm>
              <a:off x="5633593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3" name="Freeform 1035"/>
            <p:cNvSpPr>
              <a:spLocks/>
            </p:cNvSpPr>
            <p:nvPr/>
          </p:nvSpPr>
          <p:spPr bwMode="auto">
            <a:xfrm>
              <a:off x="5667463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4" name="Freeform 1036"/>
            <p:cNvSpPr>
              <a:spLocks/>
            </p:cNvSpPr>
            <p:nvPr/>
          </p:nvSpPr>
          <p:spPr bwMode="auto">
            <a:xfrm>
              <a:off x="5685394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5" name="Rectangle 1037"/>
            <p:cNvSpPr>
              <a:spLocks noChangeArrowheads="1"/>
            </p:cNvSpPr>
            <p:nvPr/>
          </p:nvSpPr>
          <p:spPr bwMode="auto">
            <a:xfrm>
              <a:off x="5689379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6" name="Freeform 1038"/>
            <p:cNvSpPr>
              <a:spLocks/>
            </p:cNvSpPr>
            <p:nvPr/>
          </p:nvSpPr>
          <p:spPr bwMode="auto">
            <a:xfrm>
              <a:off x="5723248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7" name="Freeform 1039"/>
            <p:cNvSpPr>
              <a:spLocks/>
            </p:cNvSpPr>
            <p:nvPr/>
          </p:nvSpPr>
          <p:spPr bwMode="auto">
            <a:xfrm>
              <a:off x="5739187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8" name="Rectangle 1040"/>
            <p:cNvSpPr>
              <a:spLocks noChangeArrowheads="1"/>
            </p:cNvSpPr>
            <p:nvPr/>
          </p:nvSpPr>
          <p:spPr bwMode="auto">
            <a:xfrm>
              <a:off x="5743172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89" name="Freeform 1041"/>
            <p:cNvSpPr>
              <a:spLocks/>
            </p:cNvSpPr>
            <p:nvPr/>
          </p:nvSpPr>
          <p:spPr bwMode="auto">
            <a:xfrm>
              <a:off x="5777042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0" name="Freeform 1042"/>
            <p:cNvSpPr>
              <a:spLocks/>
            </p:cNvSpPr>
            <p:nvPr/>
          </p:nvSpPr>
          <p:spPr bwMode="auto">
            <a:xfrm>
              <a:off x="5794973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1" name="Rectangle 1043"/>
            <p:cNvSpPr>
              <a:spLocks noChangeArrowheads="1"/>
            </p:cNvSpPr>
            <p:nvPr/>
          </p:nvSpPr>
          <p:spPr bwMode="auto">
            <a:xfrm>
              <a:off x="5798957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2" name="Freeform 1044"/>
            <p:cNvSpPr>
              <a:spLocks/>
            </p:cNvSpPr>
            <p:nvPr/>
          </p:nvSpPr>
          <p:spPr bwMode="auto">
            <a:xfrm>
              <a:off x="5832827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3" name="Freeform 1045"/>
            <p:cNvSpPr>
              <a:spLocks/>
            </p:cNvSpPr>
            <p:nvPr/>
          </p:nvSpPr>
          <p:spPr bwMode="auto">
            <a:xfrm>
              <a:off x="5848766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4" name="Rectangle 1046"/>
            <p:cNvSpPr>
              <a:spLocks noChangeArrowheads="1"/>
            </p:cNvSpPr>
            <p:nvPr/>
          </p:nvSpPr>
          <p:spPr bwMode="auto">
            <a:xfrm>
              <a:off x="5852751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5" name="Freeform 1047"/>
            <p:cNvSpPr>
              <a:spLocks/>
            </p:cNvSpPr>
            <p:nvPr/>
          </p:nvSpPr>
          <p:spPr bwMode="auto">
            <a:xfrm>
              <a:off x="5886620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6" name="Freeform 1048"/>
            <p:cNvSpPr>
              <a:spLocks/>
            </p:cNvSpPr>
            <p:nvPr/>
          </p:nvSpPr>
          <p:spPr bwMode="auto">
            <a:xfrm>
              <a:off x="5904551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7" name="Rectangle 1049"/>
            <p:cNvSpPr>
              <a:spLocks noChangeArrowheads="1"/>
            </p:cNvSpPr>
            <p:nvPr/>
          </p:nvSpPr>
          <p:spPr bwMode="auto">
            <a:xfrm>
              <a:off x="5906544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8" name="Freeform 1050"/>
            <p:cNvSpPr>
              <a:spLocks/>
            </p:cNvSpPr>
            <p:nvPr/>
          </p:nvSpPr>
          <p:spPr bwMode="auto">
            <a:xfrm>
              <a:off x="5942406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099" name="Freeform 1051"/>
            <p:cNvSpPr>
              <a:spLocks/>
            </p:cNvSpPr>
            <p:nvPr/>
          </p:nvSpPr>
          <p:spPr bwMode="auto">
            <a:xfrm>
              <a:off x="5958345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0" name="Rectangle 1052"/>
            <p:cNvSpPr>
              <a:spLocks noChangeArrowheads="1"/>
            </p:cNvSpPr>
            <p:nvPr/>
          </p:nvSpPr>
          <p:spPr bwMode="auto">
            <a:xfrm>
              <a:off x="5962329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1" name="Freeform 1053"/>
            <p:cNvSpPr>
              <a:spLocks/>
            </p:cNvSpPr>
            <p:nvPr/>
          </p:nvSpPr>
          <p:spPr bwMode="auto">
            <a:xfrm>
              <a:off x="5996199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2" name="Freeform 1054"/>
            <p:cNvSpPr>
              <a:spLocks/>
            </p:cNvSpPr>
            <p:nvPr/>
          </p:nvSpPr>
          <p:spPr bwMode="auto">
            <a:xfrm>
              <a:off x="6014130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3" name="Rectangle 1055"/>
            <p:cNvSpPr>
              <a:spLocks noChangeArrowheads="1"/>
            </p:cNvSpPr>
            <p:nvPr/>
          </p:nvSpPr>
          <p:spPr bwMode="auto">
            <a:xfrm>
              <a:off x="6016123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4" name="Freeform 1056"/>
            <p:cNvSpPr>
              <a:spLocks/>
            </p:cNvSpPr>
            <p:nvPr/>
          </p:nvSpPr>
          <p:spPr bwMode="auto">
            <a:xfrm>
              <a:off x="6051985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5" name="Freeform 1057"/>
            <p:cNvSpPr>
              <a:spLocks/>
            </p:cNvSpPr>
            <p:nvPr/>
          </p:nvSpPr>
          <p:spPr bwMode="auto">
            <a:xfrm>
              <a:off x="6067924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6" name="Rectangle 1058"/>
            <p:cNvSpPr>
              <a:spLocks noChangeArrowheads="1"/>
            </p:cNvSpPr>
            <p:nvPr/>
          </p:nvSpPr>
          <p:spPr bwMode="auto">
            <a:xfrm>
              <a:off x="6071908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7" name="Freeform 1059"/>
            <p:cNvSpPr>
              <a:spLocks/>
            </p:cNvSpPr>
            <p:nvPr/>
          </p:nvSpPr>
          <p:spPr bwMode="auto">
            <a:xfrm>
              <a:off x="6105778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8" name="Freeform 1060"/>
            <p:cNvSpPr>
              <a:spLocks/>
            </p:cNvSpPr>
            <p:nvPr/>
          </p:nvSpPr>
          <p:spPr bwMode="auto">
            <a:xfrm>
              <a:off x="6123709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09" name="Rectangle 1061"/>
            <p:cNvSpPr>
              <a:spLocks noChangeArrowheads="1"/>
            </p:cNvSpPr>
            <p:nvPr/>
          </p:nvSpPr>
          <p:spPr bwMode="auto">
            <a:xfrm>
              <a:off x="6125701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0" name="Freeform 1062"/>
            <p:cNvSpPr>
              <a:spLocks/>
            </p:cNvSpPr>
            <p:nvPr/>
          </p:nvSpPr>
          <p:spPr bwMode="auto">
            <a:xfrm>
              <a:off x="6159571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1" name="Freeform 1063"/>
            <p:cNvSpPr>
              <a:spLocks/>
            </p:cNvSpPr>
            <p:nvPr/>
          </p:nvSpPr>
          <p:spPr bwMode="auto">
            <a:xfrm>
              <a:off x="6177502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2" name="Rectangle 1064"/>
            <p:cNvSpPr>
              <a:spLocks noChangeArrowheads="1"/>
            </p:cNvSpPr>
            <p:nvPr/>
          </p:nvSpPr>
          <p:spPr bwMode="auto">
            <a:xfrm>
              <a:off x="6181487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3" name="Freeform 1065"/>
            <p:cNvSpPr>
              <a:spLocks/>
            </p:cNvSpPr>
            <p:nvPr/>
          </p:nvSpPr>
          <p:spPr bwMode="auto">
            <a:xfrm>
              <a:off x="6215357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4" name="Freeform 1066"/>
            <p:cNvSpPr>
              <a:spLocks/>
            </p:cNvSpPr>
            <p:nvPr/>
          </p:nvSpPr>
          <p:spPr bwMode="auto">
            <a:xfrm>
              <a:off x="6233288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5" name="Rectangle 1067"/>
            <p:cNvSpPr>
              <a:spLocks noChangeArrowheads="1"/>
            </p:cNvSpPr>
            <p:nvPr/>
          </p:nvSpPr>
          <p:spPr bwMode="auto">
            <a:xfrm>
              <a:off x="6235280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6" name="Freeform 1068"/>
            <p:cNvSpPr>
              <a:spLocks/>
            </p:cNvSpPr>
            <p:nvPr/>
          </p:nvSpPr>
          <p:spPr bwMode="auto">
            <a:xfrm>
              <a:off x="6269150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7" name="Freeform 1069"/>
            <p:cNvSpPr>
              <a:spLocks/>
            </p:cNvSpPr>
            <p:nvPr/>
          </p:nvSpPr>
          <p:spPr bwMode="auto">
            <a:xfrm>
              <a:off x="6287081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8" name="Rectangle 1070"/>
            <p:cNvSpPr>
              <a:spLocks noChangeArrowheads="1"/>
            </p:cNvSpPr>
            <p:nvPr/>
          </p:nvSpPr>
          <p:spPr bwMode="auto">
            <a:xfrm>
              <a:off x="6291066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19" name="Freeform 1071"/>
            <p:cNvSpPr>
              <a:spLocks/>
            </p:cNvSpPr>
            <p:nvPr/>
          </p:nvSpPr>
          <p:spPr bwMode="auto">
            <a:xfrm>
              <a:off x="6324936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0" name="Freeform 1072"/>
            <p:cNvSpPr>
              <a:spLocks/>
            </p:cNvSpPr>
            <p:nvPr/>
          </p:nvSpPr>
          <p:spPr bwMode="auto">
            <a:xfrm>
              <a:off x="6342867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1" name="Rectangle 1073"/>
            <p:cNvSpPr>
              <a:spLocks noChangeArrowheads="1"/>
            </p:cNvSpPr>
            <p:nvPr/>
          </p:nvSpPr>
          <p:spPr bwMode="auto">
            <a:xfrm>
              <a:off x="6344859" y="1234346"/>
              <a:ext cx="23908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2" name="Freeform 1074"/>
            <p:cNvSpPr>
              <a:spLocks/>
            </p:cNvSpPr>
            <p:nvPr/>
          </p:nvSpPr>
          <p:spPr bwMode="auto">
            <a:xfrm>
              <a:off x="6368767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3" name="Freeform 1075"/>
            <p:cNvSpPr>
              <a:spLocks/>
            </p:cNvSpPr>
            <p:nvPr/>
          </p:nvSpPr>
          <p:spPr bwMode="auto">
            <a:xfrm>
              <a:off x="6520185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4" name="Rectangle 1076"/>
            <p:cNvSpPr>
              <a:spLocks noChangeArrowheads="1"/>
            </p:cNvSpPr>
            <p:nvPr/>
          </p:nvSpPr>
          <p:spPr bwMode="auto">
            <a:xfrm>
              <a:off x="6524170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5" name="Freeform 1077"/>
            <p:cNvSpPr>
              <a:spLocks/>
            </p:cNvSpPr>
            <p:nvPr/>
          </p:nvSpPr>
          <p:spPr bwMode="auto">
            <a:xfrm>
              <a:off x="6558040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6" name="Freeform 1078"/>
            <p:cNvSpPr>
              <a:spLocks/>
            </p:cNvSpPr>
            <p:nvPr/>
          </p:nvSpPr>
          <p:spPr bwMode="auto">
            <a:xfrm>
              <a:off x="6573978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7" name="Rectangle 1079"/>
            <p:cNvSpPr>
              <a:spLocks noChangeArrowheads="1"/>
            </p:cNvSpPr>
            <p:nvPr/>
          </p:nvSpPr>
          <p:spPr bwMode="auto">
            <a:xfrm>
              <a:off x="6577963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8" name="Freeform 1080"/>
            <p:cNvSpPr>
              <a:spLocks/>
            </p:cNvSpPr>
            <p:nvPr/>
          </p:nvSpPr>
          <p:spPr bwMode="auto">
            <a:xfrm>
              <a:off x="6611833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29" name="Freeform 1081"/>
            <p:cNvSpPr>
              <a:spLocks/>
            </p:cNvSpPr>
            <p:nvPr/>
          </p:nvSpPr>
          <p:spPr bwMode="auto">
            <a:xfrm>
              <a:off x="6629764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0" name="Rectangle 1082"/>
            <p:cNvSpPr>
              <a:spLocks noChangeArrowheads="1"/>
            </p:cNvSpPr>
            <p:nvPr/>
          </p:nvSpPr>
          <p:spPr bwMode="auto">
            <a:xfrm>
              <a:off x="6633749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1" name="Freeform 1083"/>
            <p:cNvSpPr>
              <a:spLocks/>
            </p:cNvSpPr>
            <p:nvPr/>
          </p:nvSpPr>
          <p:spPr bwMode="auto">
            <a:xfrm>
              <a:off x="6667619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2" name="Freeform 1084"/>
            <p:cNvSpPr>
              <a:spLocks/>
            </p:cNvSpPr>
            <p:nvPr/>
          </p:nvSpPr>
          <p:spPr bwMode="auto">
            <a:xfrm>
              <a:off x="6683557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3" name="Rectangle 1085"/>
            <p:cNvSpPr>
              <a:spLocks noChangeArrowheads="1"/>
            </p:cNvSpPr>
            <p:nvPr/>
          </p:nvSpPr>
          <p:spPr bwMode="auto">
            <a:xfrm>
              <a:off x="6687542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4" name="Freeform 1086"/>
            <p:cNvSpPr>
              <a:spLocks/>
            </p:cNvSpPr>
            <p:nvPr/>
          </p:nvSpPr>
          <p:spPr bwMode="auto">
            <a:xfrm>
              <a:off x="6721412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5" name="Freeform 1087"/>
            <p:cNvSpPr>
              <a:spLocks/>
            </p:cNvSpPr>
            <p:nvPr/>
          </p:nvSpPr>
          <p:spPr bwMode="auto">
            <a:xfrm>
              <a:off x="6739343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6" name="Rectangle 1088"/>
            <p:cNvSpPr>
              <a:spLocks noChangeArrowheads="1"/>
            </p:cNvSpPr>
            <p:nvPr/>
          </p:nvSpPr>
          <p:spPr bwMode="auto">
            <a:xfrm>
              <a:off x="6741335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7" name="Freeform 1089"/>
            <p:cNvSpPr>
              <a:spLocks/>
            </p:cNvSpPr>
            <p:nvPr/>
          </p:nvSpPr>
          <p:spPr bwMode="auto">
            <a:xfrm>
              <a:off x="6777197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8" name="Freeform 1090"/>
            <p:cNvSpPr>
              <a:spLocks/>
            </p:cNvSpPr>
            <p:nvPr/>
          </p:nvSpPr>
          <p:spPr bwMode="auto">
            <a:xfrm>
              <a:off x="6793136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39" name="Rectangle 1091"/>
            <p:cNvSpPr>
              <a:spLocks noChangeArrowheads="1"/>
            </p:cNvSpPr>
            <p:nvPr/>
          </p:nvSpPr>
          <p:spPr bwMode="auto">
            <a:xfrm>
              <a:off x="6797121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0" name="Freeform 1092"/>
            <p:cNvSpPr>
              <a:spLocks/>
            </p:cNvSpPr>
            <p:nvPr/>
          </p:nvSpPr>
          <p:spPr bwMode="auto">
            <a:xfrm>
              <a:off x="6830991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1" name="Freeform 1093"/>
            <p:cNvSpPr>
              <a:spLocks/>
            </p:cNvSpPr>
            <p:nvPr/>
          </p:nvSpPr>
          <p:spPr bwMode="auto">
            <a:xfrm>
              <a:off x="6848922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2" name="Rectangle 1094"/>
            <p:cNvSpPr>
              <a:spLocks noChangeArrowheads="1"/>
            </p:cNvSpPr>
            <p:nvPr/>
          </p:nvSpPr>
          <p:spPr bwMode="auto">
            <a:xfrm>
              <a:off x="6850914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3" name="Freeform 1095"/>
            <p:cNvSpPr>
              <a:spLocks/>
            </p:cNvSpPr>
            <p:nvPr/>
          </p:nvSpPr>
          <p:spPr bwMode="auto">
            <a:xfrm>
              <a:off x="6884784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4" name="Freeform 1096"/>
            <p:cNvSpPr>
              <a:spLocks/>
            </p:cNvSpPr>
            <p:nvPr/>
          </p:nvSpPr>
          <p:spPr bwMode="auto">
            <a:xfrm>
              <a:off x="6902715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5" name="Rectangle 1097"/>
            <p:cNvSpPr>
              <a:spLocks noChangeArrowheads="1"/>
            </p:cNvSpPr>
            <p:nvPr/>
          </p:nvSpPr>
          <p:spPr bwMode="auto">
            <a:xfrm>
              <a:off x="6906700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6" name="Freeform 1098"/>
            <p:cNvSpPr>
              <a:spLocks/>
            </p:cNvSpPr>
            <p:nvPr/>
          </p:nvSpPr>
          <p:spPr bwMode="auto">
            <a:xfrm>
              <a:off x="6940569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7" name="Freeform 1099"/>
            <p:cNvSpPr>
              <a:spLocks/>
            </p:cNvSpPr>
            <p:nvPr/>
          </p:nvSpPr>
          <p:spPr bwMode="auto">
            <a:xfrm>
              <a:off x="6958500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8" name="Rectangle 1100"/>
            <p:cNvSpPr>
              <a:spLocks noChangeArrowheads="1"/>
            </p:cNvSpPr>
            <p:nvPr/>
          </p:nvSpPr>
          <p:spPr bwMode="auto">
            <a:xfrm>
              <a:off x="6960493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49" name="Freeform 1101"/>
            <p:cNvSpPr>
              <a:spLocks/>
            </p:cNvSpPr>
            <p:nvPr/>
          </p:nvSpPr>
          <p:spPr bwMode="auto">
            <a:xfrm>
              <a:off x="6994363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0" name="Freeform 1102"/>
            <p:cNvSpPr>
              <a:spLocks/>
            </p:cNvSpPr>
            <p:nvPr/>
          </p:nvSpPr>
          <p:spPr bwMode="auto">
            <a:xfrm>
              <a:off x="7012294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1" name="Rectangle 1103"/>
            <p:cNvSpPr>
              <a:spLocks noChangeArrowheads="1"/>
            </p:cNvSpPr>
            <p:nvPr/>
          </p:nvSpPr>
          <p:spPr bwMode="auto">
            <a:xfrm>
              <a:off x="7016278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2" name="Freeform 1104"/>
            <p:cNvSpPr>
              <a:spLocks/>
            </p:cNvSpPr>
            <p:nvPr/>
          </p:nvSpPr>
          <p:spPr bwMode="auto">
            <a:xfrm>
              <a:off x="7050148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3" name="Freeform 1105"/>
            <p:cNvSpPr>
              <a:spLocks/>
            </p:cNvSpPr>
            <p:nvPr/>
          </p:nvSpPr>
          <p:spPr bwMode="auto">
            <a:xfrm>
              <a:off x="7068079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4" name="Rectangle 1106"/>
            <p:cNvSpPr>
              <a:spLocks noChangeArrowheads="1"/>
            </p:cNvSpPr>
            <p:nvPr/>
          </p:nvSpPr>
          <p:spPr bwMode="auto">
            <a:xfrm>
              <a:off x="7070072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5" name="Freeform 1107"/>
            <p:cNvSpPr>
              <a:spLocks/>
            </p:cNvSpPr>
            <p:nvPr/>
          </p:nvSpPr>
          <p:spPr bwMode="auto">
            <a:xfrm>
              <a:off x="7103941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6" name="Freeform 1108"/>
            <p:cNvSpPr>
              <a:spLocks/>
            </p:cNvSpPr>
            <p:nvPr/>
          </p:nvSpPr>
          <p:spPr bwMode="auto">
            <a:xfrm>
              <a:off x="7121873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7" name="Rectangle 1109"/>
            <p:cNvSpPr>
              <a:spLocks noChangeArrowheads="1"/>
            </p:cNvSpPr>
            <p:nvPr/>
          </p:nvSpPr>
          <p:spPr bwMode="auto">
            <a:xfrm>
              <a:off x="7125857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8" name="Freeform 1110"/>
            <p:cNvSpPr>
              <a:spLocks/>
            </p:cNvSpPr>
            <p:nvPr/>
          </p:nvSpPr>
          <p:spPr bwMode="auto">
            <a:xfrm>
              <a:off x="7159727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59" name="Freeform 1111"/>
            <p:cNvSpPr>
              <a:spLocks/>
            </p:cNvSpPr>
            <p:nvPr/>
          </p:nvSpPr>
          <p:spPr bwMode="auto">
            <a:xfrm>
              <a:off x="7175666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0" name="Rectangle 1112"/>
            <p:cNvSpPr>
              <a:spLocks noChangeArrowheads="1"/>
            </p:cNvSpPr>
            <p:nvPr/>
          </p:nvSpPr>
          <p:spPr bwMode="auto">
            <a:xfrm>
              <a:off x="7179650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1" name="Freeform 1113"/>
            <p:cNvSpPr>
              <a:spLocks/>
            </p:cNvSpPr>
            <p:nvPr/>
          </p:nvSpPr>
          <p:spPr bwMode="auto">
            <a:xfrm>
              <a:off x="7213520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2" name="Freeform 1114"/>
            <p:cNvSpPr>
              <a:spLocks/>
            </p:cNvSpPr>
            <p:nvPr/>
          </p:nvSpPr>
          <p:spPr bwMode="auto">
            <a:xfrm>
              <a:off x="7231451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3" name="Rectangle 1115"/>
            <p:cNvSpPr>
              <a:spLocks noChangeArrowheads="1"/>
            </p:cNvSpPr>
            <p:nvPr/>
          </p:nvSpPr>
          <p:spPr bwMode="auto">
            <a:xfrm>
              <a:off x="7235436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4" name="Freeform 1116"/>
            <p:cNvSpPr>
              <a:spLocks/>
            </p:cNvSpPr>
            <p:nvPr/>
          </p:nvSpPr>
          <p:spPr bwMode="auto">
            <a:xfrm>
              <a:off x="7269306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5" name="Freeform 1117"/>
            <p:cNvSpPr>
              <a:spLocks/>
            </p:cNvSpPr>
            <p:nvPr/>
          </p:nvSpPr>
          <p:spPr bwMode="auto">
            <a:xfrm>
              <a:off x="7285245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6" name="Rectangle 1118"/>
            <p:cNvSpPr>
              <a:spLocks noChangeArrowheads="1"/>
            </p:cNvSpPr>
            <p:nvPr/>
          </p:nvSpPr>
          <p:spPr bwMode="auto">
            <a:xfrm>
              <a:off x="7289229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7" name="Freeform 1119"/>
            <p:cNvSpPr>
              <a:spLocks/>
            </p:cNvSpPr>
            <p:nvPr/>
          </p:nvSpPr>
          <p:spPr bwMode="auto">
            <a:xfrm>
              <a:off x="7323099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8" name="Freeform 1120"/>
            <p:cNvSpPr>
              <a:spLocks/>
            </p:cNvSpPr>
            <p:nvPr/>
          </p:nvSpPr>
          <p:spPr bwMode="auto">
            <a:xfrm>
              <a:off x="7341030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69" name="Rectangle 1121"/>
            <p:cNvSpPr>
              <a:spLocks noChangeArrowheads="1"/>
            </p:cNvSpPr>
            <p:nvPr/>
          </p:nvSpPr>
          <p:spPr bwMode="auto">
            <a:xfrm>
              <a:off x="7343022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0" name="Freeform 1122"/>
            <p:cNvSpPr>
              <a:spLocks/>
            </p:cNvSpPr>
            <p:nvPr/>
          </p:nvSpPr>
          <p:spPr bwMode="auto">
            <a:xfrm>
              <a:off x="7378885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1" name="Freeform 1123"/>
            <p:cNvSpPr>
              <a:spLocks/>
            </p:cNvSpPr>
            <p:nvPr/>
          </p:nvSpPr>
          <p:spPr bwMode="auto">
            <a:xfrm>
              <a:off x="7394823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2" name="Rectangle 1124"/>
            <p:cNvSpPr>
              <a:spLocks noChangeArrowheads="1"/>
            </p:cNvSpPr>
            <p:nvPr/>
          </p:nvSpPr>
          <p:spPr bwMode="auto">
            <a:xfrm>
              <a:off x="7398808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3" name="Freeform 1125"/>
            <p:cNvSpPr>
              <a:spLocks/>
            </p:cNvSpPr>
            <p:nvPr/>
          </p:nvSpPr>
          <p:spPr bwMode="auto">
            <a:xfrm>
              <a:off x="7432678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4" name="Freeform 1126"/>
            <p:cNvSpPr>
              <a:spLocks/>
            </p:cNvSpPr>
            <p:nvPr/>
          </p:nvSpPr>
          <p:spPr bwMode="auto">
            <a:xfrm>
              <a:off x="7450609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5" name="Rectangle 1127"/>
            <p:cNvSpPr>
              <a:spLocks noChangeArrowheads="1"/>
            </p:cNvSpPr>
            <p:nvPr/>
          </p:nvSpPr>
          <p:spPr bwMode="auto">
            <a:xfrm>
              <a:off x="7452601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6" name="Freeform 1128"/>
            <p:cNvSpPr>
              <a:spLocks/>
            </p:cNvSpPr>
            <p:nvPr/>
          </p:nvSpPr>
          <p:spPr bwMode="auto">
            <a:xfrm>
              <a:off x="7488463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7" name="Freeform 1129"/>
            <p:cNvSpPr>
              <a:spLocks/>
            </p:cNvSpPr>
            <p:nvPr/>
          </p:nvSpPr>
          <p:spPr bwMode="auto">
            <a:xfrm>
              <a:off x="7504402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8" name="Rectangle 1130"/>
            <p:cNvSpPr>
              <a:spLocks noChangeArrowheads="1"/>
            </p:cNvSpPr>
            <p:nvPr/>
          </p:nvSpPr>
          <p:spPr bwMode="auto">
            <a:xfrm>
              <a:off x="7508387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79" name="Freeform 1131"/>
            <p:cNvSpPr>
              <a:spLocks/>
            </p:cNvSpPr>
            <p:nvPr/>
          </p:nvSpPr>
          <p:spPr bwMode="auto">
            <a:xfrm>
              <a:off x="7542257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0" name="Freeform 1132"/>
            <p:cNvSpPr>
              <a:spLocks/>
            </p:cNvSpPr>
            <p:nvPr/>
          </p:nvSpPr>
          <p:spPr bwMode="auto">
            <a:xfrm>
              <a:off x="7560188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1" name="Rectangle 1133"/>
            <p:cNvSpPr>
              <a:spLocks noChangeArrowheads="1"/>
            </p:cNvSpPr>
            <p:nvPr/>
          </p:nvSpPr>
          <p:spPr bwMode="auto">
            <a:xfrm>
              <a:off x="7562180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2" name="Freeform 1134"/>
            <p:cNvSpPr>
              <a:spLocks/>
            </p:cNvSpPr>
            <p:nvPr/>
          </p:nvSpPr>
          <p:spPr bwMode="auto">
            <a:xfrm>
              <a:off x="7596050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3" name="Freeform 1135"/>
            <p:cNvSpPr>
              <a:spLocks/>
            </p:cNvSpPr>
            <p:nvPr/>
          </p:nvSpPr>
          <p:spPr bwMode="auto">
            <a:xfrm>
              <a:off x="7613981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4" name="Rectangle 1136"/>
            <p:cNvSpPr>
              <a:spLocks noChangeArrowheads="1"/>
            </p:cNvSpPr>
            <p:nvPr/>
          </p:nvSpPr>
          <p:spPr bwMode="auto">
            <a:xfrm>
              <a:off x="7617966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5" name="Freeform 1137"/>
            <p:cNvSpPr>
              <a:spLocks/>
            </p:cNvSpPr>
            <p:nvPr/>
          </p:nvSpPr>
          <p:spPr bwMode="auto">
            <a:xfrm>
              <a:off x="7651835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6" name="Freeform 1138"/>
            <p:cNvSpPr>
              <a:spLocks/>
            </p:cNvSpPr>
            <p:nvPr/>
          </p:nvSpPr>
          <p:spPr bwMode="auto">
            <a:xfrm>
              <a:off x="7669767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7" name="Rectangle 1139"/>
            <p:cNvSpPr>
              <a:spLocks noChangeArrowheads="1"/>
            </p:cNvSpPr>
            <p:nvPr/>
          </p:nvSpPr>
          <p:spPr bwMode="auto">
            <a:xfrm>
              <a:off x="7671759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8" name="Freeform 1140"/>
            <p:cNvSpPr>
              <a:spLocks/>
            </p:cNvSpPr>
            <p:nvPr/>
          </p:nvSpPr>
          <p:spPr bwMode="auto">
            <a:xfrm>
              <a:off x="7705629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89" name="Freeform 1141"/>
            <p:cNvSpPr>
              <a:spLocks/>
            </p:cNvSpPr>
            <p:nvPr/>
          </p:nvSpPr>
          <p:spPr bwMode="auto">
            <a:xfrm>
              <a:off x="7723560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0" name="Rectangle 1142"/>
            <p:cNvSpPr>
              <a:spLocks noChangeArrowheads="1"/>
            </p:cNvSpPr>
            <p:nvPr/>
          </p:nvSpPr>
          <p:spPr bwMode="auto">
            <a:xfrm>
              <a:off x="7727544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1" name="Freeform 1143"/>
            <p:cNvSpPr>
              <a:spLocks/>
            </p:cNvSpPr>
            <p:nvPr/>
          </p:nvSpPr>
          <p:spPr bwMode="auto">
            <a:xfrm>
              <a:off x="7761414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2" name="Freeform 1144"/>
            <p:cNvSpPr>
              <a:spLocks/>
            </p:cNvSpPr>
            <p:nvPr/>
          </p:nvSpPr>
          <p:spPr bwMode="auto">
            <a:xfrm>
              <a:off x="7779345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3" name="Rectangle 1145"/>
            <p:cNvSpPr>
              <a:spLocks noChangeArrowheads="1"/>
            </p:cNvSpPr>
            <p:nvPr/>
          </p:nvSpPr>
          <p:spPr bwMode="auto">
            <a:xfrm>
              <a:off x="7781338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4" name="Freeform 1146"/>
            <p:cNvSpPr>
              <a:spLocks/>
            </p:cNvSpPr>
            <p:nvPr/>
          </p:nvSpPr>
          <p:spPr bwMode="auto">
            <a:xfrm>
              <a:off x="7815208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5" name="Freeform 1147"/>
            <p:cNvSpPr>
              <a:spLocks/>
            </p:cNvSpPr>
            <p:nvPr/>
          </p:nvSpPr>
          <p:spPr bwMode="auto">
            <a:xfrm>
              <a:off x="7833139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6" name="Rectangle 1148"/>
            <p:cNvSpPr>
              <a:spLocks noChangeArrowheads="1"/>
            </p:cNvSpPr>
            <p:nvPr/>
          </p:nvSpPr>
          <p:spPr bwMode="auto">
            <a:xfrm>
              <a:off x="7837123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7" name="Freeform 1149"/>
            <p:cNvSpPr>
              <a:spLocks/>
            </p:cNvSpPr>
            <p:nvPr/>
          </p:nvSpPr>
          <p:spPr bwMode="auto">
            <a:xfrm>
              <a:off x="7870993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8" name="Freeform 1150"/>
            <p:cNvSpPr>
              <a:spLocks/>
            </p:cNvSpPr>
            <p:nvPr/>
          </p:nvSpPr>
          <p:spPr bwMode="auto">
            <a:xfrm>
              <a:off x="7886932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199" name="Rectangle 1151"/>
            <p:cNvSpPr>
              <a:spLocks noChangeArrowheads="1"/>
            </p:cNvSpPr>
            <p:nvPr/>
          </p:nvSpPr>
          <p:spPr bwMode="auto">
            <a:xfrm>
              <a:off x="7890917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0" name="Freeform 1152"/>
            <p:cNvSpPr>
              <a:spLocks/>
            </p:cNvSpPr>
            <p:nvPr/>
          </p:nvSpPr>
          <p:spPr bwMode="auto">
            <a:xfrm>
              <a:off x="7924786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1" name="Rectangle 1153"/>
            <p:cNvSpPr>
              <a:spLocks noChangeArrowheads="1"/>
            </p:cNvSpPr>
            <p:nvPr/>
          </p:nvSpPr>
          <p:spPr bwMode="auto">
            <a:xfrm>
              <a:off x="822087" y="1678638"/>
              <a:ext cx="424369" cy="1480310"/>
            </a:xfrm>
            <a:prstGeom prst="rect">
              <a:avLst/>
            </a:prstGeom>
            <a:solidFill>
              <a:srgbClr val="198CC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2" name="Rectangle 1154"/>
            <p:cNvSpPr>
              <a:spLocks noChangeArrowheads="1"/>
            </p:cNvSpPr>
            <p:nvPr/>
          </p:nvSpPr>
          <p:spPr bwMode="auto">
            <a:xfrm>
              <a:off x="1399866" y="2031282"/>
              <a:ext cx="422377" cy="1127666"/>
            </a:xfrm>
            <a:prstGeom prst="rect">
              <a:avLst/>
            </a:prstGeom>
            <a:solidFill>
              <a:srgbClr val="198CC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3" name="Rectangle 1155"/>
            <p:cNvSpPr>
              <a:spLocks noChangeArrowheads="1"/>
            </p:cNvSpPr>
            <p:nvPr/>
          </p:nvSpPr>
          <p:spPr bwMode="auto">
            <a:xfrm>
              <a:off x="3946079" y="1656722"/>
              <a:ext cx="422377" cy="1502226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4" name="Rectangle 1156"/>
            <p:cNvSpPr>
              <a:spLocks noChangeArrowheads="1"/>
            </p:cNvSpPr>
            <p:nvPr/>
          </p:nvSpPr>
          <p:spPr bwMode="auto">
            <a:xfrm>
              <a:off x="6691527" y="1469442"/>
              <a:ext cx="422377" cy="1689506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5" name="Rectangle 1157"/>
            <p:cNvSpPr>
              <a:spLocks noChangeArrowheads="1"/>
            </p:cNvSpPr>
            <p:nvPr/>
          </p:nvSpPr>
          <p:spPr bwMode="auto">
            <a:xfrm>
              <a:off x="8614137" y="2334118"/>
              <a:ext cx="422377" cy="824830"/>
            </a:xfrm>
            <a:prstGeom prst="rect">
              <a:avLst/>
            </a:prstGeom>
            <a:solidFill>
              <a:srgbClr val="7391C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6" name="Rectangle 1158"/>
            <p:cNvSpPr>
              <a:spLocks noChangeArrowheads="1"/>
            </p:cNvSpPr>
            <p:nvPr/>
          </p:nvSpPr>
          <p:spPr bwMode="auto">
            <a:xfrm>
              <a:off x="1977645" y="2593123"/>
              <a:ext cx="422377" cy="565825"/>
            </a:xfrm>
            <a:prstGeom prst="rect">
              <a:avLst/>
            </a:prstGeom>
            <a:solidFill>
              <a:srgbClr val="198CC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7" name="Rectangle 1159"/>
            <p:cNvSpPr>
              <a:spLocks noChangeArrowheads="1"/>
            </p:cNvSpPr>
            <p:nvPr/>
          </p:nvSpPr>
          <p:spPr bwMode="auto">
            <a:xfrm>
              <a:off x="4577652" y="1943619"/>
              <a:ext cx="422377" cy="1215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8" name="Rectangle 1160"/>
            <p:cNvSpPr>
              <a:spLocks noChangeArrowheads="1"/>
            </p:cNvSpPr>
            <p:nvPr/>
          </p:nvSpPr>
          <p:spPr bwMode="auto">
            <a:xfrm>
              <a:off x="7382869" y="2571207"/>
              <a:ext cx="422377" cy="587741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09" name="Rectangle 1161"/>
            <p:cNvSpPr>
              <a:spLocks noChangeArrowheads="1"/>
            </p:cNvSpPr>
            <p:nvPr/>
          </p:nvSpPr>
          <p:spPr bwMode="auto">
            <a:xfrm>
              <a:off x="2553432" y="1985459"/>
              <a:ext cx="422377" cy="1173490"/>
            </a:xfrm>
            <a:prstGeom prst="rect">
              <a:avLst/>
            </a:prstGeom>
            <a:solidFill>
              <a:srgbClr val="198CC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0" name="Rectangle 1162"/>
            <p:cNvSpPr>
              <a:spLocks noChangeArrowheads="1"/>
            </p:cNvSpPr>
            <p:nvPr/>
          </p:nvSpPr>
          <p:spPr bwMode="auto">
            <a:xfrm>
              <a:off x="5207232" y="2668832"/>
              <a:ext cx="422377" cy="490116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1" name="Rectangle 1163"/>
            <p:cNvSpPr>
              <a:spLocks noChangeArrowheads="1"/>
            </p:cNvSpPr>
            <p:nvPr/>
          </p:nvSpPr>
          <p:spPr bwMode="auto">
            <a:xfrm>
              <a:off x="3131211" y="2702702"/>
              <a:ext cx="422377" cy="456246"/>
            </a:xfrm>
            <a:prstGeom prst="rect">
              <a:avLst/>
            </a:prstGeom>
            <a:solidFill>
              <a:srgbClr val="198CC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2" name="Rectangle 1164"/>
            <p:cNvSpPr>
              <a:spLocks noChangeArrowheads="1"/>
            </p:cNvSpPr>
            <p:nvPr/>
          </p:nvSpPr>
          <p:spPr bwMode="auto">
            <a:xfrm>
              <a:off x="5838804" y="2401858"/>
              <a:ext cx="422377" cy="757090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3" name="Rectangle 1165"/>
            <p:cNvSpPr>
              <a:spLocks noChangeArrowheads="1"/>
            </p:cNvSpPr>
            <p:nvPr/>
          </p:nvSpPr>
          <p:spPr bwMode="auto">
            <a:xfrm>
              <a:off x="10383336" y="2854120"/>
              <a:ext cx="422377" cy="304828"/>
            </a:xfrm>
            <a:prstGeom prst="rect">
              <a:avLst/>
            </a:prstGeom>
            <a:solidFill>
              <a:srgbClr val="30394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4" name="Line 1166"/>
            <p:cNvSpPr>
              <a:spLocks noChangeShapeType="1"/>
            </p:cNvSpPr>
            <p:nvPr/>
          </p:nvSpPr>
          <p:spPr bwMode="auto">
            <a:xfrm>
              <a:off x="666684" y="3162933"/>
              <a:ext cx="2980544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5" name="Line 1167"/>
            <p:cNvSpPr>
              <a:spLocks noChangeShapeType="1"/>
            </p:cNvSpPr>
            <p:nvPr/>
          </p:nvSpPr>
          <p:spPr bwMode="auto">
            <a:xfrm>
              <a:off x="3764776" y="3162933"/>
              <a:ext cx="2603991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6" name="Line 1168"/>
            <p:cNvSpPr>
              <a:spLocks noChangeShapeType="1"/>
            </p:cNvSpPr>
            <p:nvPr/>
          </p:nvSpPr>
          <p:spPr bwMode="auto">
            <a:xfrm>
              <a:off x="6488308" y="3162933"/>
              <a:ext cx="1456402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7" name="Line 1169"/>
            <p:cNvSpPr>
              <a:spLocks noChangeShapeType="1"/>
            </p:cNvSpPr>
            <p:nvPr/>
          </p:nvSpPr>
          <p:spPr bwMode="auto">
            <a:xfrm>
              <a:off x="666684" y="2521399"/>
              <a:ext cx="6774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8" name="Line 1170"/>
            <p:cNvSpPr>
              <a:spLocks noChangeShapeType="1"/>
            </p:cNvSpPr>
            <p:nvPr/>
          </p:nvSpPr>
          <p:spPr bwMode="auto">
            <a:xfrm>
              <a:off x="3764776" y="2521399"/>
              <a:ext cx="69732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19" name="Line 1171"/>
            <p:cNvSpPr>
              <a:spLocks noChangeShapeType="1"/>
            </p:cNvSpPr>
            <p:nvPr/>
          </p:nvSpPr>
          <p:spPr bwMode="auto">
            <a:xfrm>
              <a:off x="6488308" y="2521399"/>
              <a:ext cx="69732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0" name="Line 1172"/>
            <p:cNvSpPr>
              <a:spLocks noChangeShapeType="1"/>
            </p:cNvSpPr>
            <p:nvPr/>
          </p:nvSpPr>
          <p:spPr bwMode="auto">
            <a:xfrm>
              <a:off x="666684" y="1879864"/>
              <a:ext cx="6774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1" name="Line 1173"/>
            <p:cNvSpPr>
              <a:spLocks noChangeShapeType="1"/>
            </p:cNvSpPr>
            <p:nvPr/>
          </p:nvSpPr>
          <p:spPr bwMode="auto">
            <a:xfrm>
              <a:off x="3764776" y="1879864"/>
              <a:ext cx="69732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2" name="Line 1174"/>
            <p:cNvSpPr>
              <a:spLocks noChangeShapeType="1"/>
            </p:cNvSpPr>
            <p:nvPr/>
          </p:nvSpPr>
          <p:spPr bwMode="auto">
            <a:xfrm>
              <a:off x="6488308" y="1879864"/>
              <a:ext cx="69732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3" name="Line 1175"/>
            <p:cNvSpPr>
              <a:spLocks noChangeShapeType="1"/>
            </p:cNvSpPr>
            <p:nvPr/>
          </p:nvSpPr>
          <p:spPr bwMode="auto">
            <a:xfrm>
              <a:off x="666684" y="1238330"/>
              <a:ext cx="6774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4" name="Line 1176"/>
            <p:cNvSpPr>
              <a:spLocks noChangeShapeType="1"/>
            </p:cNvSpPr>
            <p:nvPr/>
          </p:nvSpPr>
          <p:spPr bwMode="auto">
            <a:xfrm>
              <a:off x="3764776" y="1238330"/>
              <a:ext cx="69732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5" name="Line 1177"/>
            <p:cNvSpPr>
              <a:spLocks noChangeShapeType="1"/>
            </p:cNvSpPr>
            <p:nvPr/>
          </p:nvSpPr>
          <p:spPr bwMode="auto">
            <a:xfrm>
              <a:off x="6488308" y="1238330"/>
              <a:ext cx="69732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6" name="Line 1178"/>
            <p:cNvSpPr>
              <a:spLocks noChangeShapeType="1"/>
            </p:cNvSpPr>
            <p:nvPr/>
          </p:nvSpPr>
          <p:spPr bwMode="auto">
            <a:xfrm>
              <a:off x="700554" y="2650901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7" name="Line 1179"/>
            <p:cNvSpPr>
              <a:spLocks noChangeShapeType="1"/>
            </p:cNvSpPr>
            <p:nvPr/>
          </p:nvSpPr>
          <p:spPr bwMode="auto">
            <a:xfrm>
              <a:off x="700554" y="2007374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8" name="Line 1180"/>
            <p:cNvSpPr>
              <a:spLocks noChangeShapeType="1"/>
            </p:cNvSpPr>
            <p:nvPr/>
          </p:nvSpPr>
          <p:spPr bwMode="auto">
            <a:xfrm>
              <a:off x="700554" y="1365840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29" name="Line 1181"/>
            <p:cNvSpPr>
              <a:spLocks noChangeShapeType="1"/>
            </p:cNvSpPr>
            <p:nvPr/>
          </p:nvSpPr>
          <p:spPr bwMode="auto">
            <a:xfrm>
              <a:off x="700554" y="2778411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0" name="Line 1182"/>
            <p:cNvSpPr>
              <a:spLocks noChangeShapeType="1"/>
            </p:cNvSpPr>
            <p:nvPr/>
          </p:nvSpPr>
          <p:spPr bwMode="auto">
            <a:xfrm>
              <a:off x="700554" y="2136877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1" name="Line 1183"/>
            <p:cNvSpPr>
              <a:spLocks noChangeShapeType="1"/>
            </p:cNvSpPr>
            <p:nvPr/>
          </p:nvSpPr>
          <p:spPr bwMode="auto">
            <a:xfrm>
              <a:off x="700554" y="1493350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2" name="Line 1184"/>
            <p:cNvSpPr>
              <a:spLocks noChangeShapeType="1"/>
            </p:cNvSpPr>
            <p:nvPr/>
          </p:nvSpPr>
          <p:spPr bwMode="auto">
            <a:xfrm>
              <a:off x="700554" y="2905921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3" name="Line 1185"/>
            <p:cNvSpPr>
              <a:spLocks noChangeShapeType="1"/>
            </p:cNvSpPr>
            <p:nvPr/>
          </p:nvSpPr>
          <p:spPr bwMode="auto">
            <a:xfrm>
              <a:off x="700554" y="2264386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4" name="Line 1186"/>
            <p:cNvSpPr>
              <a:spLocks noChangeShapeType="1"/>
            </p:cNvSpPr>
            <p:nvPr/>
          </p:nvSpPr>
          <p:spPr bwMode="auto">
            <a:xfrm>
              <a:off x="700554" y="1622852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5" name="Line 1187"/>
            <p:cNvSpPr>
              <a:spLocks noChangeShapeType="1"/>
            </p:cNvSpPr>
            <p:nvPr/>
          </p:nvSpPr>
          <p:spPr bwMode="auto">
            <a:xfrm>
              <a:off x="700554" y="3035423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6" name="Line 1188"/>
            <p:cNvSpPr>
              <a:spLocks noChangeShapeType="1"/>
            </p:cNvSpPr>
            <p:nvPr/>
          </p:nvSpPr>
          <p:spPr bwMode="auto">
            <a:xfrm>
              <a:off x="700554" y="2393889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7" name="Line 1189"/>
            <p:cNvSpPr>
              <a:spLocks noChangeShapeType="1"/>
            </p:cNvSpPr>
            <p:nvPr/>
          </p:nvSpPr>
          <p:spPr bwMode="auto">
            <a:xfrm>
              <a:off x="700554" y="1750362"/>
              <a:ext cx="3387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8" name="Line 1190"/>
            <p:cNvSpPr>
              <a:spLocks noChangeShapeType="1"/>
            </p:cNvSpPr>
            <p:nvPr/>
          </p:nvSpPr>
          <p:spPr bwMode="auto">
            <a:xfrm>
              <a:off x="734424" y="1238330"/>
              <a:ext cx="1992" cy="316583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39" name="Line 1191"/>
            <p:cNvSpPr>
              <a:spLocks noChangeShapeType="1"/>
            </p:cNvSpPr>
            <p:nvPr/>
          </p:nvSpPr>
          <p:spPr bwMode="auto">
            <a:xfrm>
              <a:off x="3834508" y="1238330"/>
              <a:ext cx="1992" cy="316583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0" name="Line 1192"/>
            <p:cNvSpPr>
              <a:spLocks noChangeShapeType="1"/>
            </p:cNvSpPr>
            <p:nvPr/>
          </p:nvSpPr>
          <p:spPr bwMode="auto">
            <a:xfrm>
              <a:off x="6558040" y="1238330"/>
              <a:ext cx="1992" cy="316583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1" name="Line 1193"/>
            <p:cNvSpPr>
              <a:spLocks noChangeShapeType="1"/>
            </p:cNvSpPr>
            <p:nvPr/>
          </p:nvSpPr>
          <p:spPr bwMode="auto">
            <a:xfrm>
              <a:off x="1314195" y="3162933"/>
              <a:ext cx="1992" cy="976248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2" name="Line 1194"/>
            <p:cNvSpPr>
              <a:spLocks noChangeShapeType="1"/>
            </p:cNvSpPr>
            <p:nvPr/>
          </p:nvSpPr>
          <p:spPr bwMode="auto">
            <a:xfrm>
              <a:off x="4474050" y="3162933"/>
              <a:ext cx="1992" cy="976248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3" name="Line 1195"/>
            <p:cNvSpPr>
              <a:spLocks noChangeShapeType="1"/>
            </p:cNvSpPr>
            <p:nvPr/>
          </p:nvSpPr>
          <p:spPr bwMode="auto">
            <a:xfrm>
              <a:off x="7245398" y="3162933"/>
              <a:ext cx="1992" cy="976248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4" name="Line 1196"/>
            <p:cNvSpPr>
              <a:spLocks noChangeShapeType="1"/>
            </p:cNvSpPr>
            <p:nvPr/>
          </p:nvSpPr>
          <p:spPr bwMode="auto">
            <a:xfrm>
              <a:off x="1895959" y="3162933"/>
              <a:ext cx="1992" cy="976248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5" name="Line 1197"/>
            <p:cNvSpPr>
              <a:spLocks noChangeShapeType="1"/>
            </p:cNvSpPr>
            <p:nvPr/>
          </p:nvSpPr>
          <p:spPr bwMode="auto">
            <a:xfrm>
              <a:off x="2475731" y="3162933"/>
              <a:ext cx="1992" cy="976248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6" name="Line 1198"/>
            <p:cNvSpPr>
              <a:spLocks noChangeShapeType="1"/>
            </p:cNvSpPr>
            <p:nvPr/>
          </p:nvSpPr>
          <p:spPr bwMode="auto">
            <a:xfrm>
              <a:off x="5737195" y="3162933"/>
              <a:ext cx="1992" cy="976248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7" name="Line 1199"/>
            <p:cNvSpPr>
              <a:spLocks noChangeShapeType="1"/>
            </p:cNvSpPr>
            <p:nvPr/>
          </p:nvSpPr>
          <p:spPr bwMode="auto">
            <a:xfrm>
              <a:off x="5105622" y="3162933"/>
              <a:ext cx="1992" cy="976248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8" name="Line 1200"/>
            <p:cNvSpPr>
              <a:spLocks noChangeShapeType="1"/>
            </p:cNvSpPr>
            <p:nvPr/>
          </p:nvSpPr>
          <p:spPr bwMode="auto">
            <a:xfrm>
              <a:off x="3057495" y="3162933"/>
              <a:ext cx="1992" cy="976248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49" name="Freeform 1201"/>
            <p:cNvSpPr>
              <a:spLocks noEditPoints="1"/>
            </p:cNvSpPr>
            <p:nvPr/>
          </p:nvSpPr>
          <p:spPr bwMode="auto">
            <a:xfrm>
              <a:off x="322009" y="1178560"/>
              <a:ext cx="257012" cy="117548"/>
            </a:xfrm>
            <a:custGeom>
              <a:avLst/>
              <a:gdLst/>
              <a:ahLst/>
              <a:cxnLst>
                <a:cxn ang="0">
                  <a:pos x="144" y="232"/>
                </a:cxn>
                <a:cxn ang="0">
                  <a:pos x="52" y="254"/>
                </a:cxn>
                <a:cxn ang="0">
                  <a:pos x="7" y="201"/>
                </a:cxn>
                <a:cxn ang="0">
                  <a:pos x="2" y="106"/>
                </a:cxn>
                <a:cxn ang="0">
                  <a:pos x="40" y="22"/>
                </a:cxn>
                <a:cxn ang="0">
                  <a:pos x="119" y="1"/>
                </a:cxn>
                <a:cxn ang="0">
                  <a:pos x="148" y="9"/>
                </a:cxn>
                <a:cxn ang="0">
                  <a:pos x="152" y="18"/>
                </a:cxn>
                <a:cxn ang="0">
                  <a:pos x="151" y="32"/>
                </a:cxn>
                <a:cxn ang="0">
                  <a:pos x="141" y="34"/>
                </a:cxn>
                <a:cxn ang="0">
                  <a:pos x="102" y="27"/>
                </a:cxn>
                <a:cxn ang="0">
                  <a:pos x="38" y="82"/>
                </a:cxn>
                <a:cxn ang="0">
                  <a:pos x="58" y="106"/>
                </a:cxn>
                <a:cxn ang="0">
                  <a:pos x="126" y="106"/>
                </a:cxn>
                <a:cxn ang="0">
                  <a:pos x="165" y="173"/>
                </a:cxn>
                <a:cxn ang="0">
                  <a:pos x="121" y="140"/>
                </a:cxn>
                <a:cxn ang="0">
                  <a:pos x="72" y="128"/>
                </a:cxn>
                <a:cxn ang="0">
                  <a:pos x="34" y="143"/>
                </a:cxn>
                <a:cxn ang="0">
                  <a:pos x="62" y="226"/>
                </a:cxn>
                <a:cxn ang="0">
                  <a:pos x="119" y="213"/>
                </a:cxn>
                <a:cxn ang="0">
                  <a:pos x="367" y="128"/>
                </a:cxn>
                <a:cxn ang="0">
                  <a:pos x="320" y="248"/>
                </a:cxn>
                <a:cxn ang="0">
                  <a:pos x="212" y="224"/>
                </a:cxn>
                <a:cxn ang="0">
                  <a:pos x="199" y="77"/>
                </a:cxn>
                <a:cxn ang="0">
                  <a:pos x="283" y="0"/>
                </a:cxn>
                <a:cxn ang="0">
                  <a:pos x="363" y="73"/>
                </a:cxn>
                <a:cxn ang="0">
                  <a:pos x="332" y="97"/>
                </a:cxn>
                <a:cxn ang="0">
                  <a:pos x="311" y="37"/>
                </a:cxn>
                <a:cxn ang="0">
                  <a:pos x="254" y="35"/>
                </a:cxn>
                <a:cxn ang="0">
                  <a:pos x="228" y="127"/>
                </a:cxn>
                <a:cxn ang="0">
                  <a:pos x="256" y="225"/>
                </a:cxn>
                <a:cxn ang="0">
                  <a:pos x="313" y="217"/>
                </a:cxn>
                <a:cxn ang="0">
                  <a:pos x="332" y="157"/>
                </a:cxn>
                <a:cxn ang="0">
                  <a:pos x="563" y="181"/>
                </a:cxn>
                <a:cxn ang="0">
                  <a:pos x="479" y="257"/>
                </a:cxn>
                <a:cxn ang="0">
                  <a:pos x="399" y="184"/>
                </a:cxn>
                <a:cxn ang="0">
                  <a:pos x="414" y="36"/>
                </a:cxn>
                <a:cxn ang="0">
                  <a:pos x="524" y="8"/>
                </a:cxn>
                <a:cxn ang="0">
                  <a:pos x="568" y="128"/>
                </a:cxn>
                <a:cxn ang="0">
                  <a:pos x="528" y="71"/>
                </a:cxn>
                <a:cxn ang="0">
                  <a:pos x="498" y="30"/>
                </a:cxn>
                <a:cxn ang="0">
                  <a:pos x="439" y="56"/>
                </a:cxn>
                <a:cxn ang="0">
                  <a:pos x="432" y="175"/>
                </a:cxn>
                <a:cxn ang="0">
                  <a:pos x="481" y="230"/>
                </a:cxn>
                <a:cxn ang="0">
                  <a:pos x="523" y="201"/>
                </a:cxn>
                <a:cxn ang="0">
                  <a:pos x="534" y="130"/>
                </a:cxn>
              </a:cxnLst>
              <a:rect l="0" t="0" r="r" b="b"/>
              <a:pathLst>
                <a:path w="568" h="257">
                  <a:moveTo>
                    <a:pt x="165" y="173"/>
                  </a:moveTo>
                  <a:cubicBezTo>
                    <a:pt x="165" y="184"/>
                    <a:pt x="163" y="194"/>
                    <a:pt x="160" y="205"/>
                  </a:cubicBezTo>
                  <a:cubicBezTo>
                    <a:pt x="156" y="215"/>
                    <a:pt x="151" y="224"/>
                    <a:pt x="144" y="232"/>
                  </a:cubicBezTo>
                  <a:cubicBezTo>
                    <a:pt x="137" y="239"/>
                    <a:pt x="128" y="246"/>
                    <a:pt x="118" y="250"/>
                  </a:cubicBezTo>
                  <a:cubicBezTo>
                    <a:pt x="107" y="255"/>
                    <a:pt x="94" y="257"/>
                    <a:pt x="80" y="257"/>
                  </a:cubicBezTo>
                  <a:cubicBezTo>
                    <a:pt x="69" y="257"/>
                    <a:pt x="60" y="256"/>
                    <a:pt x="52" y="254"/>
                  </a:cubicBezTo>
                  <a:cubicBezTo>
                    <a:pt x="44" y="251"/>
                    <a:pt x="37" y="247"/>
                    <a:pt x="31" y="243"/>
                  </a:cubicBezTo>
                  <a:cubicBezTo>
                    <a:pt x="25" y="238"/>
                    <a:pt x="20" y="232"/>
                    <a:pt x="17" y="225"/>
                  </a:cubicBezTo>
                  <a:cubicBezTo>
                    <a:pt x="13" y="218"/>
                    <a:pt x="9" y="210"/>
                    <a:pt x="7" y="201"/>
                  </a:cubicBezTo>
                  <a:cubicBezTo>
                    <a:pt x="5" y="192"/>
                    <a:pt x="3" y="183"/>
                    <a:pt x="2" y="172"/>
                  </a:cubicBezTo>
                  <a:cubicBezTo>
                    <a:pt x="1" y="161"/>
                    <a:pt x="0" y="150"/>
                    <a:pt x="0" y="138"/>
                  </a:cubicBezTo>
                  <a:cubicBezTo>
                    <a:pt x="0" y="127"/>
                    <a:pt x="1" y="116"/>
                    <a:pt x="2" y="106"/>
                  </a:cubicBezTo>
                  <a:cubicBezTo>
                    <a:pt x="3" y="95"/>
                    <a:pt x="5" y="84"/>
                    <a:pt x="8" y="74"/>
                  </a:cubicBezTo>
                  <a:cubicBezTo>
                    <a:pt x="11" y="64"/>
                    <a:pt x="15" y="54"/>
                    <a:pt x="20" y="45"/>
                  </a:cubicBezTo>
                  <a:cubicBezTo>
                    <a:pt x="25" y="36"/>
                    <a:pt x="32" y="28"/>
                    <a:pt x="40" y="22"/>
                  </a:cubicBezTo>
                  <a:cubicBezTo>
                    <a:pt x="47" y="15"/>
                    <a:pt x="56" y="10"/>
                    <a:pt x="67" y="6"/>
                  </a:cubicBezTo>
                  <a:cubicBezTo>
                    <a:pt x="78" y="2"/>
                    <a:pt x="90" y="0"/>
                    <a:pt x="104" y="0"/>
                  </a:cubicBezTo>
                  <a:cubicBezTo>
                    <a:pt x="109" y="0"/>
                    <a:pt x="114" y="1"/>
                    <a:pt x="119" y="1"/>
                  </a:cubicBezTo>
                  <a:cubicBezTo>
                    <a:pt x="124" y="2"/>
                    <a:pt x="128" y="2"/>
                    <a:pt x="132" y="3"/>
                  </a:cubicBezTo>
                  <a:cubicBezTo>
                    <a:pt x="136" y="4"/>
                    <a:pt x="140" y="5"/>
                    <a:pt x="143" y="7"/>
                  </a:cubicBezTo>
                  <a:cubicBezTo>
                    <a:pt x="146" y="8"/>
                    <a:pt x="147" y="9"/>
                    <a:pt x="148" y="9"/>
                  </a:cubicBezTo>
                  <a:cubicBezTo>
                    <a:pt x="149" y="10"/>
                    <a:pt x="150" y="11"/>
                    <a:pt x="150" y="12"/>
                  </a:cubicBezTo>
                  <a:cubicBezTo>
                    <a:pt x="151" y="13"/>
                    <a:pt x="151" y="13"/>
                    <a:pt x="152" y="14"/>
                  </a:cubicBezTo>
                  <a:cubicBezTo>
                    <a:pt x="152" y="15"/>
                    <a:pt x="152" y="16"/>
                    <a:pt x="152" y="18"/>
                  </a:cubicBezTo>
                  <a:cubicBezTo>
                    <a:pt x="152" y="19"/>
                    <a:pt x="152" y="20"/>
                    <a:pt x="152" y="22"/>
                  </a:cubicBezTo>
                  <a:cubicBezTo>
                    <a:pt x="152" y="25"/>
                    <a:pt x="152" y="27"/>
                    <a:pt x="152" y="28"/>
                  </a:cubicBezTo>
                  <a:cubicBezTo>
                    <a:pt x="152" y="30"/>
                    <a:pt x="152" y="31"/>
                    <a:pt x="151" y="32"/>
                  </a:cubicBezTo>
                  <a:cubicBezTo>
                    <a:pt x="151" y="33"/>
                    <a:pt x="150" y="34"/>
                    <a:pt x="150" y="35"/>
                  </a:cubicBezTo>
                  <a:cubicBezTo>
                    <a:pt x="149" y="35"/>
                    <a:pt x="148" y="35"/>
                    <a:pt x="147" y="35"/>
                  </a:cubicBezTo>
                  <a:cubicBezTo>
                    <a:pt x="145" y="35"/>
                    <a:pt x="143" y="35"/>
                    <a:pt x="141" y="34"/>
                  </a:cubicBezTo>
                  <a:cubicBezTo>
                    <a:pt x="139" y="33"/>
                    <a:pt x="136" y="32"/>
                    <a:pt x="132" y="31"/>
                  </a:cubicBezTo>
                  <a:cubicBezTo>
                    <a:pt x="129" y="30"/>
                    <a:pt x="124" y="29"/>
                    <a:pt x="120" y="28"/>
                  </a:cubicBezTo>
                  <a:cubicBezTo>
                    <a:pt x="115" y="27"/>
                    <a:pt x="109" y="27"/>
                    <a:pt x="102" y="27"/>
                  </a:cubicBezTo>
                  <a:cubicBezTo>
                    <a:pt x="90" y="27"/>
                    <a:pt x="80" y="29"/>
                    <a:pt x="71" y="34"/>
                  </a:cubicBezTo>
                  <a:cubicBezTo>
                    <a:pt x="63" y="39"/>
                    <a:pt x="56" y="46"/>
                    <a:pt x="50" y="54"/>
                  </a:cubicBezTo>
                  <a:cubicBezTo>
                    <a:pt x="45" y="62"/>
                    <a:pt x="41" y="72"/>
                    <a:pt x="38" y="82"/>
                  </a:cubicBezTo>
                  <a:cubicBezTo>
                    <a:pt x="35" y="93"/>
                    <a:pt x="34" y="105"/>
                    <a:pt x="33" y="117"/>
                  </a:cubicBezTo>
                  <a:cubicBezTo>
                    <a:pt x="37" y="115"/>
                    <a:pt x="41" y="113"/>
                    <a:pt x="45" y="111"/>
                  </a:cubicBezTo>
                  <a:cubicBezTo>
                    <a:pt x="49" y="109"/>
                    <a:pt x="53" y="107"/>
                    <a:pt x="58" y="106"/>
                  </a:cubicBezTo>
                  <a:cubicBezTo>
                    <a:pt x="63" y="104"/>
                    <a:pt x="69" y="103"/>
                    <a:pt x="74" y="102"/>
                  </a:cubicBezTo>
                  <a:cubicBezTo>
                    <a:pt x="80" y="101"/>
                    <a:pt x="86" y="100"/>
                    <a:pt x="92" y="100"/>
                  </a:cubicBezTo>
                  <a:cubicBezTo>
                    <a:pt x="105" y="100"/>
                    <a:pt x="117" y="102"/>
                    <a:pt x="126" y="106"/>
                  </a:cubicBezTo>
                  <a:cubicBezTo>
                    <a:pt x="135" y="109"/>
                    <a:pt x="143" y="115"/>
                    <a:pt x="149" y="121"/>
                  </a:cubicBezTo>
                  <a:cubicBezTo>
                    <a:pt x="154" y="128"/>
                    <a:pt x="159" y="135"/>
                    <a:pt x="161" y="144"/>
                  </a:cubicBezTo>
                  <a:cubicBezTo>
                    <a:pt x="163" y="153"/>
                    <a:pt x="165" y="162"/>
                    <a:pt x="165" y="173"/>
                  </a:cubicBezTo>
                  <a:close/>
                  <a:moveTo>
                    <a:pt x="131" y="176"/>
                  </a:moveTo>
                  <a:cubicBezTo>
                    <a:pt x="131" y="168"/>
                    <a:pt x="130" y="162"/>
                    <a:pt x="129" y="155"/>
                  </a:cubicBezTo>
                  <a:cubicBezTo>
                    <a:pt x="127" y="149"/>
                    <a:pt x="125" y="144"/>
                    <a:pt x="121" y="140"/>
                  </a:cubicBezTo>
                  <a:cubicBezTo>
                    <a:pt x="118" y="136"/>
                    <a:pt x="113" y="132"/>
                    <a:pt x="107" y="130"/>
                  </a:cubicBezTo>
                  <a:cubicBezTo>
                    <a:pt x="102" y="128"/>
                    <a:pt x="94" y="127"/>
                    <a:pt x="86" y="127"/>
                  </a:cubicBezTo>
                  <a:cubicBezTo>
                    <a:pt x="81" y="127"/>
                    <a:pt x="76" y="127"/>
                    <a:pt x="72" y="128"/>
                  </a:cubicBezTo>
                  <a:cubicBezTo>
                    <a:pt x="67" y="129"/>
                    <a:pt x="62" y="130"/>
                    <a:pt x="58" y="131"/>
                  </a:cubicBezTo>
                  <a:cubicBezTo>
                    <a:pt x="53" y="133"/>
                    <a:pt x="49" y="135"/>
                    <a:pt x="45" y="137"/>
                  </a:cubicBezTo>
                  <a:cubicBezTo>
                    <a:pt x="41" y="139"/>
                    <a:pt x="37" y="141"/>
                    <a:pt x="34" y="143"/>
                  </a:cubicBezTo>
                  <a:cubicBezTo>
                    <a:pt x="34" y="160"/>
                    <a:pt x="35" y="174"/>
                    <a:pt x="37" y="185"/>
                  </a:cubicBezTo>
                  <a:cubicBezTo>
                    <a:pt x="39" y="196"/>
                    <a:pt x="42" y="205"/>
                    <a:pt x="46" y="212"/>
                  </a:cubicBezTo>
                  <a:cubicBezTo>
                    <a:pt x="51" y="218"/>
                    <a:pt x="56" y="223"/>
                    <a:pt x="62" y="226"/>
                  </a:cubicBezTo>
                  <a:cubicBezTo>
                    <a:pt x="68" y="229"/>
                    <a:pt x="75" y="231"/>
                    <a:pt x="83" y="231"/>
                  </a:cubicBezTo>
                  <a:cubicBezTo>
                    <a:pt x="91" y="231"/>
                    <a:pt x="98" y="229"/>
                    <a:pt x="104" y="226"/>
                  </a:cubicBezTo>
                  <a:cubicBezTo>
                    <a:pt x="110" y="223"/>
                    <a:pt x="115" y="219"/>
                    <a:pt x="119" y="213"/>
                  </a:cubicBezTo>
                  <a:cubicBezTo>
                    <a:pt x="123" y="208"/>
                    <a:pt x="126" y="202"/>
                    <a:pt x="128" y="196"/>
                  </a:cubicBezTo>
                  <a:cubicBezTo>
                    <a:pt x="130" y="189"/>
                    <a:pt x="131" y="183"/>
                    <a:pt x="131" y="176"/>
                  </a:cubicBezTo>
                  <a:close/>
                  <a:moveTo>
                    <a:pt x="367" y="128"/>
                  </a:moveTo>
                  <a:cubicBezTo>
                    <a:pt x="367" y="147"/>
                    <a:pt x="366" y="165"/>
                    <a:pt x="363" y="181"/>
                  </a:cubicBezTo>
                  <a:cubicBezTo>
                    <a:pt x="360" y="197"/>
                    <a:pt x="355" y="210"/>
                    <a:pt x="348" y="222"/>
                  </a:cubicBezTo>
                  <a:cubicBezTo>
                    <a:pt x="340" y="233"/>
                    <a:pt x="331" y="242"/>
                    <a:pt x="320" y="248"/>
                  </a:cubicBezTo>
                  <a:cubicBezTo>
                    <a:pt x="309" y="254"/>
                    <a:pt x="295" y="257"/>
                    <a:pt x="278" y="257"/>
                  </a:cubicBezTo>
                  <a:cubicBezTo>
                    <a:pt x="262" y="257"/>
                    <a:pt x="249" y="255"/>
                    <a:pt x="238" y="249"/>
                  </a:cubicBezTo>
                  <a:cubicBezTo>
                    <a:pt x="228" y="243"/>
                    <a:pt x="219" y="235"/>
                    <a:pt x="212" y="224"/>
                  </a:cubicBezTo>
                  <a:cubicBezTo>
                    <a:pt x="206" y="213"/>
                    <a:pt x="201" y="200"/>
                    <a:pt x="198" y="184"/>
                  </a:cubicBezTo>
                  <a:cubicBezTo>
                    <a:pt x="196" y="168"/>
                    <a:pt x="194" y="150"/>
                    <a:pt x="194" y="129"/>
                  </a:cubicBezTo>
                  <a:cubicBezTo>
                    <a:pt x="194" y="110"/>
                    <a:pt x="196" y="93"/>
                    <a:pt x="199" y="77"/>
                  </a:cubicBezTo>
                  <a:cubicBezTo>
                    <a:pt x="202" y="61"/>
                    <a:pt x="207" y="47"/>
                    <a:pt x="214" y="36"/>
                  </a:cubicBezTo>
                  <a:cubicBezTo>
                    <a:pt x="221" y="24"/>
                    <a:pt x="230" y="16"/>
                    <a:pt x="241" y="9"/>
                  </a:cubicBezTo>
                  <a:cubicBezTo>
                    <a:pt x="253" y="3"/>
                    <a:pt x="267" y="0"/>
                    <a:pt x="283" y="0"/>
                  </a:cubicBezTo>
                  <a:cubicBezTo>
                    <a:pt x="299" y="0"/>
                    <a:pt x="312" y="3"/>
                    <a:pt x="323" y="8"/>
                  </a:cubicBezTo>
                  <a:cubicBezTo>
                    <a:pt x="334" y="14"/>
                    <a:pt x="342" y="22"/>
                    <a:pt x="349" y="33"/>
                  </a:cubicBezTo>
                  <a:cubicBezTo>
                    <a:pt x="356" y="44"/>
                    <a:pt x="360" y="57"/>
                    <a:pt x="363" y="73"/>
                  </a:cubicBezTo>
                  <a:cubicBezTo>
                    <a:pt x="366" y="89"/>
                    <a:pt x="367" y="108"/>
                    <a:pt x="367" y="128"/>
                  </a:cubicBezTo>
                  <a:close/>
                  <a:moveTo>
                    <a:pt x="333" y="130"/>
                  </a:moveTo>
                  <a:cubicBezTo>
                    <a:pt x="333" y="118"/>
                    <a:pt x="333" y="107"/>
                    <a:pt x="332" y="97"/>
                  </a:cubicBezTo>
                  <a:cubicBezTo>
                    <a:pt x="331" y="87"/>
                    <a:pt x="330" y="78"/>
                    <a:pt x="328" y="71"/>
                  </a:cubicBezTo>
                  <a:cubicBezTo>
                    <a:pt x="326" y="63"/>
                    <a:pt x="324" y="56"/>
                    <a:pt x="321" y="51"/>
                  </a:cubicBezTo>
                  <a:cubicBezTo>
                    <a:pt x="318" y="45"/>
                    <a:pt x="315" y="41"/>
                    <a:pt x="311" y="37"/>
                  </a:cubicBezTo>
                  <a:cubicBezTo>
                    <a:pt x="307" y="34"/>
                    <a:pt x="303" y="31"/>
                    <a:pt x="298" y="30"/>
                  </a:cubicBezTo>
                  <a:cubicBezTo>
                    <a:pt x="293" y="28"/>
                    <a:pt x="287" y="27"/>
                    <a:pt x="281" y="27"/>
                  </a:cubicBezTo>
                  <a:cubicBezTo>
                    <a:pt x="270" y="27"/>
                    <a:pt x="261" y="30"/>
                    <a:pt x="254" y="35"/>
                  </a:cubicBezTo>
                  <a:cubicBezTo>
                    <a:pt x="248" y="40"/>
                    <a:pt x="242" y="47"/>
                    <a:pt x="238" y="56"/>
                  </a:cubicBezTo>
                  <a:cubicBezTo>
                    <a:pt x="234" y="65"/>
                    <a:pt x="232" y="76"/>
                    <a:pt x="230" y="88"/>
                  </a:cubicBezTo>
                  <a:cubicBezTo>
                    <a:pt x="229" y="100"/>
                    <a:pt x="228" y="113"/>
                    <a:pt x="228" y="127"/>
                  </a:cubicBezTo>
                  <a:cubicBezTo>
                    <a:pt x="228" y="146"/>
                    <a:pt x="229" y="162"/>
                    <a:pt x="231" y="175"/>
                  </a:cubicBezTo>
                  <a:cubicBezTo>
                    <a:pt x="233" y="188"/>
                    <a:pt x="236" y="198"/>
                    <a:pt x="240" y="207"/>
                  </a:cubicBezTo>
                  <a:cubicBezTo>
                    <a:pt x="244" y="215"/>
                    <a:pt x="250" y="221"/>
                    <a:pt x="256" y="225"/>
                  </a:cubicBezTo>
                  <a:cubicBezTo>
                    <a:pt x="263" y="228"/>
                    <a:pt x="271" y="230"/>
                    <a:pt x="280" y="230"/>
                  </a:cubicBezTo>
                  <a:cubicBezTo>
                    <a:pt x="287" y="230"/>
                    <a:pt x="294" y="229"/>
                    <a:pt x="299" y="227"/>
                  </a:cubicBezTo>
                  <a:cubicBezTo>
                    <a:pt x="304" y="224"/>
                    <a:pt x="309" y="221"/>
                    <a:pt x="313" y="217"/>
                  </a:cubicBezTo>
                  <a:cubicBezTo>
                    <a:pt x="317" y="212"/>
                    <a:pt x="320" y="207"/>
                    <a:pt x="323" y="201"/>
                  </a:cubicBezTo>
                  <a:cubicBezTo>
                    <a:pt x="325" y="195"/>
                    <a:pt x="327" y="188"/>
                    <a:pt x="329" y="181"/>
                  </a:cubicBezTo>
                  <a:cubicBezTo>
                    <a:pt x="331" y="174"/>
                    <a:pt x="332" y="166"/>
                    <a:pt x="332" y="157"/>
                  </a:cubicBezTo>
                  <a:cubicBezTo>
                    <a:pt x="333" y="149"/>
                    <a:pt x="333" y="140"/>
                    <a:pt x="333" y="130"/>
                  </a:cubicBezTo>
                  <a:close/>
                  <a:moveTo>
                    <a:pt x="568" y="128"/>
                  </a:moveTo>
                  <a:cubicBezTo>
                    <a:pt x="568" y="147"/>
                    <a:pt x="566" y="165"/>
                    <a:pt x="563" y="181"/>
                  </a:cubicBezTo>
                  <a:cubicBezTo>
                    <a:pt x="560" y="197"/>
                    <a:pt x="555" y="210"/>
                    <a:pt x="548" y="222"/>
                  </a:cubicBezTo>
                  <a:cubicBezTo>
                    <a:pt x="541" y="233"/>
                    <a:pt x="532" y="242"/>
                    <a:pt x="521" y="248"/>
                  </a:cubicBezTo>
                  <a:cubicBezTo>
                    <a:pt x="509" y="254"/>
                    <a:pt x="495" y="257"/>
                    <a:pt x="479" y="257"/>
                  </a:cubicBezTo>
                  <a:cubicBezTo>
                    <a:pt x="463" y="257"/>
                    <a:pt x="450" y="255"/>
                    <a:pt x="439" y="249"/>
                  </a:cubicBezTo>
                  <a:cubicBezTo>
                    <a:pt x="428" y="243"/>
                    <a:pt x="419" y="235"/>
                    <a:pt x="413" y="224"/>
                  </a:cubicBezTo>
                  <a:cubicBezTo>
                    <a:pt x="406" y="213"/>
                    <a:pt x="402" y="200"/>
                    <a:pt x="399" y="184"/>
                  </a:cubicBezTo>
                  <a:cubicBezTo>
                    <a:pt x="396" y="168"/>
                    <a:pt x="395" y="150"/>
                    <a:pt x="395" y="129"/>
                  </a:cubicBezTo>
                  <a:cubicBezTo>
                    <a:pt x="395" y="110"/>
                    <a:pt x="396" y="93"/>
                    <a:pt x="399" y="77"/>
                  </a:cubicBezTo>
                  <a:cubicBezTo>
                    <a:pt x="402" y="61"/>
                    <a:pt x="407" y="47"/>
                    <a:pt x="414" y="36"/>
                  </a:cubicBezTo>
                  <a:cubicBezTo>
                    <a:pt x="421" y="24"/>
                    <a:pt x="431" y="16"/>
                    <a:pt x="442" y="9"/>
                  </a:cubicBezTo>
                  <a:cubicBezTo>
                    <a:pt x="453" y="3"/>
                    <a:pt x="467" y="0"/>
                    <a:pt x="484" y="0"/>
                  </a:cubicBezTo>
                  <a:cubicBezTo>
                    <a:pt x="499" y="0"/>
                    <a:pt x="513" y="3"/>
                    <a:pt x="524" y="8"/>
                  </a:cubicBezTo>
                  <a:cubicBezTo>
                    <a:pt x="534" y="14"/>
                    <a:pt x="543" y="22"/>
                    <a:pt x="550" y="33"/>
                  </a:cubicBezTo>
                  <a:cubicBezTo>
                    <a:pt x="556" y="44"/>
                    <a:pt x="561" y="57"/>
                    <a:pt x="564" y="73"/>
                  </a:cubicBezTo>
                  <a:cubicBezTo>
                    <a:pt x="566" y="89"/>
                    <a:pt x="568" y="108"/>
                    <a:pt x="568" y="128"/>
                  </a:cubicBezTo>
                  <a:close/>
                  <a:moveTo>
                    <a:pt x="534" y="130"/>
                  </a:moveTo>
                  <a:cubicBezTo>
                    <a:pt x="534" y="118"/>
                    <a:pt x="533" y="107"/>
                    <a:pt x="532" y="97"/>
                  </a:cubicBezTo>
                  <a:cubicBezTo>
                    <a:pt x="531" y="87"/>
                    <a:pt x="530" y="78"/>
                    <a:pt x="528" y="71"/>
                  </a:cubicBezTo>
                  <a:cubicBezTo>
                    <a:pt x="527" y="63"/>
                    <a:pt x="524" y="56"/>
                    <a:pt x="522" y="51"/>
                  </a:cubicBezTo>
                  <a:cubicBezTo>
                    <a:pt x="519" y="45"/>
                    <a:pt x="516" y="41"/>
                    <a:pt x="512" y="37"/>
                  </a:cubicBezTo>
                  <a:cubicBezTo>
                    <a:pt x="508" y="34"/>
                    <a:pt x="503" y="31"/>
                    <a:pt x="498" y="30"/>
                  </a:cubicBezTo>
                  <a:cubicBezTo>
                    <a:pt x="493" y="28"/>
                    <a:pt x="488" y="27"/>
                    <a:pt x="482" y="27"/>
                  </a:cubicBezTo>
                  <a:cubicBezTo>
                    <a:pt x="471" y="27"/>
                    <a:pt x="462" y="30"/>
                    <a:pt x="455" y="35"/>
                  </a:cubicBezTo>
                  <a:cubicBezTo>
                    <a:pt x="448" y="40"/>
                    <a:pt x="443" y="47"/>
                    <a:pt x="439" y="56"/>
                  </a:cubicBezTo>
                  <a:cubicBezTo>
                    <a:pt x="435" y="65"/>
                    <a:pt x="432" y="76"/>
                    <a:pt x="431" y="88"/>
                  </a:cubicBezTo>
                  <a:cubicBezTo>
                    <a:pt x="429" y="100"/>
                    <a:pt x="429" y="113"/>
                    <a:pt x="429" y="127"/>
                  </a:cubicBezTo>
                  <a:cubicBezTo>
                    <a:pt x="429" y="146"/>
                    <a:pt x="430" y="162"/>
                    <a:pt x="432" y="175"/>
                  </a:cubicBezTo>
                  <a:cubicBezTo>
                    <a:pt x="434" y="188"/>
                    <a:pt x="437" y="198"/>
                    <a:pt x="441" y="207"/>
                  </a:cubicBezTo>
                  <a:cubicBezTo>
                    <a:pt x="445" y="215"/>
                    <a:pt x="450" y="221"/>
                    <a:pt x="457" y="225"/>
                  </a:cubicBezTo>
                  <a:cubicBezTo>
                    <a:pt x="463" y="228"/>
                    <a:pt x="471" y="230"/>
                    <a:pt x="481" y="230"/>
                  </a:cubicBezTo>
                  <a:cubicBezTo>
                    <a:pt x="488" y="230"/>
                    <a:pt x="494" y="229"/>
                    <a:pt x="500" y="227"/>
                  </a:cubicBezTo>
                  <a:cubicBezTo>
                    <a:pt x="505" y="224"/>
                    <a:pt x="510" y="221"/>
                    <a:pt x="514" y="217"/>
                  </a:cubicBezTo>
                  <a:cubicBezTo>
                    <a:pt x="518" y="212"/>
                    <a:pt x="521" y="207"/>
                    <a:pt x="523" y="201"/>
                  </a:cubicBezTo>
                  <a:cubicBezTo>
                    <a:pt x="526" y="195"/>
                    <a:pt x="528" y="188"/>
                    <a:pt x="530" y="181"/>
                  </a:cubicBezTo>
                  <a:cubicBezTo>
                    <a:pt x="531" y="174"/>
                    <a:pt x="532" y="166"/>
                    <a:pt x="533" y="157"/>
                  </a:cubicBezTo>
                  <a:cubicBezTo>
                    <a:pt x="533" y="149"/>
                    <a:pt x="534" y="140"/>
                    <a:pt x="534" y="130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50" name="Freeform 1202"/>
            <p:cNvSpPr>
              <a:spLocks noEditPoints="1"/>
            </p:cNvSpPr>
            <p:nvPr/>
          </p:nvSpPr>
          <p:spPr bwMode="auto">
            <a:xfrm>
              <a:off x="836033" y="1479404"/>
              <a:ext cx="428354" cy="157395"/>
            </a:xfrm>
            <a:custGeom>
              <a:avLst/>
              <a:gdLst/>
              <a:ahLst/>
              <a:cxnLst>
                <a:cxn ang="0">
                  <a:pos x="106" y="286"/>
                </a:cxn>
                <a:cxn ang="0">
                  <a:pos x="12" y="282"/>
                </a:cxn>
                <a:cxn ang="0">
                  <a:pos x="0" y="265"/>
                </a:cxn>
                <a:cxn ang="0">
                  <a:pos x="4" y="238"/>
                </a:cxn>
                <a:cxn ang="0">
                  <a:pos x="39" y="249"/>
                </a:cxn>
                <a:cxn ang="0">
                  <a:pos x="107" y="228"/>
                </a:cxn>
                <a:cxn ang="0">
                  <a:pos x="82" y="174"/>
                </a:cxn>
                <a:cxn ang="0">
                  <a:pos x="12" y="171"/>
                </a:cxn>
                <a:cxn ang="0">
                  <a:pos x="23" y="37"/>
                </a:cxn>
                <a:cxn ang="0">
                  <a:pos x="148" y="49"/>
                </a:cxn>
                <a:cxn ang="0">
                  <a:pos x="52" y="81"/>
                </a:cxn>
                <a:cxn ang="0">
                  <a:pos x="116" y="138"/>
                </a:cxn>
                <a:cxn ang="0">
                  <a:pos x="371" y="204"/>
                </a:cxn>
                <a:cxn ang="0">
                  <a:pos x="282" y="292"/>
                </a:cxn>
                <a:cxn ang="0">
                  <a:pos x="205" y="234"/>
                </a:cxn>
                <a:cxn ang="0">
                  <a:pos x="205" y="110"/>
                </a:cxn>
                <a:cxn ang="0">
                  <a:pos x="305" y="33"/>
                </a:cxn>
                <a:cxn ang="0">
                  <a:pos x="351" y="42"/>
                </a:cxn>
                <a:cxn ang="0">
                  <a:pos x="355" y="59"/>
                </a:cxn>
                <a:cxn ang="0">
                  <a:pos x="348" y="80"/>
                </a:cxn>
                <a:cxn ang="0">
                  <a:pos x="305" y="72"/>
                </a:cxn>
                <a:cxn ang="0">
                  <a:pos x="248" y="144"/>
                </a:cxn>
                <a:cxn ang="0">
                  <a:pos x="299" y="130"/>
                </a:cxn>
                <a:cxn ang="0">
                  <a:pos x="371" y="204"/>
                </a:cxn>
                <a:cxn ang="0">
                  <a:pos x="303" y="171"/>
                </a:cxn>
                <a:cxn ang="0">
                  <a:pos x="257" y="176"/>
                </a:cxn>
                <a:cxn ang="0">
                  <a:pos x="269" y="249"/>
                </a:cxn>
                <a:cxn ang="0">
                  <a:pos x="319" y="226"/>
                </a:cxn>
                <a:cxn ang="0">
                  <a:pos x="568" y="235"/>
                </a:cxn>
                <a:cxn ang="0">
                  <a:pos x="540" y="286"/>
                </a:cxn>
                <a:cxn ang="0">
                  <a:pos x="501" y="286"/>
                </a:cxn>
                <a:cxn ang="0">
                  <a:pos x="401" y="235"/>
                </a:cxn>
                <a:cxn ang="0">
                  <a:pos x="390" y="213"/>
                </a:cxn>
                <a:cxn ang="0">
                  <a:pos x="396" y="180"/>
                </a:cxn>
                <a:cxn ang="0">
                  <a:pos x="494" y="36"/>
                </a:cxn>
                <a:cxn ang="0">
                  <a:pos x="544" y="41"/>
                </a:cxn>
                <a:cxn ang="0">
                  <a:pos x="573" y="200"/>
                </a:cxn>
                <a:cxn ang="0">
                  <a:pos x="430" y="195"/>
                </a:cxn>
                <a:cxn ang="0">
                  <a:pos x="629" y="341"/>
                </a:cxn>
                <a:cxn ang="0">
                  <a:pos x="595" y="345"/>
                </a:cxn>
                <a:cxn ang="0">
                  <a:pos x="700" y="9"/>
                </a:cxn>
                <a:cxn ang="0">
                  <a:pos x="725" y="0"/>
                </a:cxn>
                <a:cxn ang="0">
                  <a:pos x="747" y="13"/>
                </a:cxn>
                <a:cxn ang="0">
                  <a:pos x="936" y="76"/>
                </a:cxn>
                <a:cxn ang="0">
                  <a:pos x="847" y="284"/>
                </a:cxn>
                <a:cxn ang="0">
                  <a:pos x="804" y="288"/>
                </a:cxn>
                <a:cxn ang="0">
                  <a:pos x="882" y="81"/>
                </a:cxn>
                <a:cxn ang="0">
                  <a:pos x="770" y="49"/>
                </a:cxn>
                <a:cxn ang="0">
                  <a:pos x="926" y="37"/>
                </a:cxn>
                <a:cxn ang="0">
                  <a:pos x="938" y="59"/>
                </a:cxn>
              </a:cxnLst>
              <a:rect l="0" t="0" r="r" b="b"/>
              <a:pathLst>
                <a:path w="938" h="346">
                  <a:moveTo>
                    <a:pt x="164" y="206"/>
                  </a:moveTo>
                  <a:cubicBezTo>
                    <a:pt x="164" y="220"/>
                    <a:pt x="162" y="232"/>
                    <a:pt x="157" y="242"/>
                  </a:cubicBezTo>
                  <a:cubicBezTo>
                    <a:pt x="152" y="253"/>
                    <a:pt x="146" y="262"/>
                    <a:pt x="137" y="269"/>
                  </a:cubicBezTo>
                  <a:cubicBezTo>
                    <a:pt x="128" y="276"/>
                    <a:pt x="118" y="282"/>
                    <a:pt x="106" y="286"/>
                  </a:cubicBezTo>
                  <a:cubicBezTo>
                    <a:pt x="94" y="290"/>
                    <a:pt x="81" y="292"/>
                    <a:pt x="66" y="292"/>
                  </a:cubicBezTo>
                  <a:cubicBezTo>
                    <a:pt x="58" y="292"/>
                    <a:pt x="51" y="291"/>
                    <a:pt x="44" y="290"/>
                  </a:cubicBezTo>
                  <a:cubicBezTo>
                    <a:pt x="37" y="289"/>
                    <a:pt x="31" y="288"/>
                    <a:pt x="25" y="287"/>
                  </a:cubicBezTo>
                  <a:cubicBezTo>
                    <a:pt x="20" y="285"/>
                    <a:pt x="15" y="284"/>
                    <a:pt x="12" y="282"/>
                  </a:cubicBezTo>
                  <a:cubicBezTo>
                    <a:pt x="8" y="281"/>
                    <a:pt x="6" y="279"/>
                    <a:pt x="5" y="278"/>
                  </a:cubicBezTo>
                  <a:cubicBezTo>
                    <a:pt x="4" y="277"/>
                    <a:pt x="3" y="276"/>
                    <a:pt x="2" y="275"/>
                  </a:cubicBezTo>
                  <a:cubicBezTo>
                    <a:pt x="2" y="274"/>
                    <a:pt x="1" y="273"/>
                    <a:pt x="1" y="271"/>
                  </a:cubicBezTo>
                  <a:cubicBezTo>
                    <a:pt x="1" y="269"/>
                    <a:pt x="0" y="267"/>
                    <a:pt x="0" y="265"/>
                  </a:cubicBezTo>
                  <a:cubicBezTo>
                    <a:pt x="0" y="262"/>
                    <a:pt x="0" y="260"/>
                    <a:pt x="0" y="256"/>
                  </a:cubicBezTo>
                  <a:cubicBezTo>
                    <a:pt x="0" y="253"/>
                    <a:pt x="0" y="250"/>
                    <a:pt x="1" y="247"/>
                  </a:cubicBezTo>
                  <a:cubicBezTo>
                    <a:pt x="1" y="245"/>
                    <a:pt x="1" y="243"/>
                    <a:pt x="2" y="241"/>
                  </a:cubicBezTo>
                  <a:cubicBezTo>
                    <a:pt x="2" y="239"/>
                    <a:pt x="3" y="238"/>
                    <a:pt x="4" y="238"/>
                  </a:cubicBezTo>
                  <a:cubicBezTo>
                    <a:pt x="5" y="237"/>
                    <a:pt x="5" y="237"/>
                    <a:pt x="7" y="237"/>
                  </a:cubicBezTo>
                  <a:cubicBezTo>
                    <a:pt x="8" y="237"/>
                    <a:pt x="10" y="237"/>
                    <a:pt x="12" y="239"/>
                  </a:cubicBezTo>
                  <a:cubicBezTo>
                    <a:pt x="15" y="240"/>
                    <a:pt x="19" y="242"/>
                    <a:pt x="23" y="244"/>
                  </a:cubicBezTo>
                  <a:cubicBezTo>
                    <a:pt x="27" y="246"/>
                    <a:pt x="32" y="247"/>
                    <a:pt x="39" y="249"/>
                  </a:cubicBezTo>
                  <a:cubicBezTo>
                    <a:pt x="45" y="250"/>
                    <a:pt x="52" y="251"/>
                    <a:pt x="61" y="251"/>
                  </a:cubicBezTo>
                  <a:cubicBezTo>
                    <a:pt x="68" y="251"/>
                    <a:pt x="75" y="250"/>
                    <a:pt x="81" y="249"/>
                  </a:cubicBezTo>
                  <a:cubicBezTo>
                    <a:pt x="87" y="247"/>
                    <a:pt x="93" y="245"/>
                    <a:pt x="97" y="241"/>
                  </a:cubicBezTo>
                  <a:cubicBezTo>
                    <a:pt x="101" y="238"/>
                    <a:pt x="104" y="234"/>
                    <a:pt x="107" y="228"/>
                  </a:cubicBezTo>
                  <a:cubicBezTo>
                    <a:pt x="109" y="223"/>
                    <a:pt x="110" y="217"/>
                    <a:pt x="110" y="210"/>
                  </a:cubicBezTo>
                  <a:cubicBezTo>
                    <a:pt x="110" y="204"/>
                    <a:pt x="109" y="198"/>
                    <a:pt x="107" y="193"/>
                  </a:cubicBezTo>
                  <a:cubicBezTo>
                    <a:pt x="105" y="188"/>
                    <a:pt x="102" y="184"/>
                    <a:pt x="98" y="181"/>
                  </a:cubicBezTo>
                  <a:cubicBezTo>
                    <a:pt x="94" y="178"/>
                    <a:pt x="89" y="175"/>
                    <a:pt x="82" y="174"/>
                  </a:cubicBezTo>
                  <a:cubicBezTo>
                    <a:pt x="75" y="172"/>
                    <a:pt x="68" y="171"/>
                    <a:pt x="58" y="171"/>
                  </a:cubicBezTo>
                  <a:cubicBezTo>
                    <a:pt x="51" y="171"/>
                    <a:pt x="44" y="171"/>
                    <a:pt x="38" y="172"/>
                  </a:cubicBezTo>
                  <a:cubicBezTo>
                    <a:pt x="32" y="173"/>
                    <a:pt x="26" y="173"/>
                    <a:pt x="20" y="173"/>
                  </a:cubicBezTo>
                  <a:cubicBezTo>
                    <a:pt x="17" y="173"/>
                    <a:pt x="14" y="172"/>
                    <a:pt x="12" y="171"/>
                  </a:cubicBezTo>
                  <a:cubicBezTo>
                    <a:pt x="11" y="169"/>
                    <a:pt x="10" y="165"/>
                    <a:pt x="10" y="160"/>
                  </a:cubicBezTo>
                  <a:lnTo>
                    <a:pt x="10" y="52"/>
                  </a:lnTo>
                  <a:cubicBezTo>
                    <a:pt x="10" y="46"/>
                    <a:pt x="11" y="43"/>
                    <a:pt x="13" y="40"/>
                  </a:cubicBezTo>
                  <a:cubicBezTo>
                    <a:pt x="15" y="38"/>
                    <a:pt x="18" y="37"/>
                    <a:pt x="23" y="37"/>
                  </a:cubicBezTo>
                  <a:lnTo>
                    <a:pt x="141" y="37"/>
                  </a:lnTo>
                  <a:cubicBezTo>
                    <a:pt x="142" y="37"/>
                    <a:pt x="143" y="38"/>
                    <a:pt x="144" y="38"/>
                  </a:cubicBezTo>
                  <a:cubicBezTo>
                    <a:pt x="145" y="39"/>
                    <a:pt x="146" y="40"/>
                    <a:pt x="147" y="42"/>
                  </a:cubicBezTo>
                  <a:cubicBezTo>
                    <a:pt x="148" y="44"/>
                    <a:pt x="148" y="46"/>
                    <a:pt x="148" y="49"/>
                  </a:cubicBezTo>
                  <a:cubicBezTo>
                    <a:pt x="149" y="51"/>
                    <a:pt x="149" y="55"/>
                    <a:pt x="149" y="59"/>
                  </a:cubicBezTo>
                  <a:cubicBezTo>
                    <a:pt x="149" y="66"/>
                    <a:pt x="148" y="72"/>
                    <a:pt x="147" y="75"/>
                  </a:cubicBezTo>
                  <a:cubicBezTo>
                    <a:pt x="146" y="79"/>
                    <a:pt x="144" y="81"/>
                    <a:pt x="141" y="81"/>
                  </a:cubicBezTo>
                  <a:lnTo>
                    <a:pt x="52" y="81"/>
                  </a:lnTo>
                  <a:lnTo>
                    <a:pt x="52" y="134"/>
                  </a:lnTo>
                  <a:cubicBezTo>
                    <a:pt x="57" y="134"/>
                    <a:pt x="61" y="133"/>
                    <a:pt x="66" y="133"/>
                  </a:cubicBezTo>
                  <a:cubicBezTo>
                    <a:pt x="70" y="133"/>
                    <a:pt x="75" y="133"/>
                    <a:pt x="80" y="133"/>
                  </a:cubicBezTo>
                  <a:cubicBezTo>
                    <a:pt x="93" y="133"/>
                    <a:pt x="105" y="135"/>
                    <a:pt x="116" y="138"/>
                  </a:cubicBezTo>
                  <a:cubicBezTo>
                    <a:pt x="126" y="141"/>
                    <a:pt x="135" y="145"/>
                    <a:pt x="142" y="152"/>
                  </a:cubicBezTo>
                  <a:cubicBezTo>
                    <a:pt x="149" y="158"/>
                    <a:pt x="155" y="165"/>
                    <a:pt x="158" y="174"/>
                  </a:cubicBezTo>
                  <a:cubicBezTo>
                    <a:pt x="162" y="183"/>
                    <a:pt x="164" y="194"/>
                    <a:pt x="164" y="206"/>
                  </a:cubicBezTo>
                  <a:close/>
                  <a:moveTo>
                    <a:pt x="371" y="204"/>
                  </a:moveTo>
                  <a:cubicBezTo>
                    <a:pt x="371" y="216"/>
                    <a:pt x="369" y="228"/>
                    <a:pt x="365" y="239"/>
                  </a:cubicBezTo>
                  <a:cubicBezTo>
                    <a:pt x="361" y="249"/>
                    <a:pt x="355" y="259"/>
                    <a:pt x="348" y="267"/>
                  </a:cubicBezTo>
                  <a:cubicBezTo>
                    <a:pt x="340" y="274"/>
                    <a:pt x="331" y="281"/>
                    <a:pt x="320" y="285"/>
                  </a:cubicBezTo>
                  <a:cubicBezTo>
                    <a:pt x="309" y="289"/>
                    <a:pt x="297" y="292"/>
                    <a:pt x="282" y="292"/>
                  </a:cubicBezTo>
                  <a:cubicBezTo>
                    <a:pt x="271" y="292"/>
                    <a:pt x="261" y="290"/>
                    <a:pt x="252" y="288"/>
                  </a:cubicBezTo>
                  <a:cubicBezTo>
                    <a:pt x="243" y="285"/>
                    <a:pt x="236" y="281"/>
                    <a:pt x="230" y="276"/>
                  </a:cubicBezTo>
                  <a:cubicBezTo>
                    <a:pt x="223" y="271"/>
                    <a:pt x="218" y="265"/>
                    <a:pt x="214" y="258"/>
                  </a:cubicBezTo>
                  <a:cubicBezTo>
                    <a:pt x="210" y="251"/>
                    <a:pt x="207" y="243"/>
                    <a:pt x="205" y="234"/>
                  </a:cubicBezTo>
                  <a:cubicBezTo>
                    <a:pt x="202" y="225"/>
                    <a:pt x="201" y="216"/>
                    <a:pt x="200" y="205"/>
                  </a:cubicBezTo>
                  <a:cubicBezTo>
                    <a:pt x="199" y="195"/>
                    <a:pt x="198" y="184"/>
                    <a:pt x="198" y="172"/>
                  </a:cubicBezTo>
                  <a:cubicBezTo>
                    <a:pt x="198" y="162"/>
                    <a:pt x="199" y="152"/>
                    <a:pt x="200" y="141"/>
                  </a:cubicBezTo>
                  <a:cubicBezTo>
                    <a:pt x="201" y="131"/>
                    <a:pt x="203" y="120"/>
                    <a:pt x="205" y="110"/>
                  </a:cubicBezTo>
                  <a:cubicBezTo>
                    <a:pt x="208" y="99"/>
                    <a:pt x="212" y="90"/>
                    <a:pt x="217" y="80"/>
                  </a:cubicBezTo>
                  <a:cubicBezTo>
                    <a:pt x="222" y="71"/>
                    <a:pt x="229" y="63"/>
                    <a:pt x="237" y="56"/>
                  </a:cubicBezTo>
                  <a:cubicBezTo>
                    <a:pt x="244" y="49"/>
                    <a:pt x="254" y="43"/>
                    <a:pt x="265" y="39"/>
                  </a:cubicBezTo>
                  <a:cubicBezTo>
                    <a:pt x="277" y="35"/>
                    <a:pt x="290" y="33"/>
                    <a:pt x="305" y="33"/>
                  </a:cubicBezTo>
                  <a:cubicBezTo>
                    <a:pt x="310" y="33"/>
                    <a:pt x="315" y="33"/>
                    <a:pt x="320" y="34"/>
                  </a:cubicBezTo>
                  <a:cubicBezTo>
                    <a:pt x="325" y="34"/>
                    <a:pt x="330" y="35"/>
                    <a:pt x="334" y="36"/>
                  </a:cubicBezTo>
                  <a:cubicBezTo>
                    <a:pt x="338" y="37"/>
                    <a:pt x="342" y="38"/>
                    <a:pt x="345" y="39"/>
                  </a:cubicBezTo>
                  <a:cubicBezTo>
                    <a:pt x="348" y="40"/>
                    <a:pt x="350" y="41"/>
                    <a:pt x="351" y="42"/>
                  </a:cubicBezTo>
                  <a:cubicBezTo>
                    <a:pt x="352" y="43"/>
                    <a:pt x="352" y="44"/>
                    <a:pt x="353" y="45"/>
                  </a:cubicBezTo>
                  <a:cubicBezTo>
                    <a:pt x="353" y="46"/>
                    <a:pt x="354" y="47"/>
                    <a:pt x="354" y="48"/>
                  </a:cubicBezTo>
                  <a:cubicBezTo>
                    <a:pt x="355" y="49"/>
                    <a:pt x="355" y="51"/>
                    <a:pt x="355" y="53"/>
                  </a:cubicBezTo>
                  <a:cubicBezTo>
                    <a:pt x="355" y="55"/>
                    <a:pt x="355" y="57"/>
                    <a:pt x="355" y="59"/>
                  </a:cubicBezTo>
                  <a:cubicBezTo>
                    <a:pt x="355" y="63"/>
                    <a:pt x="355" y="67"/>
                    <a:pt x="355" y="69"/>
                  </a:cubicBezTo>
                  <a:cubicBezTo>
                    <a:pt x="355" y="72"/>
                    <a:pt x="354" y="74"/>
                    <a:pt x="354" y="76"/>
                  </a:cubicBezTo>
                  <a:cubicBezTo>
                    <a:pt x="353" y="77"/>
                    <a:pt x="353" y="78"/>
                    <a:pt x="352" y="79"/>
                  </a:cubicBezTo>
                  <a:cubicBezTo>
                    <a:pt x="351" y="79"/>
                    <a:pt x="350" y="80"/>
                    <a:pt x="348" y="80"/>
                  </a:cubicBezTo>
                  <a:cubicBezTo>
                    <a:pt x="347" y="80"/>
                    <a:pt x="345" y="79"/>
                    <a:pt x="342" y="78"/>
                  </a:cubicBezTo>
                  <a:cubicBezTo>
                    <a:pt x="340" y="78"/>
                    <a:pt x="337" y="77"/>
                    <a:pt x="333" y="76"/>
                  </a:cubicBezTo>
                  <a:cubicBezTo>
                    <a:pt x="330" y="75"/>
                    <a:pt x="326" y="74"/>
                    <a:pt x="321" y="73"/>
                  </a:cubicBezTo>
                  <a:cubicBezTo>
                    <a:pt x="317" y="72"/>
                    <a:pt x="311" y="72"/>
                    <a:pt x="305" y="72"/>
                  </a:cubicBezTo>
                  <a:cubicBezTo>
                    <a:pt x="294" y="72"/>
                    <a:pt x="286" y="74"/>
                    <a:pt x="278" y="77"/>
                  </a:cubicBezTo>
                  <a:cubicBezTo>
                    <a:pt x="271" y="81"/>
                    <a:pt x="265" y="87"/>
                    <a:pt x="261" y="93"/>
                  </a:cubicBezTo>
                  <a:cubicBezTo>
                    <a:pt x="256" y="100"/>
                    <a:pt x="253" y="108"/>
                    <a:pt x="251" y="116"/>
                  </a:cubicBezTo>
                  <a:cubicBezTo>
                    <a:pt x="249" y="125"/>
                    <a:pt x="248" y="134"/>
                    <a:pt x="248" y="144"/>
                  </a:cubicBezTo>
                  <a:cubicBezTo>
                    <a:pt x="250" y="142"/>
                    <a:pt x="254" y="141"/>
                    <a:pt x="257" y="139"/>
                  </a:cubicBezTo>
                  <a:cubicBezTo>
                    <a:pt x="261" y="137"/>
                    <a:pt x="265" y="135"/>
                    <a:pt x="269" y="134"/>
                  </a:cubicBezTo>
                  <a:cubicBezTo>
                    <a:pt x="274" y="133"/>
                    <a:pt x="278" y="132"/>
                    <a:pt x="283" y="131"/>
                  </a:cubicBezTo>
                  <a:cubicBezTo>
                    <a:pt x="288" y="130"/>
                    <a:pt x="294" y="130"/>
                    <a:pt x="299" y="130"/>
                  </a:cubicBezTo>
                  <a:cubicBezTo>
                    <a:pt x="312" y="130"/>
                    <a:pt x="323" y="131"/>
                    <a:pt x="332" y="135"/>
                  </a:cubicBezTo>
                  <a:cubicBezTo>
                    <a:pt x="341" y="138"/>
                    <a:pt x="348" y="143"/>
                    <a:pt x="354" y="150"/>
                  </a:cubicBezTo>
                  <a:cubicBezTo>
                    <a:pt x="360" y="156"/>
                    <a:pt x="364" y="164"/>
                    <a:pt x="367" y="173"/>
                  </a:cubicBezTo>
                  <a:cubicBezTo>
                    <a:pt x="369" y="182"/>
                    <a:pt x="371" y="192"/>
                    <a:pt x="371" y="204"/>
                  </a:cubicBezTo>
                  <a:close/>
                  <a:moveTo>
                    <a:pt x="321" y="209"/>
                  </a:moveTo>
                  <a:cubicBezTo>
                    <a:pt x="321" y="202"/>
                    <a:pt x="320" y="196"/>
                    <a:pt x="319" y="191"/>
                  </a:cubicBezTo>
                  <a:cubicBezTo>
                    <a:pt x="318" y="186"/>
                    <a:pt x="316" y="182"/>
                    <a:pt x="314" y="179"/>
                  </a:cubicBezTo>
                  <a:cubicBezTo>
                    <a:pt x="311" y="175"/>
                    <a:pt x="308" y="173"/>
                    <a:pt x="303" y="171"/>
                  </a:cubicBezTo>
                  <a:cubicBezTo>
                    <a:pt x="299" y="169"/>
                    <a:pt x="294" y="168"/>
                    <a:pt x="288" y="168"/>
                  </a:cubicBezTo>
                  <a:cubicBezTo>
                    <a:pt x="284" y="168"/>
                    <a:pt x="281" y="169"/>
                    <a:pt x="277" y="169"/>
                  </a:cubicBezTo>
                  <a:cubicBezTo>
                    <a:pt x="274" y="170"/>
                    <a:pt x="270" y="171"/>
                    <a:pt x="267" y="172"/>
                  </a:cubicBezTo>
                  <a:cubicBezTo>
                    <a:pt x="264" y="173"/>
                    <a:pt x="260" y="175"/>
                    <a:pt x="257" y="176"/>
                  </a:cubicBezTo>
                  <a:cubicBezTo>
                    <a:pt x="254" y="178"/>
                    <a:pt x="251" y="179"/>
                    <a:pt x="249" y="181"/>
                  </a:cubicBezTo>
                  <a:cubicBezTo>
                    <a:pt x="249" y="195"/>
                    <a:pt x="249" y="207"/>
                    <a:pt x="251" y="216"/>
                  </a:cubicBezTo>
                  <a:cubicBezTo>
                    <a:pt x="252" y="225"/>
                    <a:pt x="255" y="232"/>
                    <a:pt x="258" y="238"/>
                  </a:cubicBezTo>
                  <a:cubicBezTo>
                    <a:pt x="261" y="243"/>
                    <a:pt x="265" y="247"/>
                    <a:pt x="269" y="249"/>
                  </a:cubicBezTo>
                  <a:cubicBezTo>
                    <a:pt x="274" y="251"/>
                    <a:pt x="279" y="253"/>
                    <a:pt x="285" y="253"/>
                  </a:cubicBezTo>
                  <a:cubicBezTo>
                    <a:pt x="291" y="253"/>
                    <a:pt x="296" y="251"/>
                    <a:pt x="301" y="249"/>
                  </a:cubicBezTo>
                  <a:cubicBezTo>
                    <a:pt x="305" y="247"/>
                    <a:pt x="309" y="244"/>
                    <a:pt x="312" y="240"/>
                  </a:cubicBezTo>
                  <a:cubicBezTo>
                    <a:pt x="315" y="236"/>
                    <a:pt x="317" y="231"/>
                    <a:pt x="319" y="226"/>
                  </a:cubicBezTo>
                  <a:cubicBezTo>
                    <a:pt x="320" y="221"/>
                    <a:pt x="321" y="215"/>
                    <a:pt x="321" y="209"/>
                  </a:cubicBezTo>
                  <a:close/>
                  <a:moveTo>
                    <a:pt x="575" y="215"/>
                  </a:moveTo>
                  <a:cubicBezTo>
                    <a:pt x="575" y="222"/>
                    <a:pt x="575" y="227"/>
                    <a:pt x="573" y="230"/>
                  </a:cubicBezTo>
                  <a:cubicBezTo>
                    <a:pt x="572" y="234"/>
                    <a:pt x="570" y="235"/>
                    <a:pt x="568" y="235"/>
                  </a:cubicBezTo>
                  <a:lnTo>
                    <a:pt x="545" y="235"/>
                  </a:lnTo>
                  <a:lnTo>
                    <a:pt x="545" y="281"/>
                  </a:lnTo>
                  <a:cubicBezTo>
                    <a:pt x="545" y="282"/>
                    <a:pt x="545" y="283"/>
                    <a:pt x="544" y="284"/>
                  </a:cubicBezTo>
                  <a:cubicBezTo>
                    <a:pt x="544" y="285"/>
                    <a:pt x="542" y="286"/>
                    <a:pt x="540" y="286"/>
                  </a:cubicBezTo>
                  <a:cubicBezTo>
                    <a:pt x="538" y="287"/>
                    <a:pt x="536" y="287"/>
                    <a:pt x="533" y="288"/>
                  </a:cubicBezTo>
                  <a:cubicBezTo>
                    <a:pt x="530" y="288"/>
                    <a:pt x="526" y="288"/>
                    <a:pt x="521" y="288"/>
                  </a:cubicBezTo>
                  <a:cubicBezTo>
                    <a:pt x="516" y="288"/>
                    <a:pt x="512" y="288"/>
                    <a:pt x="509" y="288"/>
                  </a:cubicBezTo>
                  <a:cubicBezTo>
                    <a:pt x="506" y="287"/>
                    <a:pt x="503" y="287"/>
                    <a:pt x="501" y="286"/>
                  </a:cubicBezTo>
                  <a:cubicBezTo>
                    <a:pt x="500" y="286"/>
                    <a:pt x="498" y="285"/>
                    <a:pt x="498" y="284"/>
                  </a:cubicBezTo>
                  <a:cubicBezTo>
                    <a:pt x="497" y="283"/>
                    <a:pt x="497" y="282"/>
                    <a:pt x="497" y="281"/>
                  </a:cubicBezTo>
                  <a:lnTo>
                    <a:pt x="497" y="235"/>
                  </a:lnTo>
                  <a:lnTo>
                    <a:pt x="401" y="235"/>
                  </a:lnTo>
                  <a:cubicBezTo>
                    <a:pt x="399" y="235"/>
                    <a:pt x="397" y="235"/>
                    <a:pt x="396" y="235"/>
                  </a:cubicBezTo>
                  <a:cubicBezTo>
                    <a:pt x="395" y="234"/>
                    <a:pt x="393" y="233"/>
                    <a:pt x="392" y="232"/>
                  </a:cubicBezTo>
                  <a:cubicBezTo>
                    <a:pt x="391" y="230"/>
                    <a:pt x="391" y="228"/>
                    <a:pt x="390" y="225"/>
                  </a:cubicBezTo>
                  <a:cubicBezTo>
                    <a:pt x="390" y="222"/>
                    <a:pt x="390" y="218"/>
                    <a:pt x="390" y="213"/>
                  </a:cubicBezTo>
                  <a:cubicBezTo>
                    <a:pt x="390" y="208"/>
                    <a:pt x="390" y="205"/>
                    <a:pt x="390" y="202"/>
                  </a:cubicBezTo>
                  <a:cubicBezTo>
                    <a:pt x="390" y="199"/>
                    <a:pt x="391" y="196"/>
                    <a:pt x="391" y="194"/>
                  </a:cubicBezTo>
                  <a:cubicBezTo>
                    <a:pt x="391" y="191"/>
                    <a:pt x="392" y="189"/>
                    <a:pt x="393" y="187"/>
                  </a:cubicBezTo>
                  <a:cubicBezTo>
                    <a:pt x="394" y="184"/>
                    <a:pt x="395" y="182"/>
                    <a:pt x="396" y="180"/>
                  </a:cubicBezTo>
                  <a:lnTo>
                    <a:pt x="474" y="43"/>
                  </a:lnTo>
                  <a:cubicBezTo>
                    <a:pt x="474" y="42"/>
                    <a:pt x="475" y="41"/>
                    <a:pt x="477" y="40"/>
                  </a:cubicBezTo>
                  <a:cubicBezTo>
                    <a:pt x="479" y="39"/>
                    <a:pt x="481" y="38"/>
                    <a:pt x="483" y="38"/>
                  </a:cubicBezTo>
                  <a:cubicBezTo>
                    <a:pt x="486" y="37"/>
                    <a:pt x="490" y="37"/>
                    <a:pt x="494" y="36"/>
                  </a:cubicBezTo>
                  <a:cubicBezTo>
                    <a:pt x="498" y="36"/>
                    <a:pt x="503" y="36"/>
                    <a:pt x="509" y="36"/>
                  </a:cubicBezTo>
                  <a:cubicBezTo>
                    <a:pt x="516" y="36"/>
                    <a:pt x="522" y="36"/>
                    <a:pt x="526" y="36"/>
                  </a:cubicBezTo>
                  <a:cubicBezTo>
                    <a:pt x="531" y="37"/>
                    <a:pt x="535" y="37"/>
                    <a:pt x="537" y="38"/>
                  </a:cubicBezTo>
                  <a:cubicBezTo>
                    <a:pt x="540" y="39"/>
                    <a:pt x="542" y="40"/>
                    <a:pt x="544" y="41"/>
                  </a:cubicBezTo>
                  <a:cubicBezTo>
                    <a:pt x="545" y="42"/>
                    <a:pt x="545" y="43"/>
                    <a:pt x="545" y="44"/>
                  </a:cubicBezTo>
                  <a:lnTo>
                    <a:pt x="545" y="195"/>
                  </a:lnTo>
                  <a:lnTo>
                    <a:pt x="568" y="195"/>
                  </a:lnTo>
                  <a:cubicBezTo>
                    <a:pt x="570" y="195"/>
                    <a:pt x="571" y="196"/>
                    <a:pt x="573" y="200"/>
                  </a:cubicBezTo>
                  <a:cubicBezTo>
                    <a:pt x="574" y="203"/>
                    <a:pt x="575" y="208"/>
                    <a:pt x="575" y="215"/>
                  </a:cubicBezTo>
                  <a:close/>
                  <a:moveTo>
                    <a:pt x="497" y="80"/>
                  </a:moveTo>
                  <a:lnTo>
                    <a:pt x="496" y="80"/>
                  </a:lnTo>
                  <a:lnTo>
                    <a:pt x="430" y="195"/>
                  </a:lnTo>
                  <a:lnTo>
                    <a:pt x="497" y="195"/>
                  </a:lnTo>
                  <a:lnTo>
                    <a:pt x="497" y="80"/>
                  </a:lnTo>
                  <a:close/>
                  <a:moveTo>
                    <a:pt x="632" y="337"/>
                  </a:moveTo>
                  <a:cubicBezTo>
                    <a:pt x="631" y="339"/>
                    <a:pt x="631" y="340"/>
                    <a:pt x="629" y="341"/>
                  </a:cubicBezTo>
                  <a:cubicBezTo>
                    <a:pt x="628" y="342"/>
                    <a:pt x="627" y="343"/>
                    <a:pt x="625" y="344"/>
                  </a:cubicBezTo>
                  <a:cubicBezTo>
                    <a:pt x="623" y="344"/>
                    <a:pt x="621" y="345"/>
                    <a:pt x="618" y="345"/>
                  </a:cubicBezTo>
                  <a:cubicBezTo>
                    <a:pt x="615" y="346"/>
                    <a:pt x="612" y="346"/>
                    <a:pt x="608" y="346"/>
                  </a:cubicBezTo>
                  <a:cubicBezTo>
                    <a:pt x="602" y="346"/>
                    <a:pt x="598" y="345"/>
                    <a:pt x="595" y="345"/>
                  </a:cubicBezTo>
                  <a:cubicBezTo>
                    <a:pt x="591" y="344"/>
                    <a:pt x="589" y="344"/>
                    <a:pt x="587" y="343"/>
                  </a:cubicBezTo>
                  <a:cubicBezTo>
                    <a:pt x="585" y="342"/>
                    <a:pt x="584" y="340"/>
                    <a:pt x="584" y="339"/>
                  </a:cubicBezTo>
                  <a:cubicBezTo>
                    <a:pt x="584" y="337"/>
                    <a:pt x="584" y="335"/>
                    <a:pt x="585" y="333"/>
                  </a:cubicBezTo>
                  <a:lnTo>
                    <a:pt x="700" y="9"/>
                  </a:lnTo>
                  <a:cubicBezTo>
                    <a:pt x="701" y="7"/>
                    <a:pt x="702" y="5"/>
                    <a:pt x="703" y="4"/>
                  </a:cubicBezTo>
                  <a:cubicBezTo>
                    <a:pt x="704" y="3"/>
                    <a:pt x="705" y="2"/>
                    <a:pt x="707" y="2"/>
                  </a:cubicBezTo>
                  <a:cubicBezTo>
                    <a:pt x="709" y="1"/>
                    <a:pt x="711" y="1"/>
                    <a:pt x="714" y="0"/>
                  </a:cubicBezTo>
                  <a:cubicBezTo>
                    <a:pt x="717" y="0"/>
                    <a:pt x="720" y="0"/>
                    <a:pt x="725" y="0"/>
                  </a:cubicBezTo>
                  <a:cubicBezTo>
                    <a:pt x="730" y="0"/>
                    <a:pt x="734" y="0"/>
                    <a:pt x="738" y="1"/>
                  </a:cubicBezTo>
                  <a:cubicBezTo>
                    <a:pt x="741" y="1"/>
                    <a:pt x="743" y="2"/>
                    <a:pt x="745" y="3"/>
                  </a:cubicBezTo>
                  <a:cubicBezTo>
                    <a:pt x="747" y="4"/>
                    <a:pt x="748" y="5"/>
                    <a:pt x="748" y="7"/>
                  </a:cubicBezTo>
                  <a:cubicBezTo>
                    <a:pt x="748" y="9"/>
                    <a:pt x="748" y="10"/>
                    <a:pt x="747" y="13"/>
                  </a:cubicBezTo>
                  <a:lnTo>
                    <a:pt x="632" y="337"/>
                  </a:lnTo>
                  <a:close/>
                  <a:moveTo>
                    <a:pt x="938" y="59"/>
                  </a:moveTo>
                  <a:cubicBezTo>
                    <a:pt x="938" y="62"/>
                    <a:pt x="938" y="66"/>
                    <a:pt x="937" y="68"/>
                  </a:cubicBezTo>
                  <a:cubicBezTo>
                    <a:pt x="937" y="71"/>
                    <a:pt x="937" y="74"/>
                    <a:pt x="936" y="76"/>
                  </a:cubicBezTo>
                  <a:cubicBezTo>
                    <a:pt x="936" y="78"/>
                    <a:pt x="935" y="81"/>
                    <a:pt x="935" y="83"/>
                  </a:cubicBezTo>
                  <a:cubicBezTo>
                    <a:pt x="934" y="85"/>
                    <a:pt x="933" y="87"/>
                    <a:pt x="932" y="90"/>
                  </a:cubicBezTo>
                  <a:lnTo>
                    <a:pt x="850" y="280"/>
                  </a:lnTo>
                  <a:cubicBezTo>
                    <a:pt x="849" y="282"/>
                    <a:pt x="848" y="283"/>
                    <a:pt x="847" y="284"/>
                  </a:cubicBezTo>
                  <a:cubicBezTo>
                    <a:pt x="845" y="286"/>
                    <a:pt x="844" y="286"/>
                    <a:pt x="841" y="287"/>
                  </a:cubicBezTo>
                  <a:cubicBezTo>
                    <a:pt x="839" y="287"/>
                    <a:pt x="836" y="288"/>
                    <a:pt x="833" y="288"/>
                  </a:cubicBezTo>
                  <a:cubicBezTo>
                    <a:pt x="830" y="288"/>
                    <a:pt x="825" y="288"/>
                    <a:pt x="820" y="288"/>
                  </a:cubicBezTo>
                  <a:cubicBezTo>
                    <a:pt x="814" y="288"/>
                    <a:pt x="808" y="288"/>
                    <a:pt x="804" y="288"/>
                  </a:cubicBezTo>
                  <a:cubicBezTo>
                    <a:pt x="800" y="287"/>
                    <a:pt x="797" y="287"/>
                    <a:pt x="795" y="286"/>
                  </a:cubicBezTo>
                  <a:cubicBezTo>
                    <a:pt x="793" y="285"/>
                    <a:pt x="793" y="283"/>
                    <a:pt x="792" y="282"/>
                  </a:cubicBezTo>
                  <a:cubicBezTo>
                    <a:pt x="792" y="280"/>
                    <a:pt x="793" y="279"/>
                    <a:pt x="794" y="276"/>
                  </a:cubicBezTo>
                  <a:lnTo>
                    <a:pt x="882" y="81"/>
                  </a:lnTo>
                  <a:lnTo>
                    <a:pt x="777" y="81"/>
                  </a:lnTo>
                  <a:cubicBezTo>
                    <a:pt x="774" y="81"/>
                    <a:pt x="772" y="79"/>
                    <a:pt x="771" y="76"/>
                  </a:cubicBezTo>
                  <a:cubicBezTo>
                    <a:pt x="770" y="72"/>
                    <a:pt x="769" y="67"/>
                    <a:pt x="769" y="59"/>
                  </a:cubicBezTo>
                  <a:cubicBezTo>
                    <a:pt x="769" y="55"/>
                    <a:pt x="769" y="52"/>
                    <a:pt x="770" y="49"/>
                  </a:cubicBezTo>
                  <a:cubicBezTo>
                    <a:pt x="770" y="46"/>
                    <a:pt x="770" y="44"/>
                    <a:pt x="771" y="42"/>
                  </a:cubicBezTo>
                  <a:cubicBezTo>
                    <a:pt x="772" y="40"/>
                    <a:pt x="773" y="39"/>
                    <a:pt x="774" y="38"/>
                  </a:cubicBezTo>
                  <a:cubicBezTo>
                    <a:pt x="775" y="38"/>
                    <a:pt x="776" y="37"/>
                    <a:pt x="777" y="37"/>
                  </a:cubicBezTo>
                  <a:lnTo>
                    <a:pt x="926" y="37"/>
                  </a:lnTo>
                  <a:cubicBezTo>
                    <a:pt x="928" y="37"/>
                    <a:pt x="930" y="37"/>
                    <a:pt x="931" y="38"/>
                  </a:cubicBezTo>
                  <a:cubicBezTo>
                    <a:pt x="933" y="38"/>
                    <a:pt x="934" y="39"/>
                    <a:pt x="935" y="41"/>
                  </a:cubicBezTo>
                  <a:cubicBezTo>
                    <a:pt x="936" y="42"/>
                    <a:pt x="937" y="45"/>
                    <a:pt x="937" y="47"/>
                  </a:cubicBezTo>
                  <a:cubicBezTo>
                    <a:pt x="938" y="50"/>
                    <a:pt x="938" y="54"/>
                    <a:pt x="938" y="59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51" name="Freeform 1203"/>
            <p:cNvSpPr>
              <a:spLocks noEditPoints="1"/>
            </p:cNvSpPr>
            <p:nvPr/>
          </p:nvSpPr>
          <p:spPr bwMode="auto">
            <a:xfrm>
              <a:off x="3948072" y="1457488"/>
              <a:ext cx="432338" cy="159387"/>
            </a:xfrm>
            <a:custGeom>
              <a:avLst/>
              <a:gdLst/>
              <a:ahLst/>
              <a:cxnLst>
                <a:cxn ang="0">
                  <a:pos x="106" y="286"/>
                </a:cxn>
                <a:cxn ang="0">
                  <a:pos x="12" y="283"/>
                </a:cxn>
                <a:cxn ang="0">
                  <a:pos x="0" y="266"/>
                </a:cxn>
                <a:cxn ang="0">
                  <a:pos x="4" y="238"/>
                </a:cxn>
                <a:cxn ang="0">
                  <a:pos x="39" y="249"/>
                </a:cxn>
                <a:cxn ang="0">
                  <a:pos x="107" y="229"/>
                </a:cxn>
                <a:cxn ang="0">
                  <a:pos x="82" y="174"/>
                </a:cxn>
                <a:cxn ang="0">
                  <a:pos x="12" y="171"/>
                </a:cxn>
                <a:cxn ang="0">
                  <a:pos x="23" y="38"/>
                </a:cxn>
                <a:cxn ang="0">
                  <a:pos x="149" y="49"/>
                </a:cxn>
                <a:cxn ang="0">
                  <a:pos x="52" y="81"/>
                </a:cxn>
                <a:cxn ang="0">
                  <a:pos x="116" y="138"/>
                </a:cxn>
                <a:cxn ang="0">
                  <a:pos x="371" y="204"/>
                </a:cxn>
                <a:cxn ang="0">
                  <a:pos x="283" y="292"/>
                </a:cxn>
                <a:cxn ang="0">
                  <a:pos x="205" y="235"/>
                </a:cxn>
                <a:cxn ang="0">
                  <a:pos x="206" y="110"/>
                </a:cxn>
                <a:cxn ang="0">
                  <a:pos x="306" y="34"/>
                </a:cxn>
                <a:cxn ang="0">
                  <a:pos x="351" y="43"/>
                </a:cxn>
                <a:cxn ang="0">
                  <a:pos x="355" y="60"/>
                </a:cxn>
                <a:cxn ang="0">
                  <a:pos x="348" y="80"/>
                </a:cxn>
                <a:cxn ang="0">
                  <a:pos x="305" y="72"/>
                </a:cxn>
                <a:cxn ang="0">
                  <a:pos x="248" y="145"/>
                </a:cxn>
                <a:cxn ang="0">
                  <a:pos x="300" y="130"/>
                </a:cxn>
                <a:cxn ang="0">
                  <a:pos x="371" y="204"/>
                </a:cxn>
                <a:cxn ang="0">
                  <a:pos x="303" y="172"/>
                </a:cxn>
                <a:cxn ang="0">
                  <a:pos x="257" y="177"/>
                </a:cxn>
                <a:cxn ang="0">
                  <a:pos x="269" y="250"/>
                </a:cxn>
                <a:cxn ang="0">
                  <a:pos x="319" y="227"/>
                </a:cxn>
                <a:cxn ang="0">
                  <a:pos x="566" y="77"/>
                </a:cxn>
                <a:cxn ang="0">
                  <a:pos x="476" y="285"/>
                </a:cxn>
                <a:cxn ang="0">
                  <a:pos x="434" y="288"/>
                </a:cxn>
                <a:cxn ang="0">
                  <a:pos x="512" y="82"/>
                </a:cxn>
                <a:cxn ang="0">
                  <a:pos x="399" y="50"/>
                </a:cxn>
                <a:cxn ang="0">
                  <a:pos x="555" y="38"/>
                </a:cxn>
                <a:cxn ang="0">
                  <a:pos x="567" y="59"/>
                </a:cxn>
                <a:cxn ang="0">
                  <a:pos x="618" y="346"/>
                </a:cxn>
                <a:cxn ang="0">
                  <a:pos x="584" y="339"/>
                </a:cxn>
                <a:cxn ang="0">
                  <a:pos x="707" y="2"/>
                </a:cxn>
                <a:cxn ang="0">
                  <a:pos x="745" y="4"/>
                </a:cxn>
                <a:cxn ang="0">
                  <a:pos x="946" y="216"/>
                </a:cxn>
                <a:cxn ang="0">
                  <a:pos x="916" y="281"/>
                </a:cxn>
                <a:cxn ang="0">
                  <a:pos x="891" y="289"/>
                </a:cxn>
                <a:cxn ang="0">
                  <a:pos x="867" y="281"/>
                </a:cxn>
                <a:cxn ang="0">
                  <a:pos x="763" y="232"/>
                </a:cxn>
                <a:cxn ang="0">
                  <a:pos x="762" y="194"/>
                </a:cxn>
                <a:cxn ang="0">
                  <a:pos x="848" y="40"/>
                </a:cxn>
                <a:cxn ang="0">
                  <a:pos x="897" y="37"/>
                </a:cxn>
                <a:cxn ang="0">
                  <a:pos x="916" y="195"/>
                </a:cxn>
                <a:cxn ang="0">
                  <a:pos x="867" y="80"/>
                </a:cxn>
                <a:cxn ang="0">
                  <a:pos x="867" y="80"/>
                </a:cxn>
              </a:cxnLst>
              <a:rect l="0" t="0" r="r" b="b"/>
              <a:pathLst>
                <a:path w="946" h="346">
                  <a:moveTo>
                    <a:pt x="164" y="207"/>
                  </a:moveTo>
                  <a:cubicBezTo>
                    <a:pt x="164" y="220"/>
                    <a:pt x="162" y="232"/>
                    <a:pt x="157" y="243"/>
                  </a:cubicBezTo>
                  <a:cubicBezTo>
                    <a:pt x="152" y="254"/>
                    <a:pt x="146" y="262"/>
                    <a:pt x="137" y="270"/>
                  </a:cubicBezTo>
                  <a:cubicBezTo>
                    <a:pt x="129" y="277"/>
                    <a:pt x="118" y="283"/>
                    <a:pt x="106" y="286"/>
                  </a:cubicBezTo>
                  <a:cubicBezTo>
                    <a:pt x="94" y="290"/>
                    <a:pt x="81" y="292"/>
                    <a:pt x="66" y="292"/>
                  </a:cubicBezTo>
                  <a:cubicBezTo>
                    <a:pt x="58" y="292"/>
                    <a:pt x="51" y="292"/>
                    <a:pt x="44" y="291"/>
                  </a:cubicBezTo>
                  <a:cubicBezTo>
                    <a:pt x="37" y="290"/>
                    <a:pt x="31" y="289"/>
                    <a:pt x="25" y="287"/>
                  </a:cubicBezTo>
                  <a:cubicBezTo>
                    <a:pt x="20" y="286"/>
                    <a:pt x="15" y="284"/>
                    <a:pt x="12" y="283"/>
                  </a:cubicBezTo>
                  <a:cubicBezTo>
                    <a:pt x="8" y="281"/>
                    <a:pt x="6" y="280"/>
                    <a:pt x="5" y="279"/>
                  </a:cubicBezTo>
                  <a:cubicBezTo>
                    <a:pt x="4" y="278"/>
                    <a:pt x="3" y="277"/>
                    <a:pt x="2" y="276"/>
                  </a:cubicBezTo>
                  <a:cubicBezTo>
                    <a:pt x="2" y="275"/>
                    <a:pt x="1" y="273"/>
                    <a:pt x="1" y="272"/>
                  </a:cubicBezTo>
                  <a:cubicBezTo>
                    <a:pt x="1" y="270"/>
                    <a:pt x="1" y="268"/>
                    <a:pt x="0" y="266"/>
                  </a:cubicBezTo>
                  <a:cubicBezTo>
                    <a:pt x="0" y="263"/>
                    <a:pt x="0" y="260"/>
                    <a:pt x="0" y="257"/>
                  </a:cubicBezTo>
                  <a:cubicBezTo>
                    <a:pt x="0" y="253"/>
                    <a:pt x="0" y="250"/>
                    <a:pt x="1" y="248"/>
                  </a:cubicBezTo>
                  <a:cubicBezTo>
                    <a:pt x="1" y="245"/>
                    <a:pt x="1" y="243"/>
                    <a:pt x="2" y="242"/>
                  </a:cubicBezTo>
                  <a:cubicBezTo>
                    <a:pt x="2" y="240"/>
                    <a:pt x="3" y="239"/>
                    <a:pt x="4" y="238"/>
                  </a:cubicBezTo>
                  <a:cubicBezTo>
                    <a:pt x="5" y="238"/>
                    <a:pt x="6" y="237"/>
                    <a:pt x="7" y="237"/>
                  </a:cubicBezTo>
                  <a:cubicBezTo>
                    <a:pt x="8" y="237"/>
                    <a:pt x="10" y="238"/>
                    <a:pt x="12" y="240"/>
                  </a:cubicBezTo>
                  <a:cubicBezTo>
                    <a:pt x="15" y="241"/>
                    <a:pt x="19" y="243"/>
                    <a:pt x="23" y="245"/>
                  </a:cubicBezTo>
                  <a:cubicBezTo>
                    <a:pt x="27" y="246"/>
                    <a:pt x="33" y="248"/>
                    <a:pt x="39" y="249"/>
                  </a:cubicBezTo>
                  <a:cubicBezTo>
                    <a:pt x="45" y="251"/>
                    <a:pt x="52" y="252"/>
                    <a:pt x="61" y="252"/>
                  </a:cubicBezTo>
                  <a:cubicBezTo>
                    <a:pt x="68" y="252"/>
                    <a:pt x="75" y="251"/>
                    <a:pt x="81" y="249"/>
                  </a:cubicBezTo>
                  <a:cubicBezTo>
                    <a:pt x="87" y="248"/>
                    <a:pt x="93" y="245"/>
                    <a:pt x="97" y="242"/>
                  </a:cubicBezTo>
                  <a:cubicBezTo>
                    <a:pt x="101" y="238"/>
                    <a:pt x="104" y="234"/>
                    <a:pt x="107" y="229"/>
                  </a:cubicBezTo>
                  <a:cubicBezTo>
                    <a:pt x="109" y="224"/>
                    <a:pt x="110" y="218"/>
                    <a:pt x="110" y="210"/>
                  </a:cubicBezTo>
                  <a:cubicBezTo>
                    <a:pt x="110" y="204"/>
                    <a:pt x="109" y="199"/>
                    <a:pt x="107" y="194"/>
                  </a:cubicBezTo>
                  <a:cubicBezTo>
                    <a:pt x="105" y="189"/>
                    <a:pt x="102" y="185"/>
                    <a:pt x="98" y="182"/>
                  </a:cubicBezTo>
                  <a:cubicBezTo>
                    <a:pt x="94" y="178"/>
                    <a:pt x="89" y="176"/>
                    <a:pt x="82" y="174"/>
                  </a:cubicBezTo>
                  <a:cubicBezTo>
                    <a:pt x="76" y="173"/>
                    <a:pt x="68" y="172"/>
                    <a:pt x="58" y="172"/>
                  </a:cubicBezTo>
                  <a:cubicBezTo>
                    <a:pt x="51" y="172"/>
                    <a:pt x="44" y="172"/>
                    <a:pt x="38" y="173"/>
                  </a:cubicBezTo>
                  <a:cubicBezTo>
                    <a:pt x="32" y="174"/>
                    <a:pt x="26" y="174"/>
                    <a:pt x="21" y="174"/>
                  </a:cubicBezTo>
                  <a:cubicBezTo>
                    <a:pt x="17" y="174"/>
                    <a:pt x="14" y="173"/>
                    <a:pt x="12" y="171"/>
                  </a:cubicBezTo>
                  <a:cubicBezTo>
                    <a:pt x="11" y="169"/>
                    <a:pt x="10" y="166"/>
                    <a:pt x="10" y="161"/>
                  </a:cubicBezTo>
                  <a:lnTo>
                    <a:pt x="10" y="52"/>
                  </a:lnTo>
                  <a:cubicBezTo>
                    <a:pt x="10" y="47"/>
                    <a:pt x="11" y="43"/>
                    <a:pt x="13" y="41"/>
                  </a:cubicBezTo>
                  <a:cubicBezTo>
                    <a:pt x="15" y="39"/>
                    <a:pt x="18" y="38"/>
                    <a:pt x="23" y="38"/>
                  </a:cubicBezTo>
                  <a:lnTo>
                    <a:pt x="141" y="38"/>
                  </a:lnTo>
                  <a:cubicBezTo>
                    <a:pt x="142" y="38"/>
                    <a:pt x="143" y="38"/>
                    <a:pt x="144" y="39"/>
                  </a:cubicBezTo>
                  <a:cubicBezTo>
                    <a:pt x="145" y="40"/>
                    <a:pt x="146" y="41"/>
                    <a:pt x="147" y="43"/>
                  </a:cubicBezTo>
                  <a:cubicBezTo>
                    <a:pt x="148" y="44"/>
                    <a:pt x="148" y="46"/>
                    <a:pt x="149" y="49"/>
                  </a:cubicBezTo>
                  <a:cubicBezTo>
                    <a:pt x="149" y="52"/>
                    <a:pt x="149" y="55"/>
                    <a:pt x="149" y="59"/>
                  </a:cubicBezTo>
                  <a:cubicBezTo>
                    <a:pt x="149" y="67"/>
                    <a:pt x="148" y="73"/>
                    <a:pt x="147" y="76"/>
                  </a:cubicBezTo>
                  <a:cubicBezTo>
                    <a:pt x="146" y="80"/>
                    <a:pt x="144" y="81"/>
                    <a:pt x="141" y="81"/>
                  </a:cubicBezTo>
                  <a:lnTo>
                    <a:pt x="52" y="81"/>
                  </a:lnTo>
                  <a:lnTo>
                    <a:pt x="52" y="135"/>
                  </a:lnTo>
                  <a:cubicBezTo>
                    <a:pt x="57" y="134"/>
                    <a:pt x="61" y="134"/>
                    <a:pt x="66" y="134"/>
                  </a:cubicBezTo>
                  <a:cubicBezTo>
                    <a:pt x="70" y="134"/>
                    <a:pt x="75" y="134"/>
                    <a:pt x="80" y="134"/>
                  </a:cubicBezTo>
                  <a:cubicBezTo>
                    <a:pt x="93" y="134"/>
                    <a:pt x="105" y="135"/>
                    <a:pt x="116" y="138"/>
                  </a:cubicBezTo>
                  <a:cubicBezTo>
                    <a:pt x="126" y="142"/>
                    <a:pt x="135" y="146"/>
                    <a:pt x="142" y="152"/>
                  </a:cubicBezTo>
                  <a:cubicBezTo>
                    <a:pt x="149" y="158"/>
                    <a:pt x="155" y="166"/>
                    <a:pt x="159" y="175"/>
                  </a:cubicBezTo>
                  <a:cubicBezTo>
                    <a:pt x="162" y="184"/>
                    <a:pt x="164" y="195"/>
                    <a:pt x="164" y="207"/>
                  </a:cubicBezTo>
                  <a:close/>
                  <a:moveTo>
                    <a:pt x="371" y="204"/>
                  </a:moveTo>
                  <a:cubicBezTo>
                    <a:pt x="371" y="217"/>
                    <a:pt x="369" y="229"/>
                    <a:pt x="365" y="239"/>
                  </a:cubicBezTo>
                  <a:cubicBezTo>
                    <a:pt x="361" y="250"/>
                    <a:pt x="356" y="259"/>
                    <a:pt x="348" y="267"/>
                  </a:cubicBezTo>
                  <a:cubicBezTo>
                    <a:pt x="341" y="275"/>
                    <a:pt x="331" y="281"/>
                    <a:pt x="320" y="286"/>
                  </a:cubicBezTo>
                  <a:cubicBezTo>
                    <a:pt x="310" y="290"/>
                    <a:pt x="297" y="292"/>
                    <a:pt x="283" y="292"/>
                  </a:cubicBezTo>
                  <a:cubicBezTo>
                    <a:pt x="271" y="292"/>
                    <a:pt x="261" y="291"/>
                    <a:pt x="252" y="288"/>
                  </a:cubicBezTo>
                  <a:cubicBezTo>
                    <a:pt x="244" y="286"/>
                    <a:pt x="236" y="282"/>
                    <a:pt x="230" y="277"/>
                  </a:cubicBezTo>
                  <a:cubicBezTo>
                    <a:pt x="223" y="272"/>
                    <a:pt x="218" y="266"/>
                    <a:pt x="214" y="259"/>
                  </a:cubicBezTo>
                  <a:cubicBezTo>
                    <a:pt x="210" y="252"/>
                    <a:pt x="207" y="244"/>
                    <a:pt x="205" y="235"/>
                  </a:cubicBezTo>
                  <a:cubicBezTo>
                    <a:pt x="202" y="226"/>
                    <a:pt x="201" y="216"/>
                    <a:pt x="200" y="206"/>
                  </a:cubicBezTo>
                  <a:cubicBezTo>
                    <a:pt x="199" y="195"/>
                    <a:pt x="198" y="184"/>
                    <a:pt x="198" y="173"/>
                  </a:cubicBezTo>
                  <a:cubicBezTo>
                    <a:pt x="198" y="163"/>
                    <a:pt x="199" y="153"/>
                    <a:pt x="200" y="142"/>
                  </a:cubicBezTo>
                  <a:cubicBezTo>
                    <a:pt x="201" y="131"/>
                    <a:pt x="203" y="121"/>
                    <a:pt x="206" y="110"/>
                  </a:cubicBezTo>
                  <a:cubicBezTo>
                    <a:pt x="208" y="100"/>
                    <a:pt x="212" y="90"/>
                    <a:pt x="217" y="81"/>
                  </a:cubicBezTo>
                  <a:cubicBezTo>
                    <a:pt x="222" y="72"/>
                    <a:pt x="229" y="63"/>
                    <a:pt x="237" y="56"/>
                  </a:cubicBezTo>
                  <a:cubicBezTo>
                    <a:pt x="245" y="49"/>
                    <a:pt x="254" y="44"/>
                    <a:pt x="265" y="40"/>
                  </a:cubicBezTo>
                  <a:cubicBezTo>
                    <a:pt x="277" y="36"/>
                    <a:pt x="290" y="34"/>
                    <a:pt x="306" y="34"/>
                  </a:cubicBezTo>
                  <a:cubicBezTo>
                    <a:pt x="310" y="34"/>
                    <a:pt x="315" y="34"/>
                    <a:pt x="320" y="34"/>
                  </a:cubicBezTo>
                  <a:cubicBezTo>
                    <a:pt x="325" y="35"/>
                    <a:pt x="330" y="36"/>
                    <a:pt x="334" y="37"/>
                  </a:cubicBezTo>
                  <a:cubicBezTo>
                    <a:pt x="338" y="38"/>
                    <a:pt x="342" y="39"/>
                    <a:pt x="345" y="40"/>
                  </a:cubicBezTo>
                  <a:cubicBezTo>
                    <a:pt x="348" y="41"/>
                    <a:pt x="350" y="42"/>
                    <a:pt x="351" y="43"/>
                  </a:cubicBezTo>
                  <a:cubicBezTo>
                    <a:pt x="352" y="44"/>
                    <a:pt x="353" y="44"/>
                    <a:pt x="353" y="45"/>
                  </a:cubicBezTo>
                  <a:cubicBezTo>
                    <a:pt x="354" y="47"/>
                    <a:pt x="354" y="48"/>
                    <a:pt x="354" y="49"/>
                  </a:cubicBezTo>
                  <a:cubicBezTo>
                    <a:pt x="355" y="50"/>
                    <a:pt x="355" y="52"/>
                    <a:pt x="355" y="53"/>
                  </a:cubicBezTo>
                  <a:cubicBezTo>
                    <a:pt x="355" y="55"/>
                    <a:pt x="355" y="57"/>
                    <a:pt x="355" y="60"/>
                  </a:cubicBezTo>
                  <a:cubicBezTo>
                    <a:pt x="355" y="64"/>
                    <a:pt x="355" y="67"/>
                    <a:pt x="355" y="70"/>
                  </a:cubicBezTo>
                  <a:cubicBezTo>
                    <a:pt x="355" y="73"/>
                    <a:pt x="354" y="75"/>
                    <a:pt x="354" y="76"/>
                  </a:cubicBezTo>
                  <a:cubicBezTo>
                    <a:pt x="353" y="78"/>
                    <a:pt x="353" y="79"/>
                    <a:pt x="352" y="79"/>
                  </a:cubicBezTo>
                  <a:cubicBezTo>
                    <a:pt x="351" y="80"/>
                    <a:pt x="350" y="80"/>
                    <a:pt x="348" y="80"/>
                  </a:cubicBezTo>
                  <a:cubicBezTo>
                    <a:pt x="347" y="80"/>
                    <a:pt x="345" y="80"/>
                    <a:pt x="342" y="79"/>
                  </a:cubicBezTo>
                  <a:cubicBezTo>
                    <a:pt x="340" y="78"/>
                    <a:pt x="337" y="77"/>
                    <a:pt x="334" y="76"/>
                  </a:cubicBezTo>
                  <a:cubicBezTo>
                    <a:pt x="330" y="75"/>
                    <a:pt x="326" y="74"/>
                    <a:pt x="321" y="74"/>
                  </a:cubicBezTo>
                  <a:cubicBezTo>
                    <a:pt x="317" y="73"/>
                    <a:pt x="311" y="72"/>
                    <a:pt x="305" y="72"/>
                  </a:cubicBezTo>
                  <a:cubicBezTo>
                    <a:pt x="295" y="72"/>
                    <a:pt x="286" y="74"/>
                    <a:pt x="278" y="78"/>
                  </a:cubicBezTo>
                  <a:cubicBezTo>
                    <a:pt x="271" y="82"/>
                    <a:pt x="265" y="87"/>
                    <a:pt x="261" y="94"/>
                  </a:cubicBezTo>
                  <a:cubicBezTo>
                    <a:pt x="256" y="101"/>
                    <a:pt x="253" y="108"/>
                    <a:pt x="251" y="117"/>
                  </a:cubicBezTo>
                  <a:cubicBezTo>
                    <a:pt x="249" y="126"/>
                    <a:pt x="248" y="135"/>
                    <a:pt x="248" y="145"/>
                  </a:cubicBezTo>
                  <a:cubicBezTo>
                    <a:pt x="251" y="143"/>
                    <a:pt x="254" y="141"/>
                    <a:pt x="258" y="139"/>
                  </a:cubicBezTo>
                  <a:cubicBezTo>
                    <a:pt x="261" y="138"/>
                    <a:pt x="265" y="136"/>
                    <a:pt x="270" y="135"/>
                  </a:cubicBezTo>
                  <a:cubicBezTo>
                    <a:pt x="274" y="133"/>
                    <a:pt x="278" y="132"/>
                    <a:pt x="284" y="132"/>
                  </a:cubicBezTo>
                  <a:cubicBezTo>
                    <a:pt x="289" y="131"/>
                    <a:pt x="294" y="130"/>
                    <a:pt x="300" y="130"/>
                  </a:cubicBezTo>
                  <a:cubicBezTo>
                    <a:pt x="312" y="130"/>
                    <a:pt x="323" y="132"/>
                    <a:pt x="332" y="136"/>
                  </a:cubicBezTo>
                  <a:cubicBezTo>
                    <a:pt x="341" y="139"/>
                    <a:pt x="348" y="144"/>
                    <a:pt x="354" y="150"/>
                  </a:cubicBezTo>
                  <a:cubicBezTo>
                    <a:pt x="360" y="157"/>
                    <a:pt x="364" y="165"/>
                    <a:pt x="367" y="174"/>
                  </a:cubicBezTo>
                  <a:cubicBezTo>
                    <a:pt x="370" y="183"/>
                    <a:pt x="371" y="193"/>
                    <a:pt x="371" y="204"/>
                  </a:cubicBezTo>
                  <a:close/>
                  <a:moveTo>
                    <a:pt x="321" y="209"/>
                  </a:moveTo>
                  <a:cubicBezTo>
                    <a:pt x="321" y="203"/>
                    <a:pt x="320" y="197"/>
                    <a:pt x="319" y="192"/>
                  </a:cubicBezTo>
                  <a:cubicBezTo>
                    <a:pt x="318" y="187"/>
                    <a:pt x="316" y="183"/>
                    <a:pt x="314" y="179"/>
                  </a:cubicBezTo>
                  <a:cubicBezTo>
                    <a:pt x="311" y="176"/>
                    <a:pt x="308" y="173"/>
                    <a:pt x="303" y="172"/>
                  </a:cubicBezTo>
                  <a:cubicBezTo>
                    <a:pt x="299" y="170"/>
                    <a:pt x="294" y="169"/>
                    <a:pt x="288" y="169"/>
                  </a:cubicBezTo>
                  <a:cubicBezTo>
                    <a:pt x="284" y="169"/>
                    <a:pt x="281" y="169"/>
                    <a:pt x="277" y="170"/>
                  </a:cubicBezTo>
                  <a:cubicBezTo>
                    <a:pt x="274" y="171"/>
                    <a:pt x="270" y="171"/>
                    <a:pt x="267" y="173"/>
                  </a:cubicBezTo>
                  <a:cubicBezTo>
                    <a:pt x="264" y="174"/>
                    <a:pt x="261" y="175"/>
                    <a:pt x="257" y="177"/>
                  </a:cubicBezTo>
                  <a:cubicBezTo>
                    <a:pt x="254" y="178"/>
                    <a:pt x="251" y="180"/>
                    <a:pt x="249" y="182"/>
                  </a:cubicBezTo>
                  <a:cubicBezTo>
                    <a:pt x="249" y="196"/>
                    <a:pt x="250" y="207"/>
                    <a:pt x="251" y="216"/>
                  </a:cubicBezTo>
                  <a:cubicBezTo>
                    <a:pt x="253" y="226"/>
                    <a:pt x="255" y="233"/>
                    <a:pt x="258" y="238"/>
                  </a:cubicBezTo>
                  <a:cubicBezTo>
                    <a:pt x="261" y="244"/>
                    <a:pt x="265" y="248"/>
                    <a:pt x="269" y="250"/>
                  </a:cubicBezTo>
                  <a:cubicBezTo>
                    <a:pt x="274" y="252"/>
                    <a:pt x="279" y="253"/>
                    <a:pt x="285" y="253"/>
                  </a:cubicBezTo>
                  <a:cubicBezTo>
                    <a:pt x="291" y="253"/>
                    <a:pt x="296" y="252"/>
                    <a:pt x="301" y="250"/>
                  </a:cubicBezTo>
                  <a:cubicBezTo>
                    <a:pt x="305" y="248"/>
                    <a:pt x="309" y="245"/>
                    <a:pt x="312" y="241"/>
                  </a:cubicBezTo>
                  <a:cubicBezTo>
                    <a:pt x="315" y="237"/>
                    <a:pt x="317" y="232"/>
                    <a:pt x="319" y="227"/>
                  </a:cubicBezTo>
                  <a:cubicBezTo>
                    <a:pt x="320" y="221"/>
                    <a:pt x="321" y="215"/>
                    <a:pt x="321" y="209"/>
                  </a:cubicBezTo>
                  <a:close/>
                  <a:moveTo>
                    <a:pt x="567" y="59"/>
                  </a:moveTo>
                  <a:cubicBezTo>
                    <a:pt x="567" y="63"/>
                    <a:pt x="567" y="66"/>
                    <a:pt x="567" y="69"/>
                  </a:cubicBezTo>
                  <a:cubicBezTo>
                    <a:pt x="567" y="72"/>
                    <a:pt x="566" y="74"/>
                    <a:pt x="566" y="77"/>
                  </a:cubicBezTo>
                  <a:cubicBezTo>
                    <a:pt x="565" y="79"/>
                    <a:pt x="565" y="81"/>
                    <a:pt x="564" y="83"/>
                  </a:cubicBezTo>
                  <a:cubicBezTo>
                    <a:pt x="563" y="86"/>
                    <a:pt x="562" y="88"/>
                    <a:pt x="561" y="90"/>
                  </a:cubicBezTo>
                  <a:lnTo>
                    <a:pt x="479" y="281"/>
                  </a:lnTo>
                  <a:cubicBezTo>
                    <a:pt x="478" y="283"/>
                    <a:pt x="477" y="284"/>
                    <a:pt x="476" y="285"/>
                  </a:cubicBezTo>
                  <a:cubicBezTo>
                    <a:pt x="475" y="286"/>
                    <a:pt x="473" y="287"/>
                    <a:pt x="471" y="288"/>
                  </a:cubicBezTo>
                  <a:cubicBezTo>
                    <a:pt x="469" y="288"/>
                    <a:pt x="466" y="288"/>
                    <a:pt x="463" y="289"/>
                  </a:cubicBezTo>
                  <a:cubicBezTo>
                    <a:pt x="459" y="289"/>
                    <a:pt x="455" y="289"/>
                    <a:pt x="450" y="289"/>
                  </a:cubicBezTo>
                  <a:cubicBezTo>
                    <a:pt x="443" y="289"/>
                    <a:pt x="438" y="289"/>
                    <a:pt x="434" y="288"/>
                  </a:cubicBezTo>
                  <a:cubicBezTo>
                    <a:pt x="430" y="288"/>
                    <a:pt x="427" y="287"/>
                    <a:pt x="425" y="286"/>
                  </a:cubicBezTo>
                  <a:cubicBezTo>
                    <a:pt x="423" y="285"/>
                    <a:pt x="422" y="284"/>
                    <a:pt x="422" y="282"/>
                  </a:cubicBezTo>
                  <a:cubicBezTo>
                    <a:pt x="422" y="281"/>
                    <a:pt x="422" y="279"/>
                    <a:pt x="423" y="277"/>
                  </a:cubicBezTo>
                  <a:lnTo>
                    <a:pt x="512" y="82"/>
                  </a:lnTo>
                  <a:lnTo>
                    <a:pt x="407" y="82"/>
                  </a:lnTo>
                  <a:cubicBezTo>
                    <a:pt x="404" y="82"/>
                    <a:pt x="402" y="80"/>
                    <a:pt x="401" y="76"/>
                  </a:cubicBezTo>
                  <a:cubicBezTo>
                    <a:pt x="399" y="73"/>
                    <a:pt x="398" y="67"/>
                    <a:pt x="398" y="60"/>
                  </a:cubicBezTo>
                  <a:cubicBezTo>
                    <a:pt x="398" y="56"/>
                    <a:pt x="399" y="52"/>
                    <a:pt x="399" y="50"/>
                  </a:cubicBezTo>
                  <a:cubicBezTo>
                    <a:pt x="399" y="47"/>
                    <a:pt x="400" y="45"/>
                    <a:pt x="401" y="43"/>
                  </a:cubicBezTo>
                  <a:cubicBezTo>
                    <a:pt x="401" y="41"/>
                    <a:pt x="402" y="40"/>
                    <a:pt x="403" y="39"/>
                  </a:cubicBezTo>
                  <a:cubicBezTo>
                    <a:pt x="404" y="38"/>
                    <a:pt x="405" y="38"/>
                    <a:pt x="407" y="38"/>
                  </a:cubicBezTo>
                  <a:lnTo>
                    <a:pt x="555" y="38"/>
                  </a:lnTo>
                  <a:cubicBezTo>
                    <a:pt x="557" y="38"/>
                    <a:pt x="559" y="38"/>
                    <a:pt x="561" y="38"/>
                  </a:cubicBezTo>
                  <a:cubicBezTo>
                    <a:pt x="563" y="39"/>
                    <a:pt x="564" y="40"/>
                    <a:pt x="565" y="41"/>
                  </a:cubicBezTo>
                  <a:cubicBezTo>
                    <a:pt x="566" y="43"/>
                    <a:pt x="566" y="45"/>
                    <a:pt x="567" y="48"/>
                  </a:cubicBezTo>
                  <a:cubicBezTo>
                    <a:pt x="567" y="51"/>
                    <a:pt x="567" y="55"/>
                    <a:pt x="567" y="59"/>
                  </a:cubicBezTo>
                  <a:close/>
                  <a:moveTo>
                    <a:pt x="632" y="338"/>
                  </a:moveTo>
                  <a:cubicBezTo>
                    <a:pt x="631" y="340"/>
                    <a:pt x="631" y="341"/>
                    <a:pt x="630" y="342"/>
                  </a:cubicBezTo>
                  <a:cubicBezTo>
                    <a:pt x="629" y="343"/>
                    <a:pt x="627" y="344"/>
                    <a:pt x="625" y="344"/>
                  </a:cubicBezTo>
                  <a:cubicBezTo>
                    <a:pt x="623" y="345"/>
                    <a:pt x="621" y="346"/>
                    <a:pt x="618" y="346"/>
                  </a:cubicBezTo>
                  <a:cubicBezTo>
                    <a:pt x="616" y="346"/>
                    <a:pt x="612" y="346"/>
                    <a:pt x="608" y="346"/>
                  </a:cubicBezTo>
                  <a:cubicBezTo>
                    <a:pt x="602" y="346"/>
                    <a:pt x="598" y="346"/>
                    <a:pt x="595" y="346"/>
                  </a:cubicBezTo>
                  <a:cubicBezTo>
                    <a:pt x="591" y="345"/>
                    <a:pt x="589" y="344"/>
                    <a:pt x="587" y="343"/>
                  </a:cubicBezTo>
                  <a:cubicBezTo>
                    <a:pt x="585" y="342"/>
                    <a:pt x="584" y="341"/>
                    <a:pt x="584" y="339"/>
                  </a:cubicBezTo>
                  <a:cubicBezTo>
                    <a:pt x="584" y="338"/>
                    <a:pt x="584" y="336"/>
                    <a:pt x="585" y="334"/>
                  </a:cubicBezTo>
                  <a:lnTo>
                    <a:pt x="700" y="9"/>
                  </a:lnTo>
                  <a:cubicBezTo>
                    <a:pt x="701" y="7"/>
                    <a:pt x="702" y="6"/>
                    <a:pt x="703" y="5"/>
                  </a:cubicBezTo>
                  <a:cubicBezTo>
                    <a:pt x="704" y="4"/>
                    <a:pt x="705" y="3"/>
                    <a:pt x="707" y="2"/>
                  </a:cubicBezTo>
                  <a:cubicBezTo>
                    <a:pt x="709" y="2"/>
                    <a:pt x="711" y="1"/>
                    <a:pt x="714" y="1"/>
                  </a:cubicBezTo>
                  <a:cubicBezTo>
                    <a:pt x="717" y="1"/>
                    <a:pt x="721" y="0"/>
                    <a:pt x="725" y="0"/>
                  </a:cubicBezTo>
                  <a:cubicBezTo>
                    <a:pt x="730" y="0"/>
                    <a:pt x="734" y="1"/>
                    <a:pt x="738" y="1"/>
                  </a:cubicBezTo>
                  <a:cubicBezTo>
                    <a:pt x="741" y="2"/>
                    <a:pt x="743" y="3"/>
                    <a:pt x="745" y="4"/>
                  </a:cubicBezTo>
                  <a:cubicBezTo>
                    <a:pt x="747" y="5"/>
                    <a:pt x="748" y="6"/>
                    <a:pt x="748" y="7"/>
                  </a:cubicBezTo>
                  <a:cubicBezTo>
                    <a:pt x="748" y="9"/>
                    <a:pt x="748" y="11"/>
                    <a:pt x="747" y="13"/>
                  </a:cubicBezTo>
                  <a:lnTo>
                    <a:pt x="632" y="338"/>
                  </a:lnTo>
                  <a:close/>
                  <a:moveTo>
                    <a:pt x="946" y="216"/>
                  </a:moveTo>
                  <a:cubicBezTo>
                    <a:pt x="946" y="222"/>
                    <a:pt x="945" y="227"/>
                    <a:pt x="944" y="231"/>
                  </a:cubicBezTo>
                  <a:cubicBezTo>
                    <a:pt x="943" y="234"/>
                    <a:pt x="941" y="236"/>
                    <a:pt x="938" y="236"/>
                  </a:cubicBezTo>
                  <a:lnTo>
                    <a:pt x="916" y="236"/>
                  </a:lnTo>
                  <a:lnTo>
                    <a:pt x="916" y="281"/>
                  </a:lnTo>
                  <a:cubicBezTo>
                    <a:pt x="916" y="283"/>
                    <a:pt x="916" y="284"/>
                    <a:pt x="915" y="285"/>
                  </a:cubicBezTo>
                  <a:cubicBezTo>
                    <a:pt x="914" y="286"/>
                    <a:pt x="913" y="286"/>
                    <a:pt x="911" y="287"/>
                  </a:cubicBezTo>
                  <a:cubicBezTo>
                    <a:pt x="909" y="288"/>
                    <a:pt x="906" y="288"/>
                    <a:pt x="903" y="288"/>
                  </a:cubicBezTo>
                  <a:cubicBezTo>
                    <a:pt x="900" y="289"/>
                    <a:pt x="896" y="289"/>
                    <a:pt x="891" y="289"/>
                  </a:cubicBezTo>
                  <a:cubicBezTo>
                    <a:pt x="887" y="289"/>
                    <a:pt x="883" y="289"/>
                    <a:pt x="880" y="288"/>
                  </a:cubicBezTo>
                  <a:cubicBezTo>
                    <a:pt x="877" y="288"/>
                    <a:pt x="874" y="288"/>
                    <a:pt x="872" y="287"/>
                  </a:cubicBezTo>
                  <a:cubicBezTo>
                    <a:pt x="870" y="286"/>
                    <a:pt x="869" y="286"/>
                    <a:pt x="868" y="285"/>
                  </a:cubicBezTo>
                  <a:cubicBezTo>
                    <a:pt x="868" y="284"/>
                    <a:pt x="867" y="283"/>
                    <a:pt x="867" y="281"/>
                  </a:cubicBezTo>
                  <a:lnTo>
                    <a:pt x="867" y="236"/>
                  </a:lnTo>
                  <a:lnTo>
                    <a:pt x="772" y="236"/>
                  </a:lnTo>
                  <a:cubicBezTo>
                    <a:pt x="770" y="236"/>
                    <a:pt x="768" y="236"/>
                    <a:pt x="767" y="235"/>
                  </a:cubicBezTo>
                  <a:cubicBezTo>
                    <a:pt x="765" y="235"/>
                    <a:pt x="764" y="234"/>
                    <a:pt x="763" y="232"/>
                  </a:cubicBezTo>
                  <a:cubicBezTo>
                    <a:pt x="762" y="231"/>
                    <a:pt x="762" y="228"/>
                    <a:pt x="761" y="225"/>
                  </a:cubicBezTo>
                  <a:cubicBezTo>
                    <a:pt x="761" y="222"/>
                    <a:pt x="760" y="218"/>
                    <a:pt x="760" y="213"/>
                  </a:cubicBezTo>
                  <a:cubicBezTo>
                    <a:pt x="760" y="209"/>
                    <a:pt x="760" y="205"/>
                    <a:pt x="761" y="203"/>
                  </a:cubicBezTo>
                  <a:cubicBezTo>
                    <a:pt x="761" y="199"/>
                    <a:pt x="761" y="197"/>
                    <a:pt x="762" y="194"/>
                  </a:cubicBezTo>
                  <a:cubicBezTo>
                    <a:pt x="762" y="192"/>
                    <a:pt x="763" y="190"/>
                    <a:pt x="764" y="187"/>
                  </a:cubicBezTo>
                  <a:cubicBezTo>
                    <a:pt x="764" y="185"/>
                    <a:pt x="766" y="183"/>
                    <a:pt x="767" y="180"/>
                  </a:cubicBezTo>
                  <a:lnTo>
                    <a:pt x="844" y="43"/>
                  </a:lnTo>
                  <a:cubicBezTo>
                    <a:pt x="845" y="42"/>
                    <a:pt x="846" y="41"/>
                    <a:pt x="848" y="40"/>
                  </a:cubicBezTo>
                  <a:cubicBezTo>
                    <a:pt x="849" y="40"/>
                    <a:pt x="851" y="39"/>
                    <a:pt x="854" y="38"/>
                  </a:cubicBezTo>
                  <a:cubicBezTo>
                    <a:pt x="857" y="38"/>
                    <a:pt x="860" y="37"/>
                    <a:pt x="865" y="37"/>
                  </a:cubicBezTo>
                  <a:cubicBezTo>
                    <a:pt x="869" y="37"/>
                    <a:pt x="874" y="37"/>
                    <a:pt x="880" y="37"/>
                  </a:cubicBezTo>
                  <a:cubicBezTo>
                    <a:pt x="887" y="37"/>
                    <a:pt x="892" y="37"/>
                    <a:pt x="897" y="37"/>
                  </a:cubicBezTo>
                  <a:cubicBezTo>
                    <a:pt x="902" y="37"/>
                    <a:pt x="905" y="38"/>
                    <a:pt x="908" y="39"/>
                  </a:cubicBezTo>
                  <a:cubicBezTo>
                    <a:pt x="911" y="39"/>
                    <a:pt x="913" y="40"/>
                    <a:pt x="914" y="41"/>
                  </a:cubicBezTo>
                  <a:cubicBezTo>
                    <a:pt x="915" y="42"/>
                    <a:pt x="916" y="44"/>
                    <a:pt x="916" y="45"/>
                  </a:cubicBezTo>
                  <a:lnTo>
                    <a:pt x="916" y="195"/>
                  </a:lnTo>
                  <a:lnTo>
                    <a:pt x="938" y="195"/>
                  </a:lnTo>
                  <a:cubicBezTo>
                    <a:pt x="940" y="195"/>
                    <a:pt x="942" y="197"/>
                    <a:pt x="944" y="200"/>
                  </a:cubicBezTo>
                  <a:cubicBezTo>
                    <a:pt x="945" y="203"/>
                    <a:pt x="946" y="209"/>
                    <a:pt x="946" y="216"/>
                  </a:cubicBezTo>
                  <a:close/>
                  <a:moveTo>
                    <a:pt x="867" y="80"/>
                  </a:moveTo>
                  <a:lnTo>
                    <a:pt x="867" y="80"/>
                  </a:lnTo>
                  <a:lnTo>
                    <a:pt x="801" y="195"/>
                  </a:lnTo>
                  <a:lnTo>
                    <a:pt x="867" y="195"/>
                  </a:lnTo>
                  <a:lnTo>
                    <a:pt x="867" y="80"/>
                  </a:ln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52" name="Freeform 1204"/>
            <p:cNvSpPr>
              <a:spLocks noEditPoints="1"/>
            </p:cNvSpPr>
            <p:nvPr/>
          </p:nvSpPr>
          <p:spPr bwMode="auto">
            <a:xfrm>
              <a:off x="4579644" y="1746378"/>
              <a:ext cx="426361" cy="157395"/>
            </a:xfrm>
            <a:custGeom>
              <a:avLst/>
              <a:gdLst/>
              <a:ahLst/>
              <a:cxnLst>
                <a:cxn ang="0">
                  <a:pos x="137" y="269"/>
                </a:cxn>
                <a:cxn ang="0">
                  <a:pos x="44" y="290"/>
                </a:cxn>
                <a:cxn ang="0">
                  <a:pos x="5" y="278"/>
                </a:cxn>
                <a:cxn ang="0">
                  <a:pos x="0" y="265"/>
                </a:cxn>
                <a:cxn ang="0">
                  <a:pos x="2" y="241"/>
                </a:cxn>
                <a:cxn ang="0">
                  <a:pos x="12" y="239"/>
                </a:cxn>
                <a:cxn ang="0">
                  <a:pos x="61" y="251"/>
                </a:cxn>
                <a:cxn ang="0">
                  <a:pos x="107" y="228"/>
                </a:cxn>
                <a:cxn ang="0">
                  <a:pos x="98" y="181"/>
                </a:cxn>
                <a:cxn ang="0">
                  <a:pos x="38" y="172"/>
                </a:cxn>
                <a:cxn ang="0">
                  <a:pos x="10" y="160"/>
                </a:cxn>
                <a:cxn ang="0">
                  <a:pos x="22" y="37"/>
                </a:cxn>
                <a:cxn ang="0">
                  <a:pos x="147" y="42"/>
                </a:cxn>
                <a:cxn ang="0">
                  <a:pos x="147" y="75"/>
                </a:cxn>
                <a:cxn ang="0">
                  <a:pos x="52" y="134"/>
                </a:cxn>
                <a:cxn ang="0">
                  <a:pos x="116" y="138"/>
                </a:cxn>
                <a:cxn ang="0">
                  <a:pos x="164" y="206"/>
                </a:cxn>
                <a:cxn ang="0">
                  <a:pos x="367" y="235"/>
                </a:cxn>
                <a:cxn ang="0">
                  <a:pos x="344" y="284"/>
                </a:cxn>
                <a:cxn ang="0">
                  <a:pos x="320" y="288"/>
                </a:cxn>
                <a:cxn ang="0">
                  <a:pos x="297" y="284"/>
                </a:cxn>
                <a:cxn ang="0">
                  <a:pos x="200" y="235"/>
                </a:cxn>
                <a:cxn ang="0">
                  <a:pos x="190" y="225"/>
                </a:cxn>
                <a:cxn ang="0">
                  <a:pos x="190" y="194"/>
                </a:cxn>
                <a:cxn ang="0">
                  <a:pos x="273" y="43"/>
                </a:cxn>
                <a:cxn ang="0">
                  <a:pos x="293" y="36"/>
                </a:cxn>
                <a:cxn ang="0">
                  <a:pos x="337" y="38"/>
                </a:cxn>
                <a:cxn ang="0">
                  <a:pos x="345" y="195"/>
                </a:cxn>
                <a:cxn ang="0">
                  <a:pos x="375" y="215"/>
                </a:cxn>
                <a:cxn ang="0">
                  <a:pos x="230" y="195"/>
                </a:cxn>
                <a:cxn ang="0">
                  <a:pos x="575" y="215"/>
                </a:cxn>
                <a:cxn ang="0">
                  <a:pos x="545" y="235"/>
                </a:cxn>
                <a:cxn ang="0">
                  <a:pos x="540" y="286"/>
                </a:cxn>
                <a:cxn ang="0">
                  <a:pos x="509" y="288"/>
                </a:cxn>
                <a:cxn ang="0">
                  <a:pos x="496" y="281"/>
                </a:cxn>
                <a:cxn ang="0">
                  <a:pos x="396" y="235"/>
                </a:cxn>
                <a:cxn ang="0">
                  <a:pos x="390" y="213"/>
                </a:cxn>
                <a:cxn ang="0">
                  <a:pos x="393" y="187"/>
                </a:cxn>
                <a:cxn ang="0">
                  <a:pos x="477" y="40"/>
                </a:cxn>
                <a:cxn ang="0">
                  <a:pos x="509" y="36"/>
                </a:cxn>
                <a:cxn ang="0">
                  <a:pos x="543" y="41"/>
                </a:cxn>
                <a:cxn ang="0">
                  <a:pos x="568" y="195"/>
                </a:cxn>
                <a:cxn ang="0">
                  <a:pos x="496" y="80"/>
                </a:cxn>
                <a:cxn ang="0">
                  <a:pos x="496" y="195"/>
                </a:cxn>
                <a:cxn ang="0">
                  <a:pos x="629" y="341"/>
                </a:cxn>
                <a:cxn ang="0">
                  <a:pos x="608" y="346"/>
                </a:cxn>
                <a:cxn ang="0">
                  <a:pos x="584" y="339"/>
                </a:cxn>
                <a:cxn ang="0">
                  <a:pos x="703" y="4"/>
                </a:cxn>
                <a:cxn ang="0">
                  <a:pos x="724" y="0"/>
                </a:cxn>
                <a:cxn ang="0">
                  <a:pos x="748" y="7"/>
                </a:cxn>
                <a:cxn ang="0">
                  <a:pos x="938" y="59"/>
                </a:cxn>
                <a:cxn ang="0">
                  <a:pos x="934" y="83"/>
                </a:cxn>
                <a:cxn ang="0">
                  <a:pos x="846" y="285"/>
                </a:cxn>
                <a:cxn ang="0">
                  <a:pos x="820" y="288"/>
                </a:cxn>
                <a:cxn ang="0">
                  <a:pos x="792" y="282"/>
                </a:cxn>
                <a:cxn ang="0">
                  <a:pos x="777" y="81"/>
                </a:cxn>
                <a:cxn ang="0">
                  <a:pos x="769" y="49"/>
                </a:cxn>
                <a:cxn ang="0">
                  <a:pos x="777" y="37"/>
                </a:cxn>
                <a:cxn ang="0">
                  <a:pos x="935" y="41"/>
                </a:cxn>
              </a:cxnLst>
              <a:rect l="0" t="0" r="r" b="b"/>
              <a:pathLst>
                <a:path w="938" h="346">
                  <a:moveTo>
                    <a:pt x="164" y="206"/>
                  </a:moveTo>
                  <a:cubicBezTo>
                    <a:pt x="164" y="220"/>
                    <a:pt x="162" y="232"/>
                    <a:pt x="157" y="242"/>
                  </a:cubicBezTo>
                  <a:cubicBezTo>
                    <a:pt x="152" y="253"/>
                    <a:pt x="146" y="262"/>
                    <a:pt x="137" y="269"/>
                  </a:cubicBezTo>
                  <a:cubicBezTo>
                    <a:pt x="128" y="276"/>
                    <a:pt x="118" y="282"/>
                    <a:pt x="106" y="286"/>
                  </a:cubicBezTo>
                  <a:cubicBezTo>
                    <a:pt x="94" y="290"/>
                    <a:pt x="81" y="292"/>
                    <a:pt x="66" y="292"/>
                  </a:cubicBezTo>
                  <a:cubicBezTo>
                    <a:pt x="58" y="292"/>
                    <a:pt x="51" y="291"/>
                    <a:pt x="44" y="290"/>
                  </a:cubicBezTo>
                  <a:cubicBezTo>
                    <a:pt x="37" y="289"/>
                    <a:pt x="31" y="288"/>
                    <a:pt x="25" y="287"/>
                  </a:cubicBezTo>
                  <a:cubicBezTo>
                    <a:pt x="20" y="285"/>
                    <a:pt x="15" y="284"/>
                    <a:pt x="12" y="282"/>
                  </a:cubicBezTo>
                  <a:cubicBezTo>
                    <a:pt x="8" y="281"/>
                    <a:pt x="6" y="279"/>
                    <a:pt x="5" y="278"/>
                  </a:cubicBezTo>
                  <a:cubicBezTo>
                    <a:pt x="4" y="277"/>
                    <a:pt x="3" y="276"/>
                    <a:pt x="2" y="275"/>
                  </a:cubicBezTo>
                  <a:cubicBezTo>
                    <a:pt x="2" y="274"/>
                    <a:pt x="1" y="273"/>
                    <a:pt x="1" y="271"/>
                  </a:cubicBezTo>
                  <a:cubicBezTo>
                    <a:pt x="1" y="269"/>
                    <a:pt x="0" y="267"/>
                    <a:pt x="0" y="265"/>
                  </a:cubicBezTo>
                  <a:cubicBezTo>
                    <a:pt x="0" y="263"/>
                    <a:pt x="0" y="260"/>
                    <a:pt x="0" y="256"/>
                  </a:cubicBezTo>
                  <a:cubicBezTo>
                    <a:pt x="0" y="253"/>
                    <a:pt x="0" y="250"/>
                    <a:pt x="0" y="247"/>
                  </a:cubicBezTo>
                  <a:cubicBezTo>
                    <a:pt x="1" y="245"/>
                    <a:pt x="1" y="243"/>
                    <a:pt x="2" y="241"/>
                  </a:cubicBezTo>
                  <a:cubicBezTo>
                    <a:pt x="2" y="239"/>
                    <a:pt x="3" y="238"/>
                    <a:pt x="4" y="238"/>
                  </a:cubicBezTo>
                  <a:cubicBezTo>
                    <a:pt x="5" y="237"/>
                    <a:pt x="5" y="237"/>
                    <a:pt x="6" y="237"/>
                  </a:cubicBezTo>
                  <a:cubicBezTo>
                    <a:pt x="8" y="237"/>
                    <a:pt x="10" y="238"/>
                    <a:pt x="12" y="239"/>
                  </a:cubicBezTo>
                  <a:cubicBezTo>
                    <a:pt x="15" y="241"/>
                    <a:pt x="18" y="242"/>
                    <a:pt x="23" y="244"/>
                  </a:cubicBezTo>
                  <a:cubicBezTo>
                    <a:pt x="27" y="246"/>
                    <a:pt x="32" y="247"/>
                    <a:pt x="38" y="249"/>
                  </a:cubicBezTo>
                  <a:cubicBezTo>
                    <a:pt x="45" y="250"/>
                    <a:pt x="52" y="251"/>
                    <a:pt x="61" y="251"/>
                  </a:cubicBezTo>
                  <a:cubicBezTo>
                    <a:pt x="68" y="251"/>
                    <a:pt x="75" y="250"/>
                    <a:pt x="81" y="249"/>
                  </a:cubicBezTo>
                  <a:cubicBezTo>
                    <a:pt x="87" y="247"/>
                    <a:pt x="92" y="245"/>
                    <a:pt x="97" y="241"/>
                  </a:cubicBezTo>
                  <a:cubicBezTo>
                    <a:pt x="101" y="238"/>
                    <a:pt x="104" y="234"/>
                    <a:pt x="107" y="228"/>
                  </a:cubicBezTo>
                  <a:cubicBezTo>
                    <a:pt x="109" y="223"/>
                    <a:pt x="110" y="217"/>
                    <a:pt x="110" y="210"/>
                  </a:cubicBezTo>
                  <a:cubicBezTo>
                    <a:pt x="110" y="204"/>
                    <a:pt x="109" y="198"/>
                    <a:pt x="107" y="193"/>
                  </a:cubicBezTo>
                  <a:cubicBezTo>
                    <a:pt x="105" y="189"/>
                    <a:pt x="102" y="184"/>
                    <a:pt x="98" y="181"/>
                  </a:cubicBezTo>
                  <a:cubicBezTo>
                    <a:pt x="94" y="178"/>
                    <a:pt x="89" y="175"/>
                    <a:pt x="82" y="174"/>
                  </a:cubicBezTo>
                  <a:cubicBezTo>
                    <a:pt x="75" y="172"/>
                    <a:pt x="67" y="171"/>
                    <a:pt x="58" y="171"/>
                  </a:cubicBezTo>
                  <a:cubicBezTo>
                    <a:pt x="51" y="171"/>
                    <a:pt x="44" y="171"/>
                    <a:pt x="38" y="172"/>
                  </a:cubicBezTo>
                  <a:cubicBezTo>
                    <a:pt x="31" y="173"/>
                    <a:pt x="26" y="173"/>
                    <a:pt x="20" y="173"/>
                  </a:cubicBezTo>
                  <a:cubicBezTo>
                    <a:pt x="17" y="173"/>
                    <a:pt x="14" y="172"/>
                    <a:pt x="12" y="171"/>
                  </a:cubicBezTo>
                  <a:cubicBezTo>
                    <a:pt x="11" y="169"/>
                    <a:pt x="10" y="165"/>
                    <a:pt x="10" y="160"/>
                  </a:cubicBezTo>
                  <a:lnTo>
                    <a:pt x="10" y="52"/>
                  </a:lnTo>
                  <a:cubicBezTo>
                    <a:pt x="10" y="47"/>
                    <a:pt x="11" y="43"/>
                    <a:pt x="13" y="41"/>
                  </a:cubicBezTo>
                  <a:cubicBezTo>
                    <a:pt x="15" y="38"/>
                    <a:pt x="18" y="37"/>
                    <a:pt x="22" y="37"/>
                  </a:cubicBezTo>
                  <a:lnTo>
                    <a:pt x="141" y="37"/>
                  </a:lnTo>
                  <a:cubicBezTo>
                    <a:pt x="142" y="37"/>
                    <a:pt x="143" y="38"/>
                    <a:pt x="144" y="38"/>
                  </a:cubicBezTo>
                  <a:cubicBezTo>
                    <a:pt x="145" y="39"/>
                    <a:pt x="146" y="40"/>
                    <a:pt x="147" y="42"/>
                  </a:cubicBezTo>
                  <a:cubicBezTo>
                    <a:pt x="147" y="44"/>
                    <a:pt x="148" y="46"/>
                    <a:pt x="148" y="49"/>
                  </a:cubicBezTo>
                  <a:cubicBezTo>
                    <a:pt x="149" y="51"/>
                    <a:pt x="149" y="55"/>
                    <a:pt x="149" y="59"/>
                  </a:cubicBezTo>
                  <a:cubicBezTo>
                    <a:pt x="149" y="66"/>
                    <a:pt x="148" y="72"/>
                    <a:pt x="147" y="75"/>
                  </a:cubicBezTo>
                  <a:cubicBezTo>
                    <a:pt x="145" y="79"/>
                    <a:pt x="143" y="81"/>
                    <a:pt x="141" y="81"/>
                  </a:cubicBezTo>
                  <a:lnTo>
                    <a:pt x="52" y="81"/>
                  </a:lnTo>
                  <a:lnTo>
                    <a:pt x="52" y="134"/>
                  </a:lnTo>
                  <a:cubicBezTo>
                    <a:pt x="57" y="134"/>
                    <a:pt x="61" y="133"/>
                    <a:pt x="65" y="133"/>
                  </a:cubicBezTo>
                  <a:cubicBezTo>
                    <a:pt x="70" y="133"/>
                    <a:pt x="75" y="133"/>
                    <a:pt x="79" y="133"/>
                  </a:cubicBezTo>
                  <a:cubicBezTo>
                    <a:pt x="93" y="133"/>
                    <a:pt x="105" y="135"/>
                    <a:pt x="116" y="138"/>
                  </a:cubicBezTo>
                  <a:cubicBezTo>
                    <a:pt x="126" y="141"/>
                    <a:pt x="135" y="146"/>
                    <a:pt x="142" y="152"/>
                  </a:cubicBezTo>
                  <a:cubicBezTo>
                    <a:pt x="149" y="158"/>
                    <a:pt x="155" y="165"/>
                    <a:pt x="158" y="174"/>
                  </a:cubicBezTo>
                  <a:cubicBezTo>
                    <a:pt x="162" y="184"/>
                    <a:pt x="164" y="194"/>
                    <a:pt x="164" y="206"/>
                  </a:cubicBezTo>
                  <a:close/>
                  <a:moveTo>
                    <a:pt x="375" y="215"/>
                  </a:moveTo>
                  <a:cubicBezTo>
                    <a:pt x="375" y="222"/>
                    <a:pt x="374" y="227"/>
                    <a:pt x="372" y="230"/>
                  </a:cubicBezTo>
                  <a:cubicBezTo>
                    <a:pt x="371" y="234"/>
                    <a:pt x="369" y="235"/>
                    <a:pt x="367" y="235"/>
                  </a:cubicBezTo>
                  <a:lnTo>
                    <a:pt x="345" y="235"/>
                  </a:lnTo>
                  <a:lnTo>
                    <a:pt x="345" y="281"/>
                  </a:lnTo>
                  <a:cubicBezTo>
                    <a:pt x="345" y="282"/>
                    <a:pt x="344" y="283"/>
                    <a:pt x="344" y="284"/>
                  </a:cubicBezTo>
                  <a:cubicBezTo>
                    <a:pt x="343" y="285"/>
                    <a:pt x="341" y="286"/>
                    <a:pt x="340" y="286"/>
                  </a:cubicBezTo>
                  <a:cubicBezTo>
                    <a:pt x="338" y="287"/>
                    <a:pt x="335" y="288"/>
                    <a:pt x="332" y="288"/>
                  </a:cubicBezTo>
                  <a:cubicBezTo>
                    <a:pt x="329" y="288"/>
                    <a:pt x="325" y="288"/>
                    <a:pt x="320" y="288"/>
                  </a:cubicBezTo>
                  <a:cubicBezTo>
                    <a:pt x="315" y="288"/>
                    <a:pt x="311" y="288"/>
                    <a:pt x="308" y="288"/>
                  </a:cubicBezTo>
                  <a:cubicBezTo>
                    <a:pt x="305" y="288"/>
                    <a:pt x="303" y="287"/>
                    <a:pt x="301" y="286"/>
                  </a:cubicBezTo>
                  <a:cubicBezTo>
                    <a:pt x="299" y="286"/>
                    <a:pt x="298" y="285"/>
                    <a:pt x="297" y="284"/>
                  </a:cubicBezTo>
                  <a:cubicBezTo>
                    <a:pt x="296" y="283"/>
                    <a:pt x="296" y="282"/>
                    <a:pt x="296" y="281"/>
                  </a:cubicBezTo>
                  <a:lnTo>
                    <a:pt x="296" y="235"/>
                  </a:lnTo>
                  <a:lnTo>
                    <a:pt x="200" y="235"/>
                  </a:lnTo>
                  <a:cubicBezTo>
                    <a:pt x="198" y="235"/>
                    <a:pt x="197" y="235"/>
                    <a:pt x="195" y="235"/>
                  </a:cubicBezTo>
                  <a:cubicBezTo>
                    <a:pt x="194" y="234"/>
                    <a:pt x="193" y="233"/>
                    <a:pt x="192" y="232"/>
                  </a:cubicBezTo>
                  <a:cubicBezTo>
                    <a:pt x="191" y="230"/>
                    <a:pt x="190" y="228"/>
                    <a:pt x="190" y="225"/>
                  </a:cubicBezTo>
                  <a:cubicBezTo>
                    <a:pt x="189" y="222"/>
                    <a:pt x="189" y="218"/>
                    <a:pt x="189" y="213"/>
                  </a:cubicBezTo>
                  <a:cubicBezTo>
                    <a:pt x="189" y="209"/>
                    <a:pt x="189" y="205"/>
                    <a:pt x="189" y="202"/>
                  </a:cubicBezTo>
                  <a:cubicBezTo>
                    <a:pt x="190" y="199"/>
                    <a:pt x="190" y="196"/>
                    <a:pt x="190" y="194"/>
                  </a:cubicBezTo>
                  <a:cubicBezTo>
                    <a:pt x="191" y="191"/>
                    <a:pt x="191" y="189"/>
                    <a:pt x="192" y="187"/>
                  </a:cubicBezTo>
                  <a:cubicBezTo>
                    <a:pt x="193" y="185"/>
                    <a:pt x="194" y="182"/>
                    <a:pt x="195" y="180"/>
                  </a:cubicBezTo>
                  <a:lnTo>
                    <a:pt x="273" y="43"/>
                  </a:lnTo>
                  <a:cubicBezTo>
                    <a:pt x="274" y="42"/>
                    <a:pt x="275" y="41"/>
                    <a:pt x="276" y="40"/>
                  </a:cubicBezTo>
                  <a:cubicBezTo>
                    <a:pt x="278" y="39"/>
                    <a:pt x="280" y="38"/>
                    <a:pt x="283" y="38"/>
                  </a:cubicBezTo>
                  <a:cubicBezTo>
                    <a:pt x="286" y="37"/>
                    <a:pt x="289" y="37"/>
                    <a:pt x="293" y="36"/>
                  </a:cubicBezTo>
                  <a:cubicBezTo>
                    <a:pt x="298" y="36"/>
                    <a:pt x="303" y="36"/>
                    <a:pt x="309" y="36"/>
                  </a:cubicBezTo>
                  <a:cubicBezTo>
                    <a:pt x="315" y="36"/>
                    <a:pt x="321" y="36"/>
                    <a:pt x="326" y="37"/>
                  </a:cubicBezTo>
                  <a:cubicBezTo>
                    <a:pt x="330" y="37"/>
                    <a:pt x="334" y="37"/>
                    <a:pt x="337" y="38"/>
                  </a:cubicBezTo>
                  <a:cubicBezTo>
                    <a:pt x="339" y="39"/>
                    <a:pt x="342" y="40"/>
                    <a:pt x="343" y="41"/>
                  </a:cubicBezTo>
                  <a:cubicBezTo>
                    <a:pt x="344" y="42"/>
                    <a:pt x="345" y="43"/>
                    <a:pt x="345" y="44"/>
                  </a:cubicBezTo>
                  <a:lnTo>
                    <a:pt x="345" y="195"/>
                  </a:lnTo>
                  <a:lnTo>
                    <a:pt x="367" y="195"/>
                  </a:lnTo>
                  <a:cubicBezTo>
                    <a:pt x="369" y="195"/>
                    <a:pt x="371" y="196"/>
                    <a:pt x="372" y="200"/>
                  </a:cubicBezTo>
                  <a:cubicBezTo>
                    <a:pt x="374" y="203"/>
                    <a:pt x="375" y="208"/>
                    <a:pt x="375" y="215"/>
                  </a:cubicBezTo>
                  <a:close/>
                  <a:moveTo>
                    <a:pt x="296" y="80"/>
                  </a:moveTo>
                  <a:lnTo>
                    <a:pt x="295" y="80"/>
                  </a:lnTo>
                  <a:lnTo>
                    <a:pt x="230" y="195"/>
                  </a:lnTo>
                  <a:lnTo>
                    <a:pt x="296" y="195"/>
                  </a:lnTo>
                  <a:lnTo>
                    <a:pt x="296" y="80"/>
                  </a:lnTo>
                  <a:close/>
                  <a:moveTo>
                    <a:pt x="575" y="215"/>
                  </a:moveTo>
                  <a:cubicBezTo>
                    <a:pt x="575" y="222"/>
                    <a:pt x="574" y="227"/>
                    <a:pt x="573" y="230"/>
                  </a:cubicBezTo>
                  <a:cubicBezTo>
                    <a:pt x="572" y="234"/>
                    <a:pt x="570" y="235"/>
                    <a:pt x="568" y="235"/>
                  </a:cubicBezTo>
                  <a:lnTo>
                    <a:pt x="545" y="235"/>
                  </a:lnTo>
                  <a:lnTo>
                    <a:pt x="545" y="281"/>
                  </a:lnTo>
                  <a:cubicBezTo>
                    <a:pt x="545" y="282"/>
                    <a:pt x="545" y="283"/>
                    <a:pt x="544" y="284"/>
                  </a:cubicBezTo>
                  <a:cubicBezTo>
                    <a:pt x="543" y="285"/>
                    <a:pt x="542" y="286"/>
                    <a:pt x="540" y="286"/>
                  </a:cubicBezTo>
                  <a:cubicBezTo>
                    <a:pt x="538" y="287"/>
                    <a:pt x="536" y="288"/>
                    <a:pt x="533" y="288"/>
                  </a:cubicBezTo>
                  <a:cubicBezTo>
                    <a:pt x="530" y="288"/>
                    <a:pt x="525" y="288"/>
                    <a:pt x="521" y="288"/>
                  </a:cubicBezTo>
                  <a:cubicBezTo>
                    <a:pt x="516" y="288"/>
                    <a:pt x="512" y="288"/>
                    <a:pt x="509" y="288"/>
                  </a:cubicBezTo>
                  <a:cubicBezTo>
                    <a:pt x="506" y="288"/>
                    <a:pt x="503" y="287"/>
                    <a:pt x="501" y="286"/>
                  </a:cubicBezTo>
                  <a:cubicBezTo>
                    <a:pt x="499" y="286"/>
                    <a:pt x="498" y="285"/>
                    <a:pt x="498" y="284"/>
                  </a:cubicBezTo>
                  <a:cubicBezTo>
                    <a:pt x="497" y="283"/>
                    <a:pt x="496" y="282"/>
                    <a:pt x="496" y="281"/>
                  </a:cubicBezTo>
                  <a:lnTo>
                    <a:pt x="496" y="235"/>
                  </a:lnTo>
                  <a:lnTo>
                    <a:pt x="401" y="235"/>
                  </a:lnTo>
                  <a:cubicBezTo>
                    <a:pt x="399" y="235"/>
                    <a:pt x="397" y="235"/>
                    <a:pt x="396" y="235"/>
                  </a:cubicBezTo>
                  <a:cubicBezTo>
                    <a:pt x="395" y="234"/>
                    <a:pt x="393" y="233"/>
                    <a:pt x="392" y="232"/>
                  </a:cubicBezTo>
                  <a:cubicBezTo>
                    <a:pt x="391" y="230"/>
                    <a:pt x="391" y="228"/>
                    <a:pt x="390" y="225"/>
                  </a:cubicBezTo>
                  <a:cubicBezTo>
                    <a:pt x="390" y="222"/>
                    <a:pt x="390" y="218"/>
                    <a:pt x="390" y="213"/>
                  </a:cubicBezTo>
                  <a:cubicBezTo>
                    <a:pt x="390" y="209"/>
                    <a:pt x="390" y="205"/>
                    <a:pt x="390" y="202"/>
                  </a:cubicBezTo>
                  <a:cubicBezTo>
                    <a:pt x="390" y="199"/>
                    <a:pt x="390" y="196"/>
                    <a:pt x="391" y="194"/>
                  </a:cubicBezTo>
                  <a:cubicBezTo>
                    <a:pt x="391" y="191"/>
                    <a:pt x="392" y="189"/>
                    <a:pt x="393" y="187"/>
                  </a:cubicBezTo>
                  <a:cubicBezTo>
                    <a:pt x="394" y="185"/>
                    <a:pt x="395" y="182"/>
                    <a:pt x="396" y="180"/>
                  </a:cubicBezTo>
                  <a:lnTo>
                    <a:pt x="474" y="43"/>
                  </a:lnTo>
                  <a:cubicBezTo>
                    <a:pt x="474" y="42"/>
                    <a:pt x="475" y="41"/>
                    <a:pt x="477" y="40"/>
                  </a:cubicBezTo>
                  <a:cubicBezTo>
                    <a:pt x="478" y="39"/>
                    <a:pt x="481" y="38"/>
                    <a:pt x="483" y="38"/>
                  </a:cubicBezTo>
                  <a:cubicBezTo>
                    <a:pt x="486" y="37"/>
                    <a:pt x="490" y="37"/>
                    <a:pt x="494" y="36"/>
                  </a:cubicBezTo>
                  <a:cubicBezTo>
                    <a:pt x="498" y="36"/>
                    <a:pt x="503" y="36"/>
                    <a:pt x="509" y="36"/>
                  </a:cubicBezTo>
                  <a:cubicBezTo>
                    <a:pt x="516" y="36"/>
                    <a:pt x="522" y="36"/>
                    <a:pt x="526" y="37"/>
                  </a:cubicBezTo>
                  <a:cubicBezTo>
                    <a:pt x="531" y="37"/>
                    <a:pt x="535" y="37"/>
                    <a:pt x="537" y="38"/>
                  </a:cubicBezTo>
                  <a:cubicBezTo>
                    <a:pt x="540" y="39"/>
                    <a:pt x="542" y="40"/>
                    <a:pt x="543" y="41"/>
                  </a:cubicBezTo>
                  <a:cubicBezTo>
                    <a:pt x="545" y="42"/>
                    <a:pt x="545" y="43"/>
                    <a:pt x="545" y="44"/>
                  </a:cubicBezTo>
                  <a:lnTo>
                    <a:pt x="545" y="195"/>
                  </a:lnTo>
                  <a:lnTo>
                    <a:pt x="568" y="195"/>
                  </a:lnTo>
                  <a:cubicBezTo>
                    <a:pt x="570" y="195"/>
                    <a:pt x="571" y="196"/>
                    <a:pt x="573" y="200"/>
                  </a:cubicBezTo>
                  <a:cubicBezTo>
                    <a:pt x="574" y="203"/>
                    <a:pt x="575" y="208"/>
                    <a:pt x="575" y="215"/>
                  </a:cubicBezTo>
                  <a:close/>
                  <a:moveTo>
                    <a:pt x="496" y="80"/>
                  </a:moveTo>
                  <a:lnTo>
                    <a:pt x="496" y="80"/>
                  </a:lnTo>
                  <a:lnTo>
                    <a:pt x="430" y="195"/>
                  </a:lnTo>
                  <a:lnTo>
                    <a:pt x="496" y="195"/>
                  </a:lnTo>
                  <a:lnTo>
                    <a:pt x="496" y="80"/>
                  </a:lnTo>
                  <a:close/>
                  <a:moveTo>
                    <a:pt x="632" y="337"/>
                  </a:moveTo>
                  <a:cubicBezTo>
                    <a:pt x="631" y="339"/>
                    <a:pt x="630" y="340"/>
                    <a:pt x="629" y="341"/>
                  </a:cubicBezTo>
                  <a:cubicBezTo>
                    <a:pt x="628" y="342"/>
                    <a:pt x="627" y="343"/>
                    <a:pt x="625" y="344"/>
                  </a:cubicBezTo>
                  <a:cubicBezTo>
                    <a:pt x="623" y="344"/>
                    <a:pt x="621" y="345"/>
                    <a:pt x="618" y="345"/>
                  </a:cubicBezTo>
                  <a:cubicBezTo>
                    <a:pt x="615" y="346"/>
                    <a:pt x="612" y="346"/>
                    <a:pt x="608" y="346"/>
                  </a:cubicBezTo>
                  <a:cubicBezTo>
                    <a:pt x="602" y="346"/>
                    <a:pt x="598" y="346"/>
                    <a:pt x="595" y="345"/>
                  </a:cubicBezTo>
                  <a:cubicBezTo>
                    <a:pt x="591" y="344"/>
                    <a:pt x="589" y="344"/>
                    <a:pt x="587" y="343"/>
                  </a:cubicBezTo>
                  <a:cubicBezTo>
                    <a:pt x="585" y="342"/>
                    <a:pt x="584" y="340"/>
                    <a:pt x="584" y="339"/>
                  </a:cubicBezTo>
                  <a:cubicBezTo>
                    <a:pt x="584" y="337"/>
                    <a:pt x="584" y="335"/>
                    <a:pt x="585" y="333"/>
                  </a:cubicBezTo>
                  <a:lnTo>
                    <a:pt x="700" y="9"/>
                  </a:lnTo>
                  <a:cubicBezTo>
                    <a:pt x="701" y="7"/>
                    <a:pt x="702" y="6"/>
                    <a:pt x="703" y="4"/>
                  </a:cubicBezTo>
                  <a:cubicBezTo>
                    <a:pt x="704" y="3"/>
                    <a:pt x="705" y="2"/>
                    <a:pt x="707" y="2"/>
                  </a:cubicBezTo>
                  <a:cubicBezTo>
                    <a:pt x="709" y="1"/>
                    <a:pt x="711" y="1"/>
                    <a:pt x="714" y="0"/>
                  </a:cubicBezTo>
                  <a:cubicBezTo>
                    <a:pt x="717" y="0"/>
                    <a:pt x="720" y="0"/>
                    <a:pt x="724" y="0"/>
                  </a:cubicBezTo>
                  <a:cubicBezTo>
                    <a:pt x="730" y="0"/>
                    <a:pt x="734" y="0"/>
                    <a:pt x="737" y="1"/>
                  </a:cubicBezTo>
                  <a:cubicBezTo>
                    <a:pt x="741" y="1"/>
                    <a:pt x="743" y="2"/>
                    <a:pt x="745" y="3"/>
                  </a:cubicBezTo>
                  <a:cubicBezTo>
                    <a:pt x="747" y="4"/>
                    <a:pt x="748" y="5"/>
                    <a:pt x="748" y="7"/>
                  </a:cubicBezTo>
                  <a:cubicBezTo>
                    <a:pt x="748" y="9"/>
                    <a:pt x="748" y="10"/>
                    <a:pt x="747" y="13"/>
                  </a:cubicBezTo>
                  <a:lnTo>
                    <a:pt x="632" y="337"/>
                  </a:lnTo>
                  <a:close/>
                  <a:moveTo>
                    <a:pt x="938" y="59"/>
                  </a:moveTo>
                  <a:cubicBezTo>
                    <a:pt x="938" y="62"/>
                    <a:pt x="938" y="66"/>
                    <a:pt x="937" y="68"/>
                  </a:cubicBezTo>
                  <a:cubicBezTo>
                    <a:pt x="937" y="71"/>
                    <a:pt x="937" y="74"/>
                    <a:pt x="936" y="76"/>
                  </a:cubicBezTo>
                  <a:cubicBezTo>
                    <a:pt x="936" y="78"/>
                    <a:pt x="935" y="81"/>
                    <a:pt x="934" y="83"/>
                  </a:cubicBezTo>
                  <a:cubicBezTo>
                    <a:pt x="934" y="85"/>
                    <a:pt x="933" y="87"/>
                    <a:pt x="932" y="90"/>
                  </a:cubicBezTo>
                  <a:lnTo>
                    <a:pt x="849" y="280"/>
                  </a:lnTo>
                  <a:cubicBezTo>
                    <a:pt x="849" y="282"/>
                    <a:pt x="848" y="283"/>
                    <a:pt x="846" y="285"/>
                  </a:cubicBezTo>
                  <a:cubicBezTo>
                    <a:pt x="845" y="286"/>
                    <a:pt x="844" y="286"/>
                    <a:pt x="841" y="287"/>
                  </a:cubicBezTo>
                  <a:cubicBezTo>
                    <a:pt x="839" y="287"/>
                    <a:pt x="836" y="288"/>
                    <a:pt x="833" y="288"/>
                  </a:cubicBezTo>
                  <a:cubicBezTo>
                    <a:pt x="830" y="288"/>
                    <a:pt x="825" y="288"/>
                    <a:pt x="820" y="288"/>
                  </a:cubicBezTo>
                  <a:cubicBezTo>
                    <a:pt x="813" y="288"/>
                    <a:pt x="808" y="288"/>
                    <a:pt x="804" y="288"/>
                  </a:cubicBezTo>
                  <a:cubicBezTo>
                    <a:pt x="800" y="287"/>
                    <a:pt x="797" y="287"/>
                    <a:pt x="795" y="286"/>
                  </a:cubicBezTo>
                  <a:cubicBezTo>
                    <a:pt x="793" y="285"/>
                    <a:pt x="792" y="283"/>
                    <a:pt x="792" y="282"/>
                  </a:cubicBezTo>
                  <a:cubicBezTo>
                    <a:pt x="792" y="280"/>
                    <a:pt x="793" y="279"/>
                    <a:pt x="794" y="276"/>
                  </a:cubicBezTo>
                  <a:lnTo>
                    <a:pt x="882" y="81"/>
                  </a:lnTo>
                  <a:lnTo>
                    <a:pt x="777" y="81"/>
                  </a:lnTo>
                  <a:cubicBezTo>
                    <a:pt x="774" y="81"/>
                    <a:pt x="772" y="79"/>
                    <a:pt x="771" y="76"/>
                  </a:cubicBezTo>
                  <a:cubicBezTo>
                    <a:pt x="770" y="72"/>
                    <a:pt x="769" y="67"/>
                    <a:pt x="769" y="59"/>
                  </a:cubicBezTo>
                  <a:cubicBezTo>
                    <a:pt x="769" y="55"/>
                    <a:pt x="769" y="52"/>
                    <a:pt x="769" y="49"/>
                  </a:cubicBezTo>
                  <a:cubicBezTo>
                    <a:pt x="770" y="46"/>
                    <a:pt x="770" y="44"/>
                    <a:pt x="771" y="42"/>
                  </a:cubicBezTo>
                  <a:cubicBezTo>
                    <a:pt x="772" y="40"/>
                    <a:pt x="773" y="39"/>
                    <a:pt x="774" y="38"/>
                  </a:cubicBezTo>
                  <a:cubicBezTo>
                    <a:pt x="775" y="38"/>
                    <a:pt x="776" y="37"/>
                    <a:pt x="777" y="37"/>
                  </a:cubicBezTo>
                  <a:lnTo>
                    <a:pt x="926" y="37"/>
                  </a:lnTo>
                  <a:cubicBezTo>
                    <a:pt x="928" y="37"/>
                    <a:pt x="930" y="37"/>
                    <a:pt x="931" y="38"/>
                  </a:cubicBezTo>
                  <a:cubicBezTo>
                    <a:pt x="933" y="38"/>
                    <a:pt x="934" y="39"/>
                    <a:pt x="935" y="41"/>
                  </a:cubicBezTo>
                  <a:cubicBezTo>
                    <a:pt x="936" y="42"/>
                    <a:pt x="937" y="45"/>
                    <a:pt x="937" y="47"/>
                  </a:cubicBezTo>
                  <a:cubicBezTo>
                    <a:pt x="938" y="50"/>
                    <a:pt x="938" y="54"/>
                    <a:pt x="938" y="59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53" name="Freeform 1205"/>
            <p:cNvSpPr>
              <a:spLocks noEditPoints="1"/>
            </p:cNvSpPr>
            <p:nvPr/>
          </p:nvSpPr>
          <p:spPr bwMode="auto">
            <a:xfrm>
              <a:off x="5159416" y="2469598"/>
              <a:ext cx="523986" cy="159387"/>
            </a:xfrm>
            <a:custGeom>
              <a:avLst/>
              <a:gdLst/>
              <a:ahLst/>
              <a:cxnLst>
                <a:cxn ang="0">
                  <a:pos x="156" y="281"/>
                </a:cxn>
                <a:cxn ang="0">
                  <a:pos x="119" y="288"/>
                </a:cxn>
                <a:cxn ang="0">
                  <a:pos x="11" y="236"/>
                </a:cxn>
                <a:cxn ang="0">
                  <a:pos x="0" y="202"/>
                </a:cxn>
                <a:cxn ang="0">
                  <a:pos x="87" y="40"/>
                </a:cxn>
                <a:cxn ang="0">
                  <a:pos x="148" y="38"/>
                </a:cxn>
                <a:cxn ang="0">
                  <a:pos x="183" y="200"/>
                </a:cxn>
                <a:cxn ang="0">
                  <a:pos x="107" y="195"/>
                </a:cxn>
                <a:cxn ang="0">
                  <a:pos x="330" y="287"/>
                </a:cxn>
                <a:cxn ang="0">
                  <a:pos x="205" y="227"/>
                </a:cxn>
                <a:cxn ang="0">
                  <a:pos x="237" y="150"/>
                </a:cxn>
                <a:cxn ang="0">
                  <a:pos x="234" y="52"/>
                </a:cxn>
                <a:cxn ang="0">
                  <a:pos x="370" y="69"/>
                </a:cxn>
                <a:cxn ang="0">
                  <a:pos x="332" y="156"/>
                </a:cxn>
                <a:cxn ang="0">
                  <a:pos x="326" y="99"/>
                </a:cxn>
                <a:cxn ang="0">
                  <a:pos x="269" y="78"/>
                </a:cxn>
                <a:cxn ang="0">
                  <a:pos x="297" y="138"/>
                </a:cxn>
                <a:cxn ang="0">
                  <a:pos x="322" y="200"/>
                </a:cxn>
                <a:cxn ang="0">
                  <a:pos x="258" y="211"/>
                </a:cxn>
                <a:cxn ang="0">
                  <a:pos x="332" y="224"/>
                </a:cxn>
                <a:cxn ang="0">
                  <a:pos x="573" y="90"/>
                </a:cxn>
                <a:cxn ang="0">
                  <a:pos x="461" y="289"/>
                </a:cxn>
                <a:cxn ang="0">
                  <a:pos x="523" y="82"/>
                </a:cxn>
                <a:cxn ang="0">
                  <a:pos x="412" y="42"/>
                </a:cxn>
                <a:cxn ang="0">
                  <a:pos x="576" y="41"/>
                </a:cxn>
                <a:cxn ang="0">
                  <a:pos x="637" y="344"/>
                </a:cxn>
                <a:cxn ang="0">
                  <a:pos x="595" y="339"/>
                </a:cxn>
                <a:cxn ang="0">
                  <a:pos x="725" y="1"/>
                </a:cxn>
                <a:cxn ang="0">
                  <a:pos x="759" y="13"/>
                </a:cxn>
                <a:cxn ang="0">
                  <a:pos x="891" y="287"/>
                </a:cxn>
                <a:cxn ang="0">
                  <a:pos x="787" y="275"/>
                </a:cxn>
                <a:cxn ang="0">
                  <a:pos x="783" y="238"/>
                </a:cxn>
                <a:cxn ang="0">
                  <a:pos x="846" y="251"/>
                </a:cxn>
                <a:cxn ang="0">
                  <a:pos x="886" y="201"/>
                </a:cxn>
                <a:cxn ang="0">
                  <a:pos x="810" y="178"/>
                </a:cxn>
                <a:cxn ang="0">
                  <a:pos x="807" y="145"/>
                </a:cxn>
                <a:cxn ang="0">
                  <a:pos x="870" y="131"/>
                </a:cxn>
                <a:cxn ang="0">
                  <a:pos x="862" y="76"/>
                </a:cxn>
                <a:cxn ang="0">
                  <a:pos x="793" y="93"/>
                </a:cxn>
                <a:cxn ang="0">
                  <a:pos x="787" y="66"/>
                </a:cxn>
                <a:cxn ang="0">
                  <a:pos x="815" y="41"/>
                </a:cxn>
                <a:cxn ang="0">
                  <a:pos x="932" y="69"/>
                </a:cxn>
                <a:cxn ang="0">
                  <a:pos x="892" y="156"/>
                </a:cxn>
                <a:cxn ang="0">
                  <a:pos x="948" y="214"/>
                </a:cxn>
                <a:cxn ang="0">
                  <a:pos x="1142" y="287"/>
                </a:cxn>
                <a:cxn ang="0">
                  <a:pos x="982" y="266"/>
                </a:cxn>
                <a:cxn ang="0">
                  <a:pos x="1039" y="186"/>
                </a:cxn>
                <a:cxn ang="0">
                  <a:pos x="1077" y="98"/>
                </a:cxn>
                <a:cxn ang="0">
                  <a:pos x="1012" y="88"/>
                </a:cxn>
                <a:cxn ang="0">
                  <a:pos x="987" y="85"/>
                </a:cxn>
                <a:cxn ang="0">
                  <a:pos x="993" y="54"/>
                </a:cxn>
                <a:cxn ang="0">
                  <a:pos x="1097" y="38"/>
                </a:cxn>
                <a:cxn ang="0">
                  <a:pos x="1128" y="148"/>
                </a:cxn>
                <a:cxn ang="0">
                  <a:pos x="1145" y="248"/>
                </a:cxn>
              </a:cxnLst>
              <a:rect l="0" t="0" r="r" b="b"/>
              <a:pathLst>
                <a:path w="1150" h="346">
                  <a:moveTo>
                    <a:pt x="185" y="216"/>
                  </a:moveTo>
                  <a:cubicBezTo>
                    <a:pt x="185" y="222"/>
                    <a:pt x="185" y="227"/>
                    <a:pt x="183" y="231"/>
                  </a:cubicBezTo>
                  <a:cubicBezTo>
                    <a:pt x="182" y="234"/>
                    <a:pt x="180" y="236"/>
                    <a:pt x="178" y="236"/>
                  </a:cubicBezTo>
                  <a:lnTo>
                    <a:pt x="156" y="236"/>
                  </a:lnTo>
                  <a:lnTo>
                    <a:pt x="156" y="281"/>
                  </a:lnTo>
                  <a:cubicBezTo>
                    <a:pt x="156" y="282"/>
                    <a:pt x="155" y="283"/>
                    <a:pt x="155" y="284"/>
                  </a:cubicBezTo>
                  <a:cubicBezTo>
                    <a:pt x="154" y="285"/>
                    <a:pt x="152" y="286"/>
                    <a:pt x="150" y="287"/>
                  </a:cubicBezTo>
                  <a:cubicBezTo>
                    <a:pt x="149" y="287"/>
                    <a:pt x="146" y="288"/>
                    <a:pt x="143" y="288"/>
                  </a:cubicBezTo>
                  <a:cubicBezTo>
                    <a:pt x="140" y="288"/>
                    <a:pt x="136" y="289"/>
                    <a:pt x="131" y="289"/>
                  </a:cubicBezTo>
                  <a:cubicBezTo>
                    <a:pt x="126" y="289"/>
                    <a:pt x="122" y="288"/>
                    <a:pt x="119" y="288"/>
                  </a:cubicBezTo>
                  <a:cubicBezTo>
                    <a:pt x="116" y="288"/>
                    <a:pt x="114" y="287"/>
                    <a:pt x="112" y="287"/>
                  </a:cubicBezTo>
                  <a:cubicBezTo>
                    <a:pt x="110" y="286"/>
                    <a:pt x="109" y="285"/>
                    <a:pt x="108" y="284"/>
                  </a:cubicBezTo>
                  <a:cubicBezTo>
                    <a:pt x="107" y="283"/>
                    <a:pt x="107" y="282"/>
                    <a:pt x="107" y="281"/>
                  </a:cubicBezTo>
                  <a:lnTo>
                    <a:pt x="107" y="236"/>
                  </a:lnTo>
                  <a:lnTo>
                    <a:pt x="11" y="236"/>
                  </a:lnTo>
                  <a:cubicBezTo>
                    <a:pt x="9" y="236"/>
                    <a:pt x="8" y="235"/>
                    <a:pt x="6" y="235"/>
                  </a:cubicBezTo>
                  <a:cubicBezTo>
                    <a:pt x="5" y="235"/>
                    <a:pt x="4" y="234"/>
                    <a:pt x="3" y="232"/>
                  </a:cubicBezTo>
                  <a:cubicBezTo>
                    <a:pt x="2" y="230"/>
                    <a:pt x="1" y="228"/>
                    <a:pt x="1" y="225"/>
                  </a:cubicBezTo>
                  <a:cubicBezTo>
                    <a:pt x="0" y="222"/>
                    <a:pt x="0" y="218"/>
                    <a:pt x="0" y="213"/>
                  </a:cubicBezTo>
                  <a:cubicBezTo>
                    <a:pt x="0" y="209"/>
                    <a:pt x="0" y="205"/>
                    <a:pt x="0" y="202"/>
                  </a:cubicBezTo>
                  <a:cubicBezTo>
                    <a:pt x="0" y="199"/>
                    <a:pt x="1" y="196"/>
                    <a:pt x="1" y="194"/>
                  </a:cubicBezTo>
                  <a:cubicBezTo>
                    <a:pt x="2" y="192"/>
                    <a:pt x="2" y="189"/>
                    <a:pt x="3" y="187"/>
                  </a:cubicBezTo>
                  <a:cubicBezTo>
                    <a:pt x="4" y="185"/>
                    <a:pt x="5" y="182"/>
                    <a:pt x="6" y="180"/>
                  </a:cubicBezTo>
                  <a:lnTo>
                    <a:pt x="84" y="43"/>
                  </a:lnTo>
                  <a:cubicBezTo>
                    <a:pt x="85" y="42"/>
                    <a:pt x="86" y="41"/>
                    <a:pt x="87" y="40"/>
                  </a:cubicBezTo>
                  <a:cubicBezTo>
                    <a:pt x="89" y="39"/>
                    <a:pt x="91" y="39"/>
                    <a:pt x="94" y="38"/>
                  </a:cubicBezTo>
                  <a:cubicBezTo>
                    <a:pt x="97" y="37"/>
                    <a:pt x="100" y="37"/>
                    <a:pt x="104" y="37"/>
                  </a:cubicBezTo>
                  <a:cubicBezTo>
                    <a:pt x="109" y="36"/>
                    <a:pt x="114" y="36"/>
                    <a:pt x="120" y="36"/>
                  </a:cubicBezTo>
                  <a:cubicBezTo>
                    <a:pt x="126" y="36"/>
                    <a:pt x="132" y="36"/>
                    <a:pt x="137" y="37"/>
                  </a:cubicBezTo>
                  <a:cubicBezTo>
                    <a:pt x="141" y="37"/>
                    <a:pt x="145" y="38"/>
                    <a:pt x="148" y="38"/>
                  </a:cubicBezTo>
                  <a:cubicBezTo>
                    <a:pt x="150" y="39"/>
                    <a:pt x="152" y="40"/>
                    <a:pt x="154" y="41"/>
                  </a:cubicBezTo>
                  <a:cubicBezTo>
                    <a:pt x="155" y="42"/>
                    <a:pt x="156" y="43"/>
                    <a:pt x="156" y="45"/>
                  </a:cubicBezTo>
                  <a:lnTo>
                    <a:pt x="156" y="195"/>
                  </a:lnTo>
                  <a:lnTo>
                    <a:pt x="178" y="195"/>
                  </a:lnTo>
                  <a:cubicBezTo>
                    <a:pt x="180" y="195"/>
                    <a:pt x="182" y="197"/>
                    <a:pt x="183" y="200"/>
                  </a:cubicBezTo>
                  <a:cubicBezTo>
                    <a:pt x="185" y="203"/>
                    <a:pt x="185" y="208"/>
                    <a:pt x="185" y="216"/>
                  </a:cubicBezTo>
                  <a:close/>
                  <a:moveTo>
                    <a:pt x="107" y="80"/>
                  </a:moveTo>
                  <a:lnTo>
                    <a:pt x="106" y="80"/>
                  </a:lnTo>
                  <a:lnTo>
                    <a:pt x="41" y="195"/>
                  </a:lnTo>
                  <a:lnTo>
                    <a:pt x="107" y="195"/>
                  </a:lnTo>
                  <a:lnTo>
                    <a:pt x="107" y="80"/>
                  </a:lnTo>
                  <a:close/>
                  <a:moveTo>
                    <a:pt x="382" y="220"/>
                  </a:moveTo>
                  <a:cubicBezTo>
                    <a:pt x="382" y="232"/>
                    <a:pt x="380" y="242"/>
                    <a:pt x="376" y="251"/>
                  </a:cubicBezTo>
                  <a:cubicBezTo>
                    <a:pt x="372" y="260"/>
                    <a:pt x="367" y="267"/>
                    <a:pt x="359" y="273"/>
                  </a:cubicBezTo>
                  <a:cubicBezTo>
                    <a:pt x="351" y="279"/>
                    <a:pt x="342" y="284"/>
                    <a:pt x="330" y="287"/>
                  </a:cubicBezTo>
                  <a:cubicBezTo>
                    <a:pt x="319" y="290"/>
                    <a:pt x="306" y="292"/>
                    <a:pt x="291" y="292"/>
                  </a:cubicBezTo>
                  <a:cubicBezTo>
                    <a:pt x="277" y="292"/>
                    <a:pt x="265" y="291"/>
                    <a:pt x="254" y="288"/>
                  </a:cubicBezTo>
                  <a:cubicBezTo>
                    <a:pt x="243" y="285"/>
                    <a:pt x="234" y="281"/>
                    <a:pt x="227" y="275"/>
                  </a:cubicBezTo>
                  <a:cubicBezTo>
                    <a:pt x="220" y="270"/>
                    <a:pt x="214" y="263"/>
                    <a:pt x="211" y="255"/>
                  </a:cubicBezTo>
                  <a:cubicBezTo>
                    <a:pt x="207" y="247"/>
                    <a:pt x="205" y="238"/>
                    <a:pt x="205" y="227"/>
                  </a:cubicBezTo>
                  <a:cubicBezTo>
                    <a:pt x="205" y="220"/>
                    <a:pt x="206" y="213"/>
                    <a:pt x="209" y="207"/>
                  </a:cubicBezTo>
                  <a:cubicBezTo>
                    <a:pt x="211" y="201"/>
                    <a:pt x="214" y="195"/>
                    <a:pt x="218" y="190"/>
                  </a:cubicBezTo>
                  <a:cubicBezTo>
                    <a:pt x="222" y="184"/>
                    <a:pt x="227" y="179"/>
                    <a:pt x="234" y="175"/>
                  </a:cubicBezTo>
                  <a:cubicBezTo>
                    <a:pt x="240" y="170"/>
                    <a:pt x="247" y="166"/>
                    <a:pt x="255" y="161"/>
                  </a:cubicBezTo>
                  <a:cubicBezTo>
                    <a:pt x="249" y="158"/>
                    <a:pt x="243" y="154"/>
                    <a:pt x="237" y="150"/>
                  </a:cubicBezTo>
                  <a:cubicBezTo>
                    <a:pt x="232" y="145"/>
                    <a:pt x="228" y="141"/>
                    <a:pt x="224" y="136"/>
                  </a:cubicBezTo>
                  <a:cubicBezTo>
                    <a:pt x="220" y="131"/>
                    <a:pt x="217" y="126"/>
                    <a:pt x="215" y="120"/>
                  </a:cubicBezTo>
                  <a:cubicBezTo>
                    <a:pt x="213" y="114"/>
                    <a:pt x="212" y="107"/>
                    <a:pt x="212" y="100"/>
                  </a:cubicBezTo>
                  <a:cubicBezTo>
                    <a:pt x="212" y="90"/>
                    <a:pt x="214" y="81"/>
                    <a:pt x="218" y="73"/>
                  </a:cubicBezTo>
                  <a:cubicBezTo>
                    <a:pt x="221" y="65"/>
                    <a:pt x="227" y="58"/>
                    <a:pt x="234" y="52"/>
                  </a:cubicBezTo>
                  <a:cubicBezTo>
                    <a:pt x="241" y="46"/>
                    <a:pt x="249" y="41"/>
                    <a:pt x="260" y="38"/>
                  </a:cubicBezTo>
                  <a:cubicBezTo>
                    <a:pt x="271" y="35"/>
                    <a:pt x="283" y="33"/>
                    <a:pt x="297" y="33"/>
                  </a:cubicBezTo>
                  <a:cubicBezTo>
                    <a:pt x="310" y="33"/>
                    <a:pt x="322" y="34"/>
                    <a:pt x="332" y="37"/>
                  </a:cubicBezTo>
                  <a:cubicBezTo>
                    <a:pt x="342" y="40"/>
                    <a:pt x="350" y="45"/>
                    <a:pt x="356" y="50"/>
                  </a:cubicBezTo>
                  <a:cubicBezTo>
                    <a:pt x="363" y="55"/>
                    <a:pt x="367" y="62"/>
                    <a:pt x="370" y="69"/>
                  </a:cubicBezTo>
                  <a:cubicBezTo>
                    <a:pt x="373" y="77"/>
                    <a:pt x="375" y="85"/>
                    <a:pt x="375" y="94"/>
                  </a:cubicBezTo>
                  <a:cubicBezTo>
                    <a:pt x="375" y="101"/>
                    <a:pt x="374" y="106"/>
                    <a:pt x="372" y="112"/>
                  </a:cubicBezTo>
                  <a:cubicBezTo>
                    <a:pt x="370" y="118"/>
                    <a:pt x="367" y="123"/>
                    <a:pt x="364" y="128"/>
                  </a:cubicBezTo>
                  <a:cubicBezTo>
                    <a:pt x="360" y="134"/>
                    <a:pt x="356" y="138"/>
                    <a:pt x="350" y="143"/>
                  </a:cubicBezTo>
                  <a:cubicBezTo>
                    <a:pt x="345" y="148"/>
                    <a:pt x="339" y="152"/>
                    <a:pt x="332" y="156"/>
                  </a:cubicBezTo>
                  <a:cubicBezTo>
                    <a:pt x="340" y="160"/>
                    <a:pt x="347" y="164"/>
                    <a:pt x="353" y="169"/>
                  </a:cubicBezTo>
                  <a:cubicBezTo>
                    <a:pt x="360" y="173"/>
                    <a:pt x="365" y="178"/>
                    <a:pt x="369" y="184"/>
                  </a:cubicBezTo>
                  <a:cubicBezTo>
                    <a:pt x="373" y="189"/>
                    <a:pt x="377" y="195"/>
                    <a:pt x="379" y="201"/>
                  </a:cubicBezTo>
                  <a:cubicBezTo>
                    <a:pt x="381" y="207"/>
                    <a:pt x="382" y="213"/>
                    <a:pt x="382" y="220"/>
                  </a:cubicBezTo>
                  <a:close/>
                  <a:moveTo>
                    <a:pt x="326" y="99"/>
                  </a:moveTo>
                  <a:cubicBezTo>
                    <a:pt x="326" y="95"/>
                    <a:pt x="325" y="91"/>
                    <a:pt x="324" y="87"/>
                  </a:cubicBezTo>
                  <a:cubicBezTo>
                    <a:pt x="323" y="83"/>
                    <a:pt x="321" y="80"/>
                    <a:pt x="318" y="78"/>
                  </a:cubicBezTo>
                  <a:cubicBezTo>
                    <a:pt x="315" y="75"/>
                    <a:pt x="312" y="73"/>
                    <a:pt x="308" y="72"/>
                  </a:cubicBezTo>
                  <a:cubicBezTo>
                    <a:pt x="304" y="71"/>
                    <a:pt x="299" y="70"/>
                    <a:pt x="293" y="70"/>
                  </a:cubicBezTo>
                  <a:cubicBezTo>
                    <a:pt x="283" y="70"/>
                    <a:pt x="275" y="73"/>
                    <a:pt x="269" y="78"/>
                  </a:cubicBezTo>
                  <a:cubicBezTo>
                    <a:pt x="264" y="82"/>
                    <a:pt x="261" y="89"/>
                    <a:pt x="261" y="98"/>
                  </a:cubicBezTo>
                  <a:cubicBezTo>
                    <a:pt x="261" y="102"/>
                    <a:pt x="262" y="106"/>
                    <a:pt x="263" y="110"/>
                  </a:cubicBezTo>
                  <a:cubicBezTo>
                    <a:pt x="265" y="113"/>
                    <a:pt x="267" y="116"/>
                    <a:pt x="270" y="119"/>
                  </a:cubicBezTo>
                  <a:cubicBezTo>
                    <a:pt x="273" y="122"/>
                    <a:pt x="276" y="126"/>
                    <a:pt x="281" y="128"/>
                  </a:cubicBezTo>
                  <a:cubicBezTo>
                    <a:pt x="285" y="131"/>
                    <a:pt x="291" y="135"/>
                    <a:pt x="297" y="138"/>
                  </a:cubicBezTo>
                  <a:cubicBezTo>
                    <a:pt x="306" y="132"/>
                    <a:pt x="313" y="126"/>
                    <a:pt x="318" y="120"/>
                  </a:cubicBezTo>
                  <a:cubicBezTo>
                    <a:pt x="324" y="114"/>
                    <a:pt x="326" y="107"/>
                    <a:pt x="326" y="99"/>
                  </a:cubicBezTo>
                  <a:close/>
                  <a:moveTo>
                    <a:pt x="332" y="224"/>
                  </a:moveTo>
                  <a:cubicBezTo>
                    <a:pt x="332" y="219"/>
                    <a:pt x="331" y="215"/>
                    <a:pt x="329" y="211"/>
                  </a:cubicBezTo>
                  <a:cubicBezTo>
                    <a:pt x="328" y="207"/>
                    <a:pt x="325" y="203"/>
                    <a:pt x="322" y="200"/>
                  </a:cubicBezTo>
                  <a:cubicBezTo>
                    <a:pt x="319" y="196"/>
                    <a:pt x="314" y="193"/>
                    <a:pt x="309" y="190"/>
                  </a:cubicBezTo>
                  <a:cubicBezTo>
                    <a:pt x="304" y="187"/>
                    <a:pt x="298" y="183"/>
                    <a:pt x="291" y="180"/>
                  </a:cubicBezTo>
                  <a:cubicBezTo>
                    <a:pt x="285" y="183"/>
                    <a:pt x="280" y="186"/>
                    <a:pt x="275" y="190"/>
                  </a:cubicBezTo>
                  <a:cubicBezTo>
                    <a:pt x="271" y="193"/>
                    <a:pt x="267" y="196"/>
                    <a:pt x="264" y="200"/>
                  </a:cubicBezTo>
                  <a:cubicBezTo>
                    <a:pt x="261" y="203"/>
                    <a:pt x="259" y="207"/>
                    <a:pt x="258" y="211"/>
                  </a:cubicBezTo>
                  <a:cubicBezTo>
                    <a:pt x="256" y="215"/>
                    <a:pt x="255" y="219"/>
                    <a:pt x="255" y="224"/>
                  </a:cubicBezTo>
                  <a:cubicBezTo>
                    <a:pt x="255" y="234"/>
                    <a:pt x="259" y="241"/>
                    <a:pt x="265" y="247"/>
                  </a:cubicBezTo>
                  <a:cubicBezTo>
                    <a:pt x="272" y="252"/>
                    <a:pt x="281" y="254"/>
                    <a:pt x="294" y="254"/>
                  </a:cubicBezTo>
                  <a:cubicBezTo>
                    <a:pt x="307" y="254"/>
                    <a:pt x="316" y="252"/>
                    <a:pt x="323" y="246"/>
                  </a:cubicBezTo>
                  <a:cubicBezTo>
                    <a:pt x="329" y="241"/>
                    <a:pt x="332" y="233"/>
                    <a:pt x="332" y="224"/>
                  </a:cubicBezTo>
                  <a:close/>
                  <a:moveTo>
                    <a:pt x="579" y="59"/>
                  </a:moveTo>
                  <a:cubicBezTo>
                    <a:pt x="579" y="63"/>
                    <a:pt x="579" y="66"/>
                    <a:pt x="578" y="69"/>
                  </a:cubicBezTo>
                  <a:cubicBezTo>
                    <a:pt x="578" y="71"/>
                    <a:pt x="578" y="74"/>
                    <a:pt x="577" y="76"/>
                  </a:cubicBezTo>
                  <a:cubicBezTo>
                    <a:pt x="577" y="79"/>
                    <a:pt x="576" y="81"/>
                    <a:pt x="575" y="83"/>
                  </a:cubicBezTo>
                  <a:cubicBezTo>
                    <a:pt x="575" y="85"/>
                    <a:pt x="574" y="88"/>
                    <a:pt x="573" y="90"/>
                  </a:cubicBezTo>
                  <a:lnTo>
                    <a:pt x="490" y="281"/>
                  </a:lnTo>
                  <a:cubicBezTo>
                    <a:pt x="490" y="282"/>
                    <a:pt x="489" y="284"/>
                    <a:pt x="487" y="285"/>
                  </a:cubicBezTo>
                  <a:cubicBezTo>
                    <a:pt x="486" y="286"/>
                    <a:pt x="484" y="287"/>
                    <a:pt x="482" y="287"/>
                  </a:cubicBezTo>
                  <a:cubicBezTo>
                    <a:pt x="480" y="288"/>
                    <a:pt x="477" y="288"/>
                    <a:pt x="474" y="288"/>
                  </a:cubicBezTo>
                  <a:cubicBezTo>
                    <a:pt x="470" y="289"/>
                    <a:pt x="466" y="289"/>
                    <a:pt x="461" y="289"/>
                  </a:cubicBezTo>
                  <a:cubicBezTo>
                    <a:pt x="454" y="289"/>
                    <a:pt x="449" y="288"/>
                    <a:pt x="445" y="288"/>
                  </a:cubicBezTo>
                  <a:cubicBezTo>
                    <a:pt x="441" y="287"/>
                    <a:pt x="438" y="287"/>
                    <a:pt x="436" y="286"/>
                  </a:cubicBezTo>
                  <a:cubicBezTo>
                    <a:pt x="434" y="285"/>
                    <a:pt x="433" y="284"/>
                    <a:pt x="433" y="282"/>
                  </a:cubicBezTo>
                  <a:cubicBezTo>
                    <a:pt x="433" y="281"/>
                    <a:pt x="434" y="279"/>
                    <a:pt x="434" y="277"/>
                  </a:cubicBezTo>
                  <a:lnTo>
                    <a:pt x="523" y="82"/>
                  </a:lnTo>
                  <a:lnTo>
                    <a:pt x="418" y="82"/>
                  </a:lnTo>
                  <a:cubicBezTo>
                    <a:pt x="415" y="82"/>
                    <a:pt x="413" y="80"/>
                    <a:pt x="412" y="76"/>
                  </a:cubicBezTo>
                  <a:cubicBezTo>
                    <a:pt x="410" y="73"/>
                    <a:pt x="410" y="67"/>
                    <a:pt x="410" y="59"/>
                  </a:cubicBezTo>
                  <a:cubicBezTo>
                    <a:pt x="410" y="55"/>
                    <a:pt x="410" y="52"/>
                    <a:pt x="410" y="49"/>
                  </a:cubicBezTo>
                  <a:cubicBezTo>
                    <a:pt x="411" y="47"/>
                    <a:pt x="411" y="44"/>
                    <a:pt x="412" y="42"/>
                  </a:cubicBezTo>
                  <a:cubicBezTo>
                    <a:pt x="413" y="41"/>
                    <a:pt x="414" y="39"/>
                    <a:pt x="415" y="39"/>
                  </a:cubicBezTo>
                  <a:cubicBezTo>
                    <a:pt x="416" y="38"/>
                    <a:pt x="417" y="37"/>
                    <a:pt x="418" y="37"/>
                  </a:cubicBezTo>
                  <a:lnTo>
                    <a:pt x="566" y="37"/>
                  </a:lnTo>
                  <a:cubicBezTo>
                    <a:pt x="569" y="37"/>
                    <a:pt x="571" y="38"/>
                    <a:pt x="572" y="38"/>
                  </a:cubicBezTo>
                  <a:cubicBezTo>
                    <a:pt x="574" y="39"/>
                    <a:pt x="575" y="40"/>
                    <a:pt x="576" y="41"/>
                  </a:cubicBezTo>
                  <a:cubicBezTo>
                    <a:pt x="577" y="43"/>
                    <a:pt x="578" y="45"/>
                    <a:pt x="578" y="48"/>
                  </a:cubicBezTo>
                  <a:cubicBezTo>
                    <a:pt x="578" y="51"/>
                    <a:pt x="579" y="54"/>
                    <a:pt x="579" y="59"/>
                  </a:cubicBezTo>
                  <a:close/>
                  <a:moveTo>
                    <a:pt x="643" y="338"/>
                  </a:moveTo>
                  <a:cubicBezTo>
                    <a:pt x="643" y="339"/>
                    <a:pt x="642" y="341"/>
                    <a:pt x="641" y="342"/>
                  </a:cubicBezTo>
                  <a:cubicBezTo>
                    <a:pt x="640" y="343"/>
                    <a:pt x="638" y="343"/>
                    <a:pt x="637" y="344"/>
                  </a:cubicBezTo>
                  <a:cubicBezTo>
                    <a:pt x="635" y="345"/>
                    <a:pt x="632" y="345"/>
                    <a:pt x="630" y="346"/>
                  </a:cubicBezTo>
                  <a:cubicBezTo>
                    <a:pt x="627" y="346"/>
                    <a:pt x="623" y="346"/>
                    <a:pt x="619" y="346"/>
                  </a:cubicBezTo>
                  <a:cubicBezTo>
                    <a:pt x="614" y="346"/>
                    <a:pt x="609" y="346"/>
                    <a:pt x="606" y="345"/>
                  </a:cubicBezTo>
                  <a:cubicBezTo>
                    <a:pt x="603" y="345"/>
                    <a:pt x="600" y="344"/>
                    <a:pt x="598" y="343"/>
                  </a:cubicBezTo>
                  <a:cubicBezTo>
                    <a:pt x="597" y="342"/>
                    <a:pt x="596" y="341"/>
                    <a:pt x="595" y="339"/>
                  </a:cubicBezTo>
                  <a:cubicBezTo>
                    <a:pt x="595" y="337"/>
                    <a:pt x="595" y="336"/>
                    <a:pt x="596" y="333"/>
                  </a:cubicBezTo>
                  <a:lnTo>
                    <a:pt x="712" y="9"/>
                  </a:lnTo>
                  <a:cubicBezTo>
                    <a:pt x="712" y="7"/>
                    <a:pt x="713" y="6"/>
                    <a:pt x="714" y="5"/>
                  </a:cubicBezTo>
                  <a:cubicBezTo>
                    <a:pt x="715" y="4"/>
                    <a:pt x="717" y="3"/>
                    <a:pt x="718" y="2"/>
                  </a:cubicBezTo>
                  <a:cubicBezTo>
                    <a:pt x="720" y="1"/>
                    <a:pt x="723" y="1"/>
                    <a:pt x="725" y="1"/>
                  </a:cubicBezTo>
                  <a:cubicBezTo>
                    <a:pt x="728" y="0"/>
                    <a:pt x="732" y="0"/>
                    <a:pt x="736" y="0"/>
                  </a:cubicBezTo>
                  <a:cubicBezTo>
                    <a:pt x="741" y="0"/>
                    <a:pt x="746" y="0"/>
                    <a:pt x="749" y="1"/>
                  </a:cubicBezTo>
                  <a:cubicBezTo>
                    <a:pt x="752" y="1"/>
                    <a:pt x="755" y="2"/>
                    <a:pt x="756" y="3"/>
                  </a:cubicBezTo>
                  <a:cubicBezTo>
                    <a:pt x="758" y="4"/>
                    <a:pt x="759" y="6"/>
                    <a:pt x="759" y="7"/>
                  </a:cubicBezTo>
                  <a:cubicBezTo>
                    <a:pt x="760" y="9"/>
                    <a:pt x="759" y="11"/>
                    <a:pt x="759" y="13"/>
                  </a:cubicBezTo>
                  <a:lnTo>
                    <a:pt x="643" y="338"/>
                  </a:lnTo>
                  <a:close/>
                  <a:moveTo>
                    <a:pt x="948" y="214"/>
                  </a:moveTo>
                  <a:cubicBezTo>
                    <a:pt x="948" y="227"/>
                    <a:pt x="946" y="238"/>
                    <a:pt x="941" y="248"/>
                  </a:cubicBezTo>
                  <a:cubicBezTo>
                    <a:pt x="936" y="257"/>
                    <a:pt x="930" y="265"/>
                    <a:pt x="921" y="272"/>
                  </a:cubicBezTo>
                  <a:cubicBezTo>
                    <a:pt x="913" y="278"/>
                    <a:pt x="903" y="283"/>
                    <a:pt x="891" y="287"/>
                  </a:cubicBezTo>
                  <a:cubicBezTo>
                    <a:pt x="879" y="290"/>
                    <a:pt x="866" y="292"/>
                    <a:pt x="852" y="292"/>
                  </a:cubicBezTo>
                  <a:cubicBezTo>
                    <a:pt x="843" y="292"/>
                    <a:pt x="835" y="291"/>
                    <a:pt x="828" y="290"/>
                  </a:cubicBezTo>
                  <a:cubicBezTo>
                    <a:pt x="820" y="289"/>
                    <a:pt x="814" y="287"/>
                    <a:pt x="808" y="286"/>
                  </a:cubicBezTo>
                  <a:cubicBezTo>
                    <a:pt x="802" y="284"/>
                    <a:pt x="798" y="282"/>
                    <a:pt x="794" y="280"/>
                  </a:cubicBezTo>
                  <a:cubicBezTo>
                    <a:pt x="790" y="278"/>
                    <a:pt x="788" y="277"/>
                    <a:pt x="787" y="275"/>
                  </a:cubicBezTo>
                  <a:cubicBezTo>
                    <a:pt x="785" y="274"/>
                    <a:pt x="785" y="273"/>
                    <a:pt x="784" y="272"/>
                  </a:cubicBezTo>
                  <a:cubicBezTo>
                    <a:pt x="783" y="271"/>
                    <a:pt x="783" y="269"/>
                    <a:pt x="782" y="268"/>
                  </a:cubicBezTo>
                  <a:cubicBezTo>
                    <a:pt x="782" y="266"/>
                    <a:pt x="782" y="264"/>
                    <a:pt x="781" y="261"/>
                  </a:cubicBezTo>
                  <a:cubicBezTo>
                    <a:pt x="781" y="258"/>
                    <a:pt x="781" y="255"/>
                    <a:pt x="781" y="251"/>
                  </a:cubicBezTo>
                  <a:cubicBezTo>
                    <a:pt x="781" y="245"/>
                    <a:pt x="782" y="241"/>
                    <a:pt x="783" y="238"/>
                  </a:cubicBezTo>
                  <a:cubicBezTo>
                    <a:pt x="784" y="236"/>
                    <a:pt x="785" y="235"/>
                    <a:pt x="787" y="235"/>
                  </a:cubicBezTo>
                  <a:cubicBezTo>
                    <a:pt x="789" y="235"/>
                    <a:pt x="791" y="236"/>
                    <a:pt x="794" y="238"/>
                  </a:cubicBezTo>
                  <a:cubicBezTo>
                    <a:pt x="797" y="239"/>
                    <a:pt x="801" y="241"/>
                    <a:pt x="806" y="243"/>
                  </a:cubicBezTo>
                  <a:cubicBezTo>
                    <a:pt x="811" y="245"/>
                    <a:pt x="817" y="247"/>
                    <a:pt x="823" y="249"/>
                  </a:cubicBezTo>
                  <a:cubicBezTo>
                    <a:pt x="830" y="250"/>
                    <a:pt x="837" y="251"/>
                    <a:pt x="846" y="251"/>
                  </a:cubicBezTo>
                  <a:cubicBezTo>
                    <a:pt x="853" y="251"/>
                    <a:pt x="859" y="250"/>
                    <a:pt x="864" y="249"/>
                  </a:cubicBezTo>
                  <a:cubicBezTo>
                    <a:pt x="870" y="247"/>
                    <a:pt x="874" y="245"/>
                    <a:pt x="878" y="242"/>
                  </a:cubicBezTo>
                  <a:cubicBezTo>
                    <a:pt x="882" y="239"/>
                    <a:pt x="885" y="235"/>
                    <a:pt x="887" y="231"/>
                  </a:cubicBezTo>
                  <a:cubicBezTo>
                    <a:pt x="889" y="226"/>
                    <a:pt x="890" y="222"/>
                    <a:pt x="890" y="216"/>
                  </a:cubicBezTo>
                  <a:cubicBezTo>
                    <a:pt x="890" y="211"/>
                    <a:pt x="888" y="205"/>
                    <a:pt x="886" y="201"/>
                  </a:cubicBezTo>
                  <a:cubicBezTo>
                    <a:pt x="884" y="196"/>
                    <a:pt x="881" y="192"/>
                    <a:pt x="876" y="189"/>
                  </a:cubicBezTo>
                  <a:cubicBezTo>
                    <a:pt x="872" y="186"/>
                    <a:pt x="866" y="183"/>
                    <a:pt x="859" y="181"/>
                  </a:cubicBezTo>
                  <a:cubicBezTo>
                    <a:pt x="853" y="179"/>
                    <a:pt x="845" y="179"/>
                    <a:pt x="835" y="179"/>
                  </a:cubicBezTo>
                  <a:lnTo>
                    <a:pt x="814" y="179"/>
                  </a:lnTo>
                  <a:cubicBezTo>
                    <a:pt x="812" y="179"/>
                    <a:pt x="811" y="178"/>
                    <a:pt x="810" y="178"/>
                  </a:cubicBezTo>
                  <a:cubicBezTo>
                    <a:pt x="808" y="177"/>
                    <a:pt x="807" y="176"/>
                    <a:pt x="807" y="175"/>
                  </a:cubicBezTo>
                  <a:cubicBezTo>
                    <a:pt x="806" y="174"/>
                    <a:pt x="805" y="172"/>
                    <a:pt x="805" y="169"/>
                  </a:cubicBezTo>
                  <a:cubicBezTo>
                    <a:pt x="805" y="167"/>
                    <a:pt x="805" y="163"/>
                    <a:pt x="805" y="159"/>
                  </a:cubicBezTo>
                  <a:cubicBezTo>
                    <a:pt x="805" y="156"/>
                    <a:pt x="805" y="153"/>
                    <a:pt x="805" y="150"/>
                  </a:cubicBezTo>
                  <a:cubicBezTo>
                    <a:pt x="805" y="148"/>
                    <a:pt x="806" y="146"/>
                    <a:pt x="807" y="145"/>
                  </a:cubicBezTo>
                  <a:cubicBezTo>
                    <a:pt x="807" y="143"/>
                    <a:pt x="808" y="143"/>
                    <a:pt x="809" y="142"/>
                  </a:cubicBezTo>
                  <a:cubicBezTo>
                    <a:pt x="810" y="141"/>
                    <a:pt x="812" y="141"/>
                    <a:pt x="813" y="141"/>
                  </a:cubicBezTo>
                  <a:lnTo>
                    <a:pt x="835" y="141"/>
                  </a:lnTo>
                  <a:cubicBezTo>
                    <a:pt x="843" y="141"/>
                    <a:pt x="849" y="140"/>
                    <a:pt x="855" y="139"/>
                  </a:cubicBezTo>
                  <a:cubicBezTo>
                    <a:pt x="861" y="137"/>
                    <a:pt x="866" y="134"/>
                    <a:pt x="870" y="131"/>
                  </a:cubicBezTo>
                  <a:cubicBezTo>
                    <a:pt x="873" y="128"/>
                    <a:pt x="876" y="124"/>
                    <a:pt x="879" y="120"/>
                  </a:cubicBezTo>
                  <a:cubicBezTo>
                    <a:pt x="881" y="115"/>
                    <a:pt x="882" y="110"/>
                    <a:pt x="882" y="104"/>
                  </a:cubicBezTo>
                  <a:cubicBezTo>
                    <a:pt x="882" y="100"/>
                    <a:pt x="881" y="96"/>
                    <a:pt x="879" y="92"/>
                  </a:cubicBezTo>
                  <a:cubicBezTo>
                    <a:pt x="878" y="88"/>
                    <a:pt x="876" y="85"/>
                    <a:pt x="873" y="82"/>
                  </a:cubicBezTo>
                  <a:cubicBezTo>
                    <a:pt x="870" y="80"/>
                    <a:pt x="867" y="77"/>
                    <a:pt x="862" y="76"/>
                  </a:cubicBezTo>
                  <a:cubicBezTo>
                    <a:pt x="858" y="74"/>
                    <a:pt x="853" y="73"/>
                    <a:pt x="847" y="73"/>
                  </a:cubicBezTo>
                  <a:cubicBezTo>
                    <a:pt x="840" y="73"/>
                    <a:pt x="834" y="74"/>
                    <a:pt x="828" y="76"/>
                  </a:cubicBezTo>
                  <a:cubicBezTo>
                    <a:pt x="822" y="78"/>
                    <a:pt x="817" y="81"/>
                    <a:pt x="812" y="83"/>
                  </a:cubicBezTo>
                  <a:cubicBezTo>
                    <a:pt x="807" y="85"/>
                    <a:pt x="803" y="88"/>
                    <a:pt x="800" y="90"/>
                  </a:cubicBezTo>
                  <a:cubicBezTo>
                    <a:pt x="797" y="92"/>
                    <a:pt x="794" y="93"/>
                    <a:pt x="793" y="93"/>
                  </a:cubicBezTo>
                  <a:cubicBezTo>
                    <a:pt x="792" y="93"/>
                    <a:pt x="791" y="92"/>
                    <a:pt x="790" y="92"/>
                  </a:cubicBezTo>
                  <a:cubicBezTo>
                    <a:pt x="789" y="92"/>
                    <a:pt x="789" y="91"/>
                    <a:pt x="788" y="89"/>
                  </a:cubicBezTo>
                  <a:cubicBezTo>
                    <a:pt x="788" y="88"/>
                    <a:pt x="787" y="86"/>
                    <a:pt x="787" y="84"/>
                  </a:cubicBezTo>
                  <a:cubicBezTo>
                    <a:pt x="787" y="81"/>
                    <a:pt x="787" y="78"/>
                    <a:pt x="787" y="74"/>
                  </a:cubicBezTo>
                  <a:cubicBezTo>
                    <a:pt x="787" y="71"/>
                    <a:pt x="787" y="68"/>
                    <a:pt x="787" y="66"/>
                  </a:cubicBezTo>
                  <a:cubicBezTo>
                    <a:pt x="787" y="64"/>
                    <a:pt x="787" y="62"/>
                    <a:pt x="788" y="61"/>
                  </a:cubicBezTo>
                  <a:cubicBezTo>
                    <a:pt x="788" y="60"/>
                    <a:pt x="789" y="58"/>
                    <a:pt x="789" y="57"/>
                  </a:cubicBezTo>
                  <a:cubicBezTo>
                    <a:pt x="790" y="56"/>
                    <a:pt x="791" y="55"/>
                    <a:pt x="792" y="54"/>
                  </a:cubicBezTo>
                  <a:cubicBezTo>
                    <a:pt x="793" y="53"/>
                    <a:pt x="796" y="51"/>
                    <a:pt x="800" y="48"/>
                  </a:cubicBezTo>
                  <a:cubicBezTo>
                    <a:pt x="804" y="46"/>
                    <a:pt x="809" y="44"/>
                    <a:pt x="815" y="41"/>
                  </a:cubicBezTo>
                  <a:cubicBezTo>
                    <a:pt x="821" y="39"/>
                    <a:pt x="828" y="37"/>
                    <a:pt x="836" y="35"/>
                  </a:cubicBezTo>
                  <a:cubicBezTo>
                    <a:pt x="844" y="34"/>
                    <a:pt x="852" y="33"/>
                    <a:pt x="862" y="33"/>
                  </a:cubicBezTo>
                  <a:cubicBezTo>
                    <a:pt x="874" y="33"/>
                    <a:pt x="885" y="34"/>
                    <a:pt x="894" y="37"/>
                  </a:cubicBezTo>
                  <a:cubicBezTo>
                    <a:pt x="903" y="40"/>
                    <a:pt x="911" y="44"/>
                    <a:pt x="917" y="50"/>
                  </a:cubicBezTo>
                  <a:cubicBezTo>
                    <a:pt x="924" y="55"/>
                    <a:pt x="929" y="61"/>
                    <a:pt x="932" y="69"/>
                  </a:cubicBezTo>
                  <a:cubicBezTo>
                    <a:pt x="935" y="77"/>
                    <a:pt x="937" y="86"/>
                    <a:pt x="937" y="96"/>
                  </a:cubicBezTo>
                  <a:cubicBezTo>
                    <a:pt x="937" y="103"/>
                    <a:pt x="936" y="110"/>
                    <a:pt x="934" y="117"/>
                  </a:cubicBezTo>
                  <a:cubicBezTo>
                    <a:pt x="932" y="123"/>
                    <a:pt x="929" y="129"/>
                    <a:pt x="926" y="134"/>
                  </a:cubicBezTo>
                  <a:cubicBezTo>
                    <a:pt x="922" y="140"/>
                    <a:pt x="917" y="144"/>
                    <a:pt x="911" y="148"/>
                  </a:cubicBezTo>
                  <a:cubicBezTo>
                    <a:pt x="906" y="151"/>
                    <a:pt x="899" y="154"/>
                    <a:pt x="892" y="156"/>
                  </a:cubicBezTo>
                  <a:lnTo>
                    <a:pt x="892" y="156"/>
                  </a:lnTo>
                  <a:cubicBezTo>
                    <a:pt x="901" y="157"/>
                    <a:pt x="909" y="160"/>
                    <a:pt x="916" y="163"/>
                  </a:cubicBezTo>
                  <a:cubicBezTo>
                    <a:pt x="923" y="166"/>
                    <a:pt x="928" y="171"/>
                    <a:pt x="933" y="176"/>
                  </a:cubicBezTo>
                  <a:cubicBezTo>
                    <a:pt x="938" y="181"/>
                    <a:pt x="942" y="187"/>
                    <a:pt x="944" y="193"/>
                  </a:cubicBezTo>
                  <a:cubicBezTo>
                    <a:pt x="947" y="200"/>
                    <a:pt x="948" y="207"/>
                    <a:pt x="948" y="214"/>
                  </a:cubicBezTo>
                  <a:close/>
                  <a:moveTo>
                    <a:pt x="1150" y="267"/>
                  </a:moveTo>
                  <a:cubicBezTo>
                    <a:pt x="1150" y="271"/>
                    <a:pt x="1150" y="274"/>
                    <a:pt x="1150" y="276"/>
                  </a:cubicBezTo>
                  <a:cubicBezTo>
                    <a:pt x="1149" y="279"/>
                    <a:pt x="1149" y="281"/>
                    <a:pt x="1148" y="283"/>
                  </a:cubicBezTo>
                  <a:cubicBezTo>
                    <a:pt x="1147" y="285"/>
                    <a:pt x="1147" y="286"/>
                    <a:pt x="1146" y="286"/>
                  </a:cubicBezTo>
                  <a:cubicBezTo>
                    <a:pt x="1145" y="287"/>
                    <a:pt x="1143" y="287"/>
                    <a:pt x="1142" y="287"/>
                  </a:cubicBezTo>
                  <a:lnTo>
                    <a:pt x="998" y="287"/>
                  </a:lnTo>
                  <a:cubicBezTo>
                    <a:pt x="996" y="287"/>
                    <a:pt x="993" y="287"/>
                    <a:pt x="991" y="287"/>
                  </a:cubicBezTo>
                  <a:cubicBezTo>
                    <a:pt x="989" y="286"/>
                    <a:pt x="987" y="285"/>
                    <a:pt x="986" y="284"/>
                  </a:cubicBezTo>
                  <a:cubicBezTo>
                    <a:pt x="985" y="282"/>
                    <a:pt x="984" y="280"/>
                    <a:pt x="983" y="277"/>
                  </a:cubicBezTo>
                  <a:cubicBezTo>
                    <a:pt x="983" y="274"/>
                    <a:pt x="982" y="271"/>
                    <a:pt x="982" y="266"/>
                  </a:cubicBezTo>
                  <a:cubicBezTo>
                    <a:pt x="982" y="262"/>
                    <a:pt x="983" y="258"/>
                    <a:pt x="983" y="255"/>
                  </a:cubicBezTo>
                  <a:cubicBezTo>
                    <a:pt x="983" y="252"/>
                    <a:pt x="984" y="250"/>
                    <a:pt x="985" y="247"/>
                  </a:cubicBezTo>
                  <a:cubicBezTo>
                    <a:pt x="986" y="245"/>
                    <a:pt x="987" y="243"/>
                    <a:pt x="989" y="240"/>
                  </a:cubicBezTo>
                  <a:cubicBezTo>
                    <a:pt x="991" y="238"/>
                    <a:pt x="993" y="236"/>
                    <a:pt x="995" y="233"/>
                  </a:cubicBezTo>
                  <a:lnTo>
                    <a:pt x="1039" y="186"/>
                  </a:lnTo>
                  <a:cubicBezTo>
                    <a:pt x="1047" y="177"/>
                    <a:pt x="1054" y="169"/>
                    <a:pt x="1059" y="162"/>
                  </a:cubicBezTo>
                  <a:cubicBezTo>
                    <a:pt x="1065" y="154"/>
                    <a:pt x="1069" y="148"/>
                    <a:pt x="1072" y="142"/>
                  </a:cubicBezTo>
                  <a:cubicBezTo>
                    <a:pt x="1075" y="135"/>
                    <a:pt x="1077" y="130"/>
                    <a:pt x="1078" y="125"/>
                  </a:cubicBezTo>
                  <a:cubicBezTo>
                    <a:pt x="1079" y="119"/>
                    <a:pt x="1079" y="115"/>
                    <a:pt x="1079" y="110"/>
                  </a:cubicBezTo>
                  <a:cubicBezTo>
                    <a:pt x="1079" y="106"/>
                    <a:pt x="1079" y="102"/>
                    <a:pt x="1077" y="98"/>
                  </a:cubicBezTo>
                  <a:cubicBezTo>
                    <a:pt x="1076" y="94"/>
                    <a:pt x="1074" y="91"/>
                    <a:pt x="1071" y="88"/>
                  </a:cubicBezTo>
                  <a:cubicBezTo>
                    <a:pt x="1069" y="85"/>
                    <a:pt x="1066" y="83"/>
                    <a:pt x="1062" y="81"/>
                  </a:cubicBezTo>
                  <a:cubicBezTo>
                    <a:pt x="1058" y="80"/>
                    <a:pt x="1053" y="79"/>
                    <a:pt x="1047" y="79"/>
                  </a:cubicBezTo>
                  <a:cubicBezTo>
                    <a:pt x="1040" y="79"/>
                    <a:pt x="1033" y="80"/>
                    <a:pt x="1027" y="82"/>
                  </a:cubicBezTo>
                  <a:cubicBezTo>
                    <a:pt x="1021" y="84"/>
                    <a:pt x="1016" y="86"/>
                    <a:pt x="1012" y="88"/>
                  </a:cubicBezTo>
                  <a:cubicBezTo>
                    <a:pt x="1007" y="91"/>
                    <a:pt x="1004" y="93"/>
                    <a:pt x="1001" y="95"/>
                  </a:cubicBezTo>
                  <a:cubicBezTo>
                    <a:pt x="998" y="97"/>
                    <a:pt x="995" y="98"/>
                    <a:pt x="994" y="98"/>
                  </a:cubicBezTo>
                  <a:cubicBezTo>
                    <a:pt x="993" y="98"/>
                    <a:pt x="992" y="97"/>
                    <a:pt x="991" y="97"/>
                  </a:cubicBezTo>
                  <a:cubicBezTo>
                    <a:pt x="990" y="96"/>
                    <a:pt x="989" y="95"/>
                    <a:pt x="989" y="93"/>
                  </a:cubicBezTo>
                  <a:cubicBezTo>
                    <a:pt x="988" y="91"/>
                    <a:pt x="988" y="88"/>
                    <a:pt x="987" y="85"/>
                  </a:cubicBezTo>
                  <a:cubicBezTo>
                    <a:pt x="987" y="82"/>
                    <a:pt x="987" y="79"/>
                    <a:pt x="987" y="74"/>
                  </a:cubicBezTo>
                  <a:cubicBezTo>
                    <a:pt x="987" y="71"/>
                    <a:pt x="987" y="69"/>
                    <a:pt x="987" y="67"/>
                  </a:cubicBezTo>
                  <a:cubicBezTo>
                    <a:pt x="987" y="65"/>
                    <a:pt x="988" y="63"/>
                    <a:pt x="988" y="62"/>
                  </a:cubicBezTo>
                  <a:cubicBezTo>
                    <a:pt x="989" y="60"/>
                    <a:pt x="989" y="59"/>
                    <a:pt x="990" y="58"/>
                  </a:cubicBezTo>
                  <a:cubicBezTo>
                    <a:pt x="990" y="57"/>
                    <a:pt x="991" y="55"/>
                    <a:pt x="993" y="54"/>
                  </a:cubicBezTo>
                  <a:cubicBezTo>
                    <a:pt x="995" y="52"/>
                    <a:pt x="998" y="50"/>
                    <a:pt x="1002" y="48"/>
                  </a:cubicBezTo>
                  <a:cubicBezTo>
                    <a:pt x="1006" y="46"/>
                    <a:pt x="1012" y="43"/>
                    <a:pt x="1018" y="41"/>
                  </a:cubicBezTo>
                  <a:cubicBezTo>
                    <a:pt x="1024" y="39"/>
                    <a:pt x="1031" y="37"/>
                    <a:pt x="1039" y="35"/>
                  </a:cubicBezTo>
                  <a:cubicBezTo>
                    <a:pt x="1046" y="34"/>
                    <a:pt x="1054" y="33"/>
                    <a:pt x="1063" y="33"/>
                  </a:cubicBezTo>
                  <a:cubicBezTo>
                    <a:pt x="1076" y="33"/>
                    <a:pt x="1087" y="35"/>
                    <a:pt x="1097" y="38"/>
                  </a:cubicBezTo>
                  <a:cubicBezTo>
                    <a:pt x="1106" y="41"/>
                    <a:pt x="1114" y="46"/>
                    <a:pt x="1121" y="52"/>
                  </a:cubicBezTo>
                  <a:cubicBezTo>
                    <a:pt x="1127" y="58"/>
                    <a:pt x="1132" y="64"/>
                    <a:pt x="1135" y="73"/>
                  </a:cubicBezTo>
                  <a:cubicBezTo>
                    <a:pt x="1138" y="81"/>
                    <a:pt x="1140" y="89"/>
                    <a:pt x="1140" y="99"/>
                  </a:cubicBezTo>
                  <a:cubicBezTo>
                    <a:pt x="1140" y="107"/>
                    <a:pt x="1139" y="115"/>
                    <a:pt x="1138" y="122"/>
                  </a:cubicBezTo>
                  <a:cubicBezTo>
                    <a:pt x="1136" y="130"/>
                    <a:pt x="1133" y="139"/>
                    <a:pt x="1128" y="148"/>
                  </a:cubicBezTo>
                  <a:cubicBezTo>
                    <a:pt x="1123" y="157"/>
                    <a:pt x="1116" y="167"/>
                    <a:pt x="1107" y="178"/>
                  </a:cubicBezTo>
                  <a:cubicBezTo>
                    <a:pt x="1098" y="189"/>
                    <a:pt x="1087" y="202"/>
                    <a:pt x="1072" y="216"/>
                  </a:cubicBezTo>
                  <a:lnTo>
                    <a:pt x="1043" y="246"/>
                  </a:lnTo>
                  <a:lnTo>
                    <a:pt x="1141" y="246"/>
                  </a:lnTo>
                  <a:cubicBezTo>
                    <a:pt x="1143" y="246"/>
                    <a:pt x="1144" y="247"/>
                    <a:pt x="1145" y="248"/>
                  </a:cubicBezTo>
                  <a:cubicBezTo>
                    <a:pt x="1146" y="248"/>
                    <a:pt x="1147" y="249"/>
                    <a:pt x="1148" y="251"/>
                  </a:cubicBezTo>
                  <a:cubicBezTo>
                    <a:pt x="1148" y="253"/>
                    <a:pt x="1149" y="255"/>
                    <a:pt x="1149" y="257"/>
                  </a:cubicBezTo>
                  <a:cubicBezTo>
                    <a:pt x="1150" y="260"/>
                    <a:pt x="1150" y="263"/>
                    <a:pt x="1150" y="267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54" name="Freeform 1206"/>
            <p:cNvSpPr>
              <a:spLocks noEditPoints="1"/>
            </p:cNvSpPr>
            <p:nvPr/>
          </p:nvSpPr>
          <p:spPr bwMode="auto">
            <a:xfrm>
              <a:off x="5840797" y="2202624"/>
              <a:ext cx="426361" cy="159387"/>
            </a:xfrm>
            <a:custGeom>
              <a:avLst/>
              <a:gdLst/>
              <a:ahLst/>
              <a:cxnLst>
                <a:cxn ang="0">
                  <a:pos x="106" y="286"/>
                </a:cxn>
                <a:cxn ang="0">
                  <a:pos x="11" y="282"/>
                </a:cxn>
                <a:cxn ang="0">
                  <a:pos x="0" y="265"/>
                </a:cxn>
                <a:cxn ang="0">
                  <a:pos x="3" y="238"/>
                </a:cxn>
                <a:cxn ang="0">
                  <a:pos x="38" y="249"/>
                </a:cxn>
                <a:cxn ang="0">
                  <a:pos x="106" y="229"/>
                </a:cxn>
                <a:cxn ang="0">
                  <a:pos x="82" y="174"/>
                </a:cxn>
                <a:cxn ang="0">
                  <a:pos x="12" y="171"/>
                </a:cxn>
                <a:cxn ang="0">
                  <a:pos x="22" y="37"/>
                </a:cxn>
                <a:cxn ang="0">
                  <a:pos x="148" y="49"/>
                </a:cxn>
                <a:cxn ang="0">
                  <a:pos x="52" y="81"/>
                </a:cxn>
                <a:cxn ang="0">
                  <a:pos x="115" y="138"/>
                </a:cxn>
                <a:cxn ang="0">
                  <a:pos x="371" y="161"/>
                </a:cxn>
                <a:cxn ang="0">
                  <a:pos x="280" y="292"/>
                </a:cxn>
                <a:cxn ang="0">
                  <a:pos x="193" y="163"/>
                </a:cxn>
                <a:cxn ang="0">
                  <a:pos x="284" y="33"/>
                </a:cxn>
                <a:cxn ang="0">
                  <a:pos x="371" y="161"/>
                </a:cxn>
                <a:cxn ang="0">
                  <a:pos x="311" y="92"/>
                </a:cxn>
                <a:cxn ang="0">
                  <a:pos x="263" y="79"/>
                </a:cxn>
                <a:cxn ang="0">
                  <a:pos x="246" y="205"/>
                </a:cxn>
                <a:cxn ang="0">
                  <a:pos x="295" y="249"/>
                </a:cxn>
                <a:cxn ang="0">
                  <a:pos x="319" y="191"/>
                </a:cxn>
                <a:cxn ang="0">
                  <a:pos x="547" y="273"/>
                </a:cxn>
                <a:cxn ang="0">
                  <a:pos x="416" y="275"/>
                </a:cxn>
                <a:cxn ang="0">
                  <a:pos x="407" y="190"/>
                </a:cxn>
                <a:cxn ang="0">
                  <a:pos x="413" y="136"/>
                </a:cxn>
                <a:cxn ang="0">
                  <a:pos x="422" y="52"/>
                </a:cxn>
                <a:cxn ang="0">
                  <a:pos x="545" y="50"/>
                </a:cxn>
                <a:cxn ang="0">
                  <a:pos x="552" y="128"/>
                </a:cxn>
                <a:cxn ang="0">
                  <a:pos x="558" y="184"/>
                </a:cxn>
                <a:cxn ang="0">
                  <a:pos x="513" y="87"/>
                </a:cxn>
                <a:cxn ang="0">
                  <a:pos x="458" y="78"/>
                </a:cxn>
                <a:cxn ang="0">
                  <a:pos x="469" y="128"/>
                </a:cxn>
                <a:cxn ang="0">
                  <a:pos x="521" y="224"/>
                </a:cxn>
                <a:cxn ang="0">
                  <a:pos x="480" y="180"/>
                </a:cxn>
                <a:cxn ang="0">
                  <a:pos x="444" y="223"/>
                </a:cxn>
                <a:cxn ang="0">
                  <a:pos x="521" y="224"/>
                </a:cxn>
                <a:cxn ang="0">
                  <a:pos x="618" y="345"/>
                </a:cxn>
                <a:cxn ang="0">
                  <a:pos x="584" y="339"/>
                </a:cxn>
                <a:cxn ang="0">
                  <a:pos x="706" y="2"/>
                </a:cxn>
                <a:cxn ang="0">
                  <a:pos x="744" y="3"/>
                </a:cxn>
                <a:cxn ang="0">
                  <a:pos x="938" y="267"/>
                </a:cxn>
                <a:cxn ang="0">
                  <a:pos x="930" y="287"/>
                </a:cxn>
                <a:cxn ang="0">
                  <a:pos x="771" y="277"/>
                </a:cxn>
                <a:cxn ang="0">
                  <a:pos x="776" y="240"/>
                </a:cxn>
                <a:cxn ang="0">
                  <a:pos x="859" y="141"/>
                </a:cxn>
                <a:cxn ang="0">
                  <a:pos x="859" y="88"/>
                </a:cxn>
                <a:cxn ang="0">
                  <a:pos x="799" y="88"/>
                </a:cxn>
                <a:cxn ang="0">
                  <a:pos x="776" y="93"/>
                </a:cxn>
                <a:cxn ang="0">
                  <a:pos x="776" y="62"/>
                </a:cxn>
                <a:cxn ang="0">
                  <a:pos x="805" y="41"/>
                </a:cxn>
                <a:cxn ang="0">
                  <a:pos x="908" y="52"/>
                </a:cxn>
                <a:cxn ang="0">
                  <a:pos x="916" y="148"/>
                </a:cxn>
                <a:cxn ang="0">
                  <a:pos x="929" y="246"/>
                </a:cxn>
                <a:cxn ang="0">
                  <a:pos x="938" y="267"/>
                </a:cxn>
              </a:cxnLst>
              <a:rect l="0" t="0" r="r" b="b"/>
              <a:pathLst>
                <a:path w="938" h="346">
                  <a:moveTo>
                    <a:pt x="163" y="206"/>
                  </a:moveTo>
                  <a:cubicBezTo>
                    <a:pt x="163" y="220"/>
                    <a:pt x="161" y="232"/>
                    <a:pt x="156" y="243"/>
                  </a:cubicBezTo>
                  <a:cubicBezTo>
                    <a:pt x="152" y="253"/>
                    <a:pt x="145" y="262"/>
                    <a:pt x="137" y="269"/>
                  </a:cubicBezTo>
                  <a:cubicBezTo>
                    <a:pt x="128" y="277"/>
                    <a:pt x="118" y="282"/>
                    <a:pt x="106" y="286"/>
                  </a:cubicBezTo>
                  <a:cubicBezTo>
                    <a:pt x="94" y="290"/>
                    <a:pt x="80" y="292"/>
                    <a:pt x="65" y="292"/>
                  </a:cubicBezTo>
                  <a:cubicBezTo>
                    <a:pt x="58" y="292"/>
                    <a:pt x="50" y="291"/>
                    <a:pt x="43" y="290"/>
                  </a:cubicBezTo>
                  <a:cubicBezTo>
                    <a:pt x="37" y="289"/>
                    <a:pt x="30" y="288"/>
                    <a:pt x="25" y="287"/>
                  </a:cubicBezTo>
                  <a:cubicBezTo>
                    <a:pt x="19" y="285"/>
                    <a:pt x="15" y="284"/>
                    <a:pt x="11" y="282"/>
                  </a:cubicBezTo>
                  <a:cubicBezTo>
                    <a:pt x="8" y="281"/>
                    <a:pt x="5" y="280"/>
                    <a:pt x="4" y="279"/>
                  </a:cubicBezTo>
                  <a:cubicBezTo>
                    <a:pt x="3" y="278"/>
                    <a:pt x="2" y="277"/>
                    <a:pt x="2" y="275"/>
                  </a:cubicBezTo>
                  <a:cubicBezTo>
                    <a:pt x="1" y="274"/>
                    <a:pt x="1" y="273"/>
                    <a:pt x="0" y="271"/>
                  </a:cubicBezTo>
                  <a:cubicBezTo>
                    <a:pt x="0" y="270"/>
                    <a:pt x="0" y="268"/>
                    <a:pt x="0" y="265"/>
                  </a:cubicBezTo>
                  <a:cubicBezTo>
                    <a:pt x="0" y="263"/>
                    <a:pt x="0" y="260"/>
                    <a:pt x="0" y="257"/>
                  </a:cubicBezTo>
                  <a:cubicBezTo>
                    <a:pt x="0" y="253"/>
                    <a:pt x="0" y="250"/>
                    <a:pt x="0" y="247"/>
                  </a:cubicBezTo>
                  <a:cubicBezTo>
                    <a:pt x="0" y="245"/>
                    <a:pt x="1" y="243"/>
                    <a:pt x="1" y="241"/>
                  </a:cubicBezTo>
                  <a:cubicBezTo>
                    <a:pt x="2" y="240"/>
                    <a:pt x="3" y="239"/>
                    <a:pt x="3" y="238"/>
                  </a:cubicBezTo>
                  <a:cubicBezTo>
                    <a:pt x="4" y="237"/>
                    <a:pt x="5" y="237"/>
                    <a:pt x="6" y="237"/>
                  </a:cubicBezTo>
                  <a:cubicBezTo>
                    <a:pt x="7" y="237"/>
                    <a:pt x="9" y="238"/>
                    <a:pt x="12" y="239"/>
                  </a:cubicBezTo>
                  <a:cubicBezTo>
                    <a:pt x="15" y="241"/>
                    <a:pt x="18" y="242"/>
                    <a:pt x="22" y="244"/>
                  </a:cubicBezTo>
                  <a:cubicBezTo>
                    <a:pt x="27" y="246"/>
                    <a:pt x="32" y="248"/>
                    <a:pt x="38" y="249"/>
                  </a:cubicBezTo>
                  <a:cubicBezTo>
                    <a:pt x="44" y="251"/>
                    <a:pt x="52" y="251"/>
                    <a:pt x="60" y="251"/>
                  </a:cubicBezTo>
                  <a:cubicBezTo>
                    <a:pt x="68" y="251"/>
                    <a:pt x="75" y="251"/>
                    <a:pt x="81" y="249"/>
                  </a:cubicBezTo>
                  <a:cubicBezTo>
                    <a:pt x="87" y="247"/>
                    <a:pt x="92" y="245"/>
                    <a:pt x="96" y="242"/>
                  </a:cubicBezTo>
                  <a:cubicBezTo>
                    <a:pt x="101" y="238"/>
                    <a:pt x="104" y="234"/>
                    <a:pt x="106" y="229"/>
                  </a:cubicBezTo>
                  <a:cubicBezTo>
                    <a:pt x="108" y="224"/>
                    <a:pt x="110" y="217"/>
                    <a:pt x="110" y="210"/>
                  </a:cubicBezTo>
                  <a:cubicBezTo>
                    <a:pt x="110" y="204"/>
                    <a:pt x="109" y="198"/>
                    <a:pt x="107" y="194"/>
                  </a:cubicBezTo>
                  <a:cubicBezTo>
                    <a:pt x="105" y="189"/>
                    <a:pt x="102" y="185"/>
                    <a:pt x="98" y="181"/>
                  </a:cubicBezTo>
                  <a:cubicBezTo>
                    <a:pt x="93" y="178"/>
                    <a:pt x="88" y="176"/>
                    <a:pt x="82" y="174"/>
                  </a:cubicBezTo>
                  <a:cubicBezTo>
                    <a:pt x="75" y="172"/>
                    <a:pt x="67" y="171"/>
                    <a:pt x="58" y="171"/>
                  </a:cubicBezTo>
                  <a:cubicBezTo>
                    <a:pt x="50" y="171"/>
                    <a:pt x="43" y="172"/>
                    <a:pt x="37" y="172"/>
                  </a:cubicBezTo>
                  <a:cubicBezTo>
                    <a:pt x="31" y="173"/>
                    <a:pt x="25" y="174"/>
                    <a:pt x="20" y="174"/>
                  </a:cubicBezTo>
                  <a:cubicBezTo>
                    <a:pt x="16" y="174"/>
                    <a:pt x="14" y="173"/>
                    <a:pt x="12" y="171"/>
                  </a:cubicBezTo>
                  <a:cubicBezTo>
                    <a:pt x="10" y="169"/>
                    <a:pt x="9" y="165"/>
                    <a:pt x="9" y="160"/>
                  </a:cubicBezTo>
                  <a:lnTo>
                    <a:pt x="9" y="52"/>
                  </a:lnTo>
                  <a:cubicBezTo>
                    <a:pt x="9" y="47"/>
                    <a:pt x="10" y="43"/>
                    <a:pt x="12" y="41"/>
                  </a:cubicBezTo>
                  <a:cubicBezTo>
                    <a:pt x="14" y="39"/>
                    <a:pt x="18" y="37"/>
                    <a:pt x="22" y="37"/>
                  </a:cubicBezTo>
                  <a:lnTo>
                    <a:pt x="140" y="37"/>
                  </a:lnTo>
                  <a:cubicBezTo>
                    <a:pt x="142" y="37"/>
                    <a:pt x="143" y="38"/>
                    <a:pt x="144" y="39"/>
                  </a:cubicBezTo>
                  <a:cubicBezTo>
                    <a:pt x="145" y="39"/>
                    <a:pt x="146" y="41"/>
                    <a:pt x="146" y="42"/>
                  </a:cubicBezTo>
                  <a:cubicBezTo>
                    <a:pt x="147" y="44"/>
                    <a:pt x="148" y="46"/>
                    <a:pt x="148" y="49"/>
                  </a:cubicBezTo>
                  <a:cubicBezTo>
                    <a:pt x="148" y="52"/>
                    <a:pt x="148" y="55"/>
                    <a:pt x="148" y="59"/>
                  </a:cubicBezTo>
                  <a:cubicBezTo>
                    <a:pt x="148" y="67"/>
                    <a:pt x="148" y="72"/>
                    <a:pt x="146" y="76"/>
                  </a:cubicBezTo>
                  <a:cubicBezTo>
                    <a:pt x="145" y="79"/>
                    <a:pt x="143" y="81"/>
                    <a:pt x="140" y="81"/>
                  </a:cubicBezTo>
                  <a:lnTo>
                    <a:pt x="52" y="81"/>
                  </a:lnTo>
                  <a:lnTo>
                    <a:pt x="52" y="134"/>
                  </a:lnTo>
                  <a:cubicBezTo>
                    <a:pt x="56" y="134"/>
                    <a:pt x="61" y="134"/>
                    <a:pt x="65" y="133"/>
                  </a:cubicBezTo>
                  <a:cubicBezTo>
                    <a:pt x="69" y="133"/>
                    <a:pt x="74" y="133"/>
                    <a:pt x="79" y="133"/>
                  </a:cubicBezTo>
                  <a:cubicBezTo>
                    <a:pt x="93" y="133"/>
                    <a:pt x="105" y="135"/>
                    <a:pt x="115" y="138"/>
                  </a:cubicBezTo>
                  <a:cubicBezTo>
                    <a:pt x="126" y="141"/>
                    <a:pt x="134" y="146"/>
                    <a:pt x="142" y="152"/>
                  </a:cubicBezTo>
                  <a:cubicBezTo>
                    <a:pt x="149" y="158"/>
                    <a:pt x="154" y="166"/>
                    <a:pt x="158" y="175"/>
                  </a:cubicBezTo>
                  <a:cubicBezTo>
                    <a:pt x="162" y="184"/>
                    <a:pt x="163" y="194"/>
                    <a:pt x="163" y="206"/>
                  </a:cubicBezTo>
                  <a:close/>
                  <a:moveTo>
                    <a:pt x="371" y="161"/>
                  </a:moveTo>
                  <a:cubicBezTo>
                    <a:pt x="371" y="181"/>
                    <a:pt x="370" y="199"/>
                    <a:pt x="367" y="216"/>
                  </a:cubicBezTo>
                  <a:cubicBezTo>
                    <a:pt x="363" y="232"/>
                    <a:pt x="358" y="245"/>
                    <a:pt x="351" y="257"/>
                  </a:cubicBezTo>
                  <a:cubicBezTo>
                    <a:pt x="344" y="268"/>
                    <a:pt x="334" y="277"/>
                    <a:pt x="322" y="283"/>
                  </a:cubicBezTo>
                  <a:cubicBezTo>
                    <a:pt x="311" y="289"/>
                    <a:pt x="296" y="292"/>
                    <a:pt x="280" y="292"/>
                  </a:cubicBezTo>
                  <a:cubicBezTo>
                    <a:pt x="262" y="292"/>
                    <a:pt x="248" y="289"/>
                    <a:pt x="237" y="283"/>
                  </a:cubicBezTo>
                  <a:cubicBezTo>
                    <a:pt x="226" y="277"/>
                    <a:pt x="217" y="269"/>
                    <a:pt x="210" y="258"/>
                  </a:cubicBezTo>
                  <a:cubicBezTo>
                    <a:pt x="204" y="247"/>
                    <a:pt x="199" y="233"/>
                    <a:pt x="197" y="217"/>
                  </a:cubicBezTo>
                  <a:cubicBezTo>
                    <a:pt x="194" y="202"/>
                    <a:pt x="193" y="183"/>
                    <a:pt x="193" y="163"/>
                  </a:cubicBezTo>
                  <a:cubicBezTo>
                    <a:pt x="193" y="144"/>
                    <a:pt x="194" y="126"/>
                    <a:pt x="198" y="109"/>
                  </a:cubicBezTo>
                  <a:cubicBezTo>
                    <a:pt x="201" y="93"/>
                    <a:pt x="206" y="79"/>
                    <a:pt x="213" y="68"/>
                  </a:cubicBezTo>
                  <a:cubicBezTo>
                    <a:pt x="221" y="57"/>
                    <a:pt x="230" y="48"/>
                    <a:pt x="242" y="42"/>
                  </a:cubicBezTo>
                  <a:cubicBezTo>
                    <a:pt x="253" y="36"/>
                    <a:pt x="268" y="33"/>
                    <a:pt x="284" y="33"/>
                  </a:cubicBezTo>
                  <a:cubicBezTo>
                    <a:pt x="302" y="33"/>
                    <a:pt x="316" y="36"/>
                    <a:pt x="327" y="42"/>
                  </a:cubicBezTo>
                  <a:cubicBezTo>
                    <a:pt x="338" y="48"/>
                    <a:pt x="347" y="56"/>
                    <a:pt x="354" y="67"/>
                  </a:cubicBezTo>
                  <a:cubicBezTo>
                    <a:pt x="360" y="78"/>
                    <a:pt x="365" y="92"/>
                    <a:pt x="367" y="107"/>
                  </a:cubicBezTo>
                  <a:cubicBezTo>
                    <a:pt x="370" y="123"/>
                    <a:pt x="371" y="141"/>
                    <a:pt x="371" y="161"/>
                  </a:cubicBezTo>
                  <a:close/>
                  <a:moveTo>
                    <a:pt x="320" y="164"/>
                  </a:moveTo>
                  <a:cubicBezTo>
                    <a:pt x="320" y="152"/>
                    <a:pt x="320" y="142"/>
                    <a:pt x="319" y="133"/>
                  </a:cubicBezTo>
                  <a:cubicBezTo>
                    <a:pt x="319" y="123"/>
                    <a:pt x="318" y="116"/>
                    <a:pt x="316" y="109"/>
                  </a:cubicBezTo>
                  <a:cubicBezTo>
                    <a:pt x="315" y="102"/>
                    <a:pt x="313" y="96"/>
                    <a:pt x="311" y="92"/>
                  </a:cubicBezTo>
                  <a:cubicBezTo>
                    <a:pt x="309" y="87"/>
                    <a:pt x="307" y="84"/>
                    <a:pt x="304" y="81"/>
                  </a:cubicBezTo>
                  <a:cubicBezTo>
                    <a:pt x="301" y="78"/>
                    <a:pt x="298" y="76"/>
                    <a:pt x="294" y="75"/>
                  </a:cubicBezTo>
                  <a:cubicBezTo>
                    <a:pt x="291" y="74"/>
                    <a:pt x="287" y="73"/>
                    <a:pt x="282" y="73"/>
                  </a:cubicBezTo>
                  <a:cubicBezTo>
                    <a:pt x="275" y="73"/>
                    <a:pt x="268" y="75"/>
                    <a:pt x="263" y="79"/>
                  </a:cubicBezTo>
                  <a:cubicBezTo>
                    <a:pt x="259" y="82"/>
                    <a:pt x="255" y="88"/>
                    <a:pt x="252" y="95"/>
                  </a:cubicBezTo>
                  <a:cubicBezTo>
                    <a:pt x="249" y="102"/>
                    <a:pt x="247" y="112"/>
                    <a:pt x="246" y="123"/>
                  </a:cubicBezTo>
                  <a:cubicBezTo>
                    <a:pt x="244" y="134"/>
                    <a:pt x="244" y="146"/>
                    <a:pt x="244" y="161"/>
                  </a:cubicBezTo>
                  <a:cubicBezTo>
                    <a:pt x="244" y="179"/>
                    <a:pt x="245" y="193"/>
                    <a:pt x="246" y="205"/>
                  </a:cubicBezTo>
                  <a:cubicBezTo>
                    <a:pt x="247" y="217"/>
                    <a:pt x="250" y="226"/>
                    <a:pt x="253" y="233"/>
                  </a:cubicBezTo>
                  <a:cubicBezTo>
                    <a:pt x="256" y="240"/>
                    <a:pt x="260" y="245"/>
                    <a:pt x="264" y="247"/>
                  </a:cubicBezTo>
                  <a:cubicBezTo>
                    <a:pt x="269" y="250"/>
                    <a:pt x="275" y="251"/>
                    <a:pt x="282" y="251"/>
                  </a:cubicBezTo>
                  <a:cubicBezTo>
                    <a:pt x="287" y="251"/>
                    <a:pt x="291" y="251"/>
                    <a:pt x="295" y="249"/>
                  </a:cubicBezTo>
                  <a:cubicBezTo>
                    <a:pt x="299" y="247"/>
                    <a:pt x="302" y="245"/>
                    <a:pt x="305" y="242"/>
                  </a:cubicBezTo>
                  <a:cubicBezTo>
                    <a:pt x="308" y="239"/>
                    <a:pt x="310" y="235"/>
                    <a:pt x="312" y="230"/>
                  </a:cubicBezTo>
                  <a:cubicBezTo>
                    <a:pt x="314" y="225"/>
                    <a:pt x="316" y="219"/>
                    <a:pt x="317" y="213"/>
                  </a:cubicBezTo>
                  <a:cubicBezTo>
                    <a:pt x="318" y="206"/>
                    <a:pt x="319" y="199"/>
                    <a:pt x="319" y="191"/>
                  </a:cubicBezTo>
                  <a:cubicBezTo>
                    <a:pt x="320" y="183"/>
                    <a:pt x="320" y="174"/>
                    <a:pt x="320" y="164"/>
                  </a:cubicBezTo>
                  <a:close/>
                  <a:moveTo>
                    <a:pt x="571" y="220"/>
                  </a:moveTo>
                  <a:cubicBezTo>
                    <a:pt x="571" y="232"/>
                    <a:pt x="569" y="242"/>
                    <a:pt x="565" y="251"/>
                  </a:cubicBezTo>
                  <a:cubicBezTo>
                    <a:pt x="561" y="260"/>
                    <a:pt x="555" y="267"/>
                    <a:pt x="547" y="273"/>
                  </a:cubicBezTo>
                  <a:cubicBezTo>
                    <a:pt x="540" y="279"/>
                    <a:pt x="530" y="284"/>
                    <a:pt x="519" y="287"/>
                  </a:cubicBezTo>
                  <a:cubicBezTo>
                    <a:pt x="508" y="290"/>
                    <a:pt x="495" y="292"/>
                    <a:pt x="480" y="292"/>
                  </a:cubicBezTo>
                  <a:cubicBezTo>
                    <a:pt x="466" y="292"/>
                    <a:pt x="453" y="290"/>
                    <a:pt x="442" y="288"/>
                  </a:cubicBezTo>
                  <a:cubicBezTo>
                    <a:pt x="432" y="285"/>
                    <a:pt x="423" y="281"/>
                    <a:pt x="416" y="275"/>
                  </a:cubicBezTo>
                  <a:cubicBezTo>
                    <a:pt x="408" y="270"/>
                    <a:pt x="403" y="263"/>
                    <a:pt x="399" y="255"/>
                  </a:cubicBezTo>
                  <a:cubicBezTo>
                    <a:pt x="396" y="247"/>
                    <a:pt x="394" y="238"/>
                    <a:pt x="394" y="227"/>
                  </a:cubicBezTo>
                  <a:cubicBezTo>
                    <a:pt x="394" y="220"/>
                    <a:pt x="395" y="213"/>
                    <a:pt x="397" y="207"/>
                  </a:cubicBezTo>
                  <a:cubicBezTo>
                    <a:pt x="399" y="201"/>
                    <a:pt x="402" y="195"/>
                    <a:pt x="407" y="190"/>
                  </a:cubicBezTo>
                  <a:cubicBezTo>
                    <a:pt x="411" y="184"/>
                    <a:pt x="416" y="179"/>
                    <a:pt x="422" y="175"/>
                  </a:cubicBezTo>
                  <a:cubicBezTo>
                    <a:pt x="429" y="170"/>
                    <a:pt x="436" y="165"/>
                    <a:pt x="444" y="161"/>
                  </a:cubicBezTo>
                  <a:cubicBezTo>
                    <a:pt x="437" y="158"/>
                    <a:pt x="431" y="154"/>
                    <a:pt x="426" y="150"/>
                  </a:cubicBezTo>
                  <a:cubicBezTo>
                    <a:pt x="421" y="145"/>
                    <a:pt x="416" y="141"/>
                    <a:pt x="413" y="136"/>
                  </a:cubicBezTo>
                  <a:cubicBezTo>
                    <a:pt x="409" y="131"/>
                    <a:pt x="406" y="125"/>
                    <a:pt x="404" y="120"/>
                  </a:cubicBezTo>
                  <a:cubicBezTo>
                    <a:pt x="402" y="114"/>
                    <a:pt x="401" y="107"/>
                    <a:pt x="401" y="100"/>
                  </a:cubicBezTo>
                  <a:cubicBezTo>
                    <a:pt x="401" y="90"/>
                    <a:pt x="403" y="81"/>
                    <a:pt x="406" y="73"/>
                  </a:cubicBezTo>
                  <a:cubicBezTo>
                    <a:pt x="410" y="65"/>
                    <a:pt x="415" y="58"/>
                    <a:pt x="422" y="52"/>
                  </a:cubicBezTo>
                  <a:cubicBezTo>
                    <a:pt x="429" y="46"/>
                    <a:pt x="438" y="41"/>
                    <a:pt x="449" y="38"/>
                  </a:cubicBezTo>
                  <a:cubicBezTo>
                    <a:pt x="459" y="35"/>
                    <a:pt x="471" y="33"/>
                    <a:pt x="485" y="33"/>
                  </a:cubicBezTo>
                  <a:cubicBezTo>
                    <a:pt x="499" y="33"/>
                    <a:pt x="511" y="34"/>
                    <a:pt x="521" y="37"/>
                  </a:cubicBezTo>
                  <a:cubicBezTo>
                    <a:pt x="531" y="40"/>
                    <a:pt x="539" y="45"/>
                    <a:pt x="545" y="50"/>
                  </a:cubicBezTo>
                  <a:cubicBezTo>
                    <a:pt x="551" y="55"/>
                    <a:pt x="556" y="62"/>
                    <a:pt x="559" y="69"/>
                  </a:cubicBezTo>
                  <a:cubicBezTo>
                    <a:pt x="562" y="77"/>
                    <a:pt x="564" y="85"/>
                    <a:pt x="564" y="94"/>
                  </a:cubicBezTo>
                  <a:cubicBezTo>
                    <a:pt x="564" y="100"/>
                    <a:pt x="563" y="106"/>
                    <a:pt x="561" y="112"/>
                  </a:cubicBezTo>
                  <a:cubicBezTo>
                    <a:pt x="559" y="118"/>
                    <a:pt x="556" y="123"/>
                    <a:pt x="552" y="128"/>
                  </a:cubicBezTo>
                  <a:cubicBezTo>
                    <a:pt x="549" y="134"/>
                    <a:pt x="544" y="138"/>
                    <a:pt x="539" y="143"/>
                  </a:cubicBezTo>
                  <a:cubicBezTo>
                    <a:pt x="534" y="148"/>
                    <a:pt x="528" y="152"/>
                    <a:pt x="521" y="155"/>
                  </a:cubicBezTo>
                  <a:cubicBezTo>
                    <a:pt x="529" y="160"/>
                    <a:pt x="536" y="164"/>
                    <a:pt x="542" y="169"/>
                  </a:cubicBezTo>
                  <a:cubicBezTo>
                    <a:pt x="548" y="173"/>
                    <a:pt x="553" y="178"/>
                    <a:pt x="558" y="184"/>
                  </a:cubicBezTo>
                  <a:cubicBezTo>
                    <a:pt x="562" y="189"/>
                    <a:pt x="565" y="195"/>
                    <a:pt x="567" y="201"/>
                  </a:cubicBezTo>
                  <a:cubicBezTo>
                    <a:pt x="570" y="207"/>
                    <a:pt x="571" y="213"/>
                    <a:pt x="571" y="220"/>
                  </a:cubicBezTo>
                  <a:close/>
                  <a:moveTo>
                    <a:pt x="515" y="99"/>
                  </a:moveTo>
                  <a:cubicBezTo>
                    <a:pt x="515" y="95"/>
                    <a:pt x="514" y="90"/>
                    <a:pt x="513" y="87"/>
                  </a:cubicBezTo>
                  <a:cubicBezTo>
                    <a:pt x="512" y="83"/>
                    <a:pt x="509" y="80"/>
                    <a:pt x="507" y="78"/>
                  </a:cubicBezTo>
                  <a:cubicBezTo>
                    <a:pt x="504" y="75"/>
                    <a:pt x="501" y="73"/>
                    <a:pt x="497" y="72"/>
                  </a:cubicBezTo>
                  <a:cubicBezTo>
                    <a:pt x="492" y="71"/>
                    <a:pt x="488" y="70"/>
                    <a:pt x="482" y="70"/>
                  </a:cubicBezTo>
                  <a:cubicBezTo>
                    <a:pt x="471" y="70"/>
                    <a:pt x="463" y="73"/>
                    <a:pt x="458" y="78"/>
                  </a:cubicBezTo>
                  <a:cubicBezTo>
                    <a:pt x="453" y="82"/>
                    <a:pt x="450" y="89"/>
                    <a:pt x="450" y="98"/>
                  </a:cubicBezTo>
                  <a:cubicBezTo>
                    <a:pt x="450" y="102"/>
                    <a:pt x="451" y="106"/>
                    <a:pt x="452" y="109"/>
                  </a:cubicBezTo>
                  <a:cubicBezTo>
                    <a:pt x="453" y="113"/>
                    <a:pt x="455" y="116"/>
                    <a:pt x="458" y="119"/>
                  </a:cubicBezTo>
                  <a:cubicBezTo>
                    <a:pt x="461" y="122"/>
                    <a:pt x="465" y="125"/>
                    <a:pt x="469" y="128"/>
                  </a:cubicBezTo>
                  <a:cubicBezTo>
                    <a:pt x="474" y="131"/>
                    <a:pt x="479" y="135"/>
                    <a:pt x="485" y="138"/>
                  </a:cubicBezTo>
                  <a:cubicBezTo>
                    <a:pt x="495" y="132"/>
                    <a:pt x="502" y="126"/>
                    <a:pt x="507" y="120"/>
                  </a:cubicBezTo>
                  <a:cubicBezTo>
                    <a:pt x="512" y="114"/>
                    <a:pt x="515" y="107"/>
                    <a:pt x="515" y="99"/>
                  </a:cubicBezTo>
                  <a:close/>
                  <a:moveTo>
                    <a:pt x="521" y="224"/>
                  </a:moveTo>
                  <a:cubicBezTo>
                    <a:pt x="521" y="219"/>
                    <a:pt x="520" y="215"/>
                    <a:pt x="518" y="211"/>
                  </a:cubicBezTo>
                  <a:cubicBezTo>
                    <a:pt x="517" y="207"/>
                    <a:pt x="514" y="203"/>
                    <a:pt x="511" y="200"/>
                  </a:cubicBezTo>
                  <a:cubicBezTo>
                    <a:pt x="507" y="196"/>
                    <a:pt x="503" y="193"/>
                    <a:pt x="498" y="190"/>
                  </a:cubicBezTo>
                  <a:cubicBezTo>
                    <a:pt x="493" y="186"/>
                    <a:pt x="487" y="183"/>
                    <a:pt x="480" y="180"/>
                  </a:cubicBezTo>
                  <a:cubicBezTo>
                    <a:pt x="474" y="183"/>
                    <a:pt x="469" y="186"/>
                    <a:pt x="464" y="190"/>
                  </a:cubicBezTo>
                  <a:cubicBezTo>
                    <a:pt x="460" y="193"/>
                    <a:pt x="456" y="196"/>
                    <a:pt x="453" y="200"/>
                  </a:cubicBezTo>
                  <a:cubicBezTo>
                    <a:pt x="450" y="203"/>
                    <a:pt x="448" y="207"/>
                    <a:pt x="446" y="211"/>
                  </a:cubicBezTo>
                  <a:cubicBezTo>
                    <a:pt x="445" y="215"/>
                    <a:pt x="444" y="219"/>
                    <a:pt x="444" y="223"/>
                  </a:cubicBezTo>
                  <a:cubicBezTo>
                    <a:pt x="444" y="234"/>
                    <a:pt x="447" y="241"/>
                    <a:pt x="454" y="246"/>
                  </a:cubicBezTo>
                  <a:cubicBezTo>
                    <a:pt x="460" y="252"/>
                    <a:pt x="470" y="254"/>
                    <a:pt x="483" y="254"/>
                  </a:cubicBezTo>
                  <a:cubicBezTo>
                    <a:pt x="496" y="254"/>
                    <a:pt x="505" y="252"/>
                    <a:pt x="511" y="246"/>
                  </a:cubicBezTo>
                  <a:cubicBezTo>
                    <a:pt x="517" y="241"/>
                    <a:pt x="521" y="233"/>
                    <a:pt x="521" y="224"/>
                  </a:cubicBezTo>
                  <a:close/>
                  <a:moveTo>
                    <a:pt x="631" y="338"/>
                  </a:moveTo>
                  <a:cubicBezTo>
                    <a:pt x="631" y="339"/>
                    <a:pt x="630" y="341"/>
                    <a:pt x="629" y="342"/>
                  </a:cubicBezTo>
                  <a:cubicBezTo>
                    <a:pt x="628" y="343"/>
                    <a:pt x="627" y="343"/>
                    <a:pt x="625" y="344"/>
                  </a:cubicBezTo>
                  <a:cubicBezTo>
                    <a:pt x="623" y="345"/>
                    <a:pt x="620" y="345"/>
                    <a:pt x="618" y="345"/>
                  </a:cubicBezTo>
                  <a:cubicBezTo>
                    <a:pt x="615" y="346"/>
                    <a:pt x="611" y="346"/>
                    <a:pt x="607" y="346"/>
                  </a:cubicBezTo>
                  <a:cubicBezTo>
                    <a:pt x="602" y="346"/>
                    <a:pt x="598" y="346"/>
                    <a:pt x="594" y="345"/>
                  </a:cubicBezTo>
                  <a:cubicBezTo>
                    <a:pt x="591" y="345"/>
                    <a:pt x="588" y="344"/>
                    <a:pt x="587" y="343"/>
                  </a:cubicBezTo>
                  <a:cubicBezTo>
                    <a:pt x="585" y="342"/>
                    <a:pt x="584" y="341"/>
                    <a:pt x="584" y="339"/>
                  </a:cubicBezTo>
                  <a:cubicBezTo>
                    <a:pt x="583" y="337"/>
                    <a:pt x="584" y="335"/>
                    <a:pt x="584" y="333"/>
                  </a:cubicBezTo>
                  <a:lnTo>
                    <a:pt x="700" y="9"/>
                  </a:lnTo>
                  <a:cubicBezTo>
                    <a:pt x="700" y="7"/>
                    <a:pt x="701" y="6"/>
                    <a:pt x="702" y="5"/>
                  </a:cubicBezTo>
                  <a:cubicBezTo>
                    <a:pt x="703" y="4"/>
                    <a:pt x="705" y="3"/>
                    <a:pt x="706" y="2"/>
                  </a:cubicBezTo>
                  <a:cubicBezTo>
                    <a:pt x="708" y="1"/>
                    <a:pt x="711" y="1"/>
                    <a:pt x="713" y="1"/>
                  </a:cubicBezTo>
                  <a:cubicBezTo>
                    <a:pt x="716" y="0"/>
                    <a:pt x="720" y="0"/>
                    <a:pt x="724" y="0"/>
                  </a:cubicBezTo>
                  <a:cubicBezTo>
                    <a:pt x="729" y="0"/>
                    <a:pt x="734" y="0"/>
                    <a:pt x="737" y="1"/>
                  </a:cubicBezTo>
                  <a:cubicBezTo>
                    <a:pt x="740" y="1"/>
                    <a:pt x="743" y="2"/>
                    <a:pt x="744" y="3"/>
                  </a:cubicBezTo>
                  <a:cubicBezTo>
                    <a:pt x="746" y="4"/>
                    <a:pt x="747" y="6"/>
                    <a:pt x="747" y="7"/>
                  </a:cubicBezTo>
                  <a:cubicBezTo>
                    <a:pt x="748" y="9"/>
                    <a:pt x="747" y="11"/>
                    <a:pt x="747" y="13"/>
                  </a:cubicBezTo>
                  <a:lnTo>
                    <a:pt x="631" y="338"/>
                  </a:lnTo>
                  <a:close/>
                  <a:moveTo>
                    <a:pt x="938" y="267"/>
                  </a:moveTo>
                  <a:cubicBezTo>
                    <a:pt x="938" y="270"/>
                    <a:pt x="937" y="274"/>
                    <a:pt x="937" y="276"/>
                  </a:cubicBezTo>
                  <a:cubicBezTo>
                    <a:pt x="937" y="279"/>
                    <a:pt x="936" y="281"/>
                    <a:pt x="936" y="283"/>
                  </a:cubicBezTo>
                  <a:cubicBezTo>
                    <a:pt x="935" y="284"/>
                    <a:pt x="934" y="286"/>
                    <a:pt x="933" y="286"/>
                  </a:cubicBezTo>
                  <a:cubicBezTo>
                    <a:pt x="932" y="287"/>
                    <a:pt x="931" y="287"/>
                    <a:pt x="930" y="287"/>
                  </a:cubicBezTo>
                  <a:lnTo>
                    <a:pt x="786" y="287"/>
                  </a:lnTo>
                  <a:cubicBezTo>
                    <a:pt x="783" y="287"/>
                    <a:pt x="781" y="287"/>
                    <a:pt x="779" y="287"/>
                  </a:cubicBezTo>
                  <a:cubicBezTo>
                    <a:pt x="776" y="286"/>
                    <a:pt x="775" y="285"/>
                    <a:pt x="773" y="284"/>
                  </a:cubicBezTo>
                  <a:cubicBezTo>
                    <a:pt x="772" y="282"/>
                    <a:pt x="771" y="280"/>
                    <a:pt x="771" y="277"/>
                  </a:cubicBezTo>
                  <a:cubicBezTo>
                    <a:pt x="770" y="274"/>
                    <a:pt x="770" y="271"/>
                    <a:pt x="770" y="266"/>
                  </a:cubicBezTo>
                  <a:cubicBezTo>
                    <a:pt x="770" y="262"/>
                    <a:pt x="770" y="258"/>
                    <a:pt x="770" y="255"/>
                  </a:cubicBezTo>
                  <a:cubicBezTo>
                    <a:pt x="771" y="252"/>
                    <a:pt x="771" y="250"/>
                    <a:pt x="773" y="247"/>
                  </a:cubicBezTo>
                  <a:cubicBezTo>
                    <a:pt x="774" y="245"/>
                    <a:pt x="775" y="242"/>
                    <a:pt x="776" y="240"/>
                  </a:cubicBezTo>
                  <a:cubicBezTo>
                    <a:pt x="778" y="238"/>
                    <a:pt x="780" y="235"/>
                    <a:pt x="783" y="233"/>
                  </a:cubicBezTo>
                  <a:lnTo>
                    <a:pt x="826" y="186"/>
                  </a:lnTo>
                  <a:cubicBezTo>
                    <a:pt x="835" y="177"/>
                    <a:pt x="842" y="169"/>
                    <a:pt x="847" y="162"/>
                  </a:cubicBezTo>
                  <a:cubicBezTo>
                    <a:pt x="852" y="154"/>
                    <a:pt x="856" y="148"/>
                    <a:pt x="859" y="141"/>
                  </a:cubicBezTo>
                  <a:cubicBezTo>
                    <a:pt x="862" y="135"/>
                    <a:pt x="864" y="130"/>
                    <a:pt x="865" y="125"/>
                  </a:cubicBezTo>
                  <a:cubicBezTo>
                    <a:pt x="866" y="119"/>
                    <a:pt x="867" y="115"/>
                    <a:pt x="867" y="110"/>
                  </a:cubicBezTo>
                  <a:cubicBezTo>
                    <a:pt x="867" y="106"/>
                    <a:pt x="866" y="102"/>
                    <a:pt x="865" y="98"/>
                  </a:cubicBezTo>
                  <a:cubicBezTo>
                    <a:pt x="864" y="94"/>
                    <a:pt x="862" y="91"/>
                    <a:pt x="859" y="88"/>
                  </a:cubicBezTo>
                  <a:cubicBezTo>
                    <a:pt x="856" y="85"/>
                    <a:pt x="853" y="83"/>
                    <a:pt x="849" y="81"/>
                  </a:cubicBezTo>
                  <a:cubicBezTo>
                    <a:pt x="845" y="80"/>
                    <a:pt x="840" y="79"/>
                    <a:pt x="835" y="79"/>
                  </a:cubicBezTo>
                  <a:cubicBezTo>
                    <a:pt x="827" y="79"/>
                    <a:pt x="821" y="80"/>
                    <a:pt x="815" y="82"/>
                  </a:cubicBezTo>
                  <a:cubicBezTo>
                    <a:pt x="809" y="84"/>
                    <a:pt x="804" y="86"/>
                    <a:pt x="799" y="88"/>
                  </a:cubicBezTo>
                  <a:cubicBezTo>
                    <a:pt x="795" y="90"/>
                    <a:pt x="791" y="93"/>
                    <a:pt x="788" y="95"/>
                  </a:cubicBezTo>
                  <a:cubicBezTo>
                    <a:pt x="785" y="97"/>
                    <a:pt x="783" y="98"/>
                    <a:pt x="781" y="98"/>
                  </a:cubicBezTo>
                  <a:cubicBezTo>
                    <a:pt x="780" y="98"/>
                    <a:pt x="779" y="97"/>
                    <a:pt x="778" y="96"/>
                  </a:cubicBezTo>
                  <a:cubicBezTo>
                    <a:pt x="777" y="96"/>
                    <a:pt x="777" y="94"/>
                    <a:pt x="776" y="93"/>
                  </a:cubicBezTo>
                  <a:cubicBezTo>
                    <a:pt x="776" y="91"/>
                    <a:pt x="775" y="88"/>
                    <a:pt x="775" y="85"/>
                  </a:cubicBezTo>
                  <a:cubicBezTo>
                    <a:pt x="775" y="82"/>
                    <a:pt x="774" y="79"/>
                    <a:pt x="774" y="74"/>
                  </a:cubicBezTo>
                  <a:cubicBezTo>
                    <a:pt x="774" y="71"/>
                    <a:pt x="775" y="69"/>
                    <a:pt x="775" y="67"/>
                  </a:cubicBezTo>
                  <a:cubicBezTo>
                    <a:pt x="775" y="65"/>
                    <a:pt x="775" y="63"/>
                    <a:pt x="776" y="62"/>
                  </a:cubicBezTo>
                  <a:cubicBezTo>
                    <a:pt x="776" y="60"/>
                    <a:pt x="776" y="59"/>
                    <a:pt x="777" y="58"/>
                  </a:cubicBezTo>
                  <a:cubicBezTo>
                    <a:pt x="778" y="57"/>
                    <a:pt x="779" y="55"/>
                    <a:pt x="781" y="54"/>
                  </a:cubicBezTo>
                  <a:cubicBezTo>
                    <a:pt x="782" y="52"/>
                    <a:pt x="785" y="50"/>
                    <a:pt x="789" y="48"/>
                  </a:cubicBezTo>
                  <a:cubicBezTo>
                    <a:pt x="794" y="46"/>
                    <a:pt x="799" y="43"/>
                    <a:pt x="805" y="41"/>
                  </a:cubicBezTo>
                  <a:cubicBezTo>
                    <a:pt x="812" y="39"/>
                    <a:pt x="819" y="37"/>
                    <a:pt x="826" y="35"/>
                  </a:cubicBezTo>
                  <a:cubicBezTo>
                    <a:pt x="834" y="34"/>
                    <a:pt x="842" y="33"/>
                    <a:pt x="850" y="33"/>
                  </a:cubicBezTo>
                  <a:cubicBezTo>
                    <a:pt x="863" y="33"/>
                    <a:pt x="874" y="35"/>
                    <a:pt x="884" y="38"/>
                  </a:cubicBezTo>
                  <a:cubicBezTo>
                    <a:pt x="894" y="41"/>
                    <a:pt x="902" y="46"/>
                    <a:pt x="908" y="52"/>
                  </a:cubicBezTo>
                  <a:cubicBezTo>
                    <a:pt x="915" y="57"/>
                    <a:pt x="920" y="64"/>
                    <a:pt x="923" y="72"/>
                  </a:cubicBezTo>
                  <a:cubicBezTo>
                    <a:pt x="926" y="81"/>
                    <a:pt x="927" y="89"/>
                    <a:pt x="927" y="98"/>
                  </a:cubicBezTo>
                  <a:cubicBezTo>
                    <a:pt x="927" y="107"/>
                    <a:pt x="927" y="115"/>
                    <a:pt x="925" y="122"/>
                  </a:cubicBezTo>
                  <a:cubicBezTo>
                    <a:pt x="924" y="130"/>
                    <a:pt x="920" y="139"/>
                    <a:pt x="916" y="148"/>
                  </a:cubicBezTo>
                  <a:cubicBezTo>
                    <a:pt x="911" y="157"/>
                    <a:pt x="904" y="167"/>
                    <a:pt x="895" y="178"/>
                  </a:cubicBezTo>
                  <a:cubicBezTo>
                    <a:pt x="886" y="189"/>
                    <a:pt x="874" y="202"/>
                    <a:pt x="859" y="216"/>
                  </a:cubicBezTo>
                  <a:lnTo>
                    <a:pt x="830" y="246"/>
                  </a:lnTo>
                  <a:lnTo>
                    <a:pt x="929" y="246"/>
                  </a:lnTo>
                  <a:cubicBezTo>
                    <a:pt x="930" y="246"/>
                    <a:pt x="931" y="247"/>
                    <a:pt x="932" y="247"/>
                  </a:cubicBezTo>
                  <a:cubicBezTo>
                    <a:pt x="934" y="248"/>
                    <a:pt x="934" y="249"/>
                    <a:pt x="935" y="251"/>
                  </a:cubicBezTo>
                  <a:cubicBezTo>
                    <a:pt x="936" y="253"/>
                    <a:pt x="937" y="255"/>
                    <a:pt x="937" y="257"/>
                  </a:cubicBezTo>
                  <a:cubicBezTo>
                    <a:pt x="937" y="260"/>
                    <a:pt x="938" y="263"/>
                    <a:pt x="938" y="267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55" name="Freeform 1207"/>
            <p:cNvSpPr>
              <a:spLocks noEditPoints="1"/>
            </p:cNvSpPr>
            <p:nvPr/>
          </p:nvSpPr>
          <p:spPr bwMode="auto">
            <a:xfrm>
              <a:off x="6693519" y="1272200"/>
              <a:ext cx="426361" cy="157395"/>
            </a:xfrm>
            <a:custGeom>
              <a:avLst/>
              <a:gdLst/>
              <a:ahLst/>
              <a:cxnLst>
                <a:cxn ang="0">
                  <a:pos x="106" y="285"/>
                </a:cxn>
                <a:cxn ang="0">
                  <a:pos x="12" y="282"/>
                </a:cxn>
                <a:cxn ang="0">
                  <a:pos x="0" y="265"/>
                </a:cxn>
                <a:cxn ang="0">
                  <a:pos x="4" y="237"/>
                </a:cxn>
                <a:cxn ang="0">
                  <a:pos x="39" y="249"/>
                </a:cxn>
                <a:cxn ang="0">
                  <a:pos x="107" y="228"/>
                </a:cxn>
                <a:cxn ang="0">
                  <a:pos x="82" y="173"/>
                </a:cxn>
                <a:cxn ang="0">
                  <a:pos x="12" y="170"/>
                </a:cxn>
                <a:cxn ang="0">
                  <a:pos x="23" y="37"/>
                </a:cxn>
                <a:cxn ang="0">
                  <a:pos x="148" y="48"/>
                </a:cxn>
                <a:cxn ang="0">
                  <a:pos x="52" y="80"/>
                </a:cxn>
                <a:cxn ang="0">
                  <a:pos x="116" y="137"/>
                </a:cxn>
                <a:cxn ang="0">
                  <a:pos x="371" y="220"/>
                </a:cxn>
                <a:cxn ang="0">
                  <a:pos x="280" y="291"/>
                </a:cxn>
                <a:cxn ang="0">
                  <a:pos x="194" y="227"/>
                </a:cxn>
                <a:cxn ang="0">
                  <a:pos x="244" y="161"/>
                </a:cxn>
                <a:cxn ang="0">
                  <a:pos x="201" y="100"/>
                </a:cxn>
                <a:cxn ang="0">
                  <a:pos x="285" y="32"/>
                </a:cxn>
                <a:cxn ang="0">
                  <a:pos x="364" y="94"/>
                </a:cxn>
                <a:cxn ang="0">
                  <a:pos x="321" y="155"/>
                </a:cxn>
                <a:cxn ang="0">
                  <a:pos x="371" y="220"/>
                </a:cxn>
                <a:cxn ang="0">
                  <a:pos x="296" y="71"/>
                </a:cxn>
                <a:cxn ang="0">
                  <a:pos x="252" y="109"/>
                </a:cxn>
                <a:cxn ang="0">
                  <a:pos x="307" y="120"/>
                </a:cxn>
                <a:cxn ang="0">
                  <a:pos x="311" y="199"/>
                </a:cxn>
                <a:cxn ang="0">
                  <a:pos x="253" y="199"/>
                </a:cxn>
                <a:cxn ang="0">
                  <a:pos x="283" y="254"/>
                </a:cxn>
                <a:cxn ang="0">
                  <a:pos x="565" y="277"/>
                </a:cxn>
                <a:cxn ang="0">
                  <a:pos x="419" y="287"/>
                </a:cxn>
                <a:cxn ang="0">
                  <a:pos x="412" y="268"/>
                </a:cxn>
                <a:cxn ang="0">
                  <a:pos x="419" y="248"/>
                </a:cxn>
                <a:cxn ang="0">
                  <a:pos x="419" y="110"/>
                </a:cxn>
                <a:cxn ang="0">
                  <a:pos x="412" y="84"/>
                </a:cxn>
                <a:cxn ang="0">
                  <a:pos x="472" y="38"/>
                </a:cxn>
                <a:cxn ang="0">
                  <a:pos x="494" y="35"/>
                </a:cxn>
                <a:cxn ang="0">
                  <a:pos x="517" y="41"/>
                </a:cxn>
                <a:cxn ang="0">
                  <a:pos x="563" y="252"/>
                </a:cxn>
                <a:cxn ang="0">
                  <a:pos x="629" y="341"/>
                </a:cxn>
                <a:cxn ang="0">
                  <a:pos x="595" y="345"/>
                </a:cxn>
                <a:cxn ang="0">
                  <a:pos x="700" y="8"/>
                </a:cxn>
                <a:cxn ang="0">
                  <a:pos x="725" y="0"/>
                </a:cxn>
                <a:cxn ang="0">
                  <a:pos x="747" y="12"/>
                </a:cxn>
                <a:cxn ang="0">
                  <a:pos x="934" y="283"/>
                </a:cxn>
                <a:cxn ang="0">
                  <a:pos x="787" y="286"/>
                </a:cxn>
                <a:cxn ang="0">
                  <a:pos x="783" y="258"/>
                </a:cxn>
                <a:cxn ang="0">
                  <a:pos x="837" y="248"/>
                </a:cxn>
                <a:cxn ang="0">
                  <a:pos x="785" y="109"/>
                </a:cxn>
                <a:cxn ang="0">
                  <a:pos x="783" y="79"/>
                </a:cxn>
                <a:cxn ang="0">
                  <a:pos x="845" y="36"/>
                </a:cxn>
                <a:cxn ang="0">
                  <a:pos x="877" y="35"/>
                </a:cxn>
                <a:cxn ang="0">
                  <a:pos x="887" y="248"/>
                </a:cxn>
                <a:cxn ang="0">
                  <a:pos x="935" y="258"/>
                </a:cxn>
              </a:cxnLst>
              <a:rect l="0" t="0" r="r" b="b"/>
              <a:pathLst>
                <a:path w="936" h="345">
                  <a:moveTo>
                    <a:pt x="164" y="206"/>
                  </a:moveTo>
                  <a:cubicBezTo>
                    <a:pt x="164" y="219"/>
                    <a:pt x="162" y="231"/>
                    <a:pt x="157" y="242"/>
                  </a:cubicBezTo>
                  <a:cubicBezTo>
                    <a:pt x="152" y="253"/>
                    <a:pt x="146" y="262"/>
                    <a:pt x="137" y="269"/>
                  </a:cubicBezTo>
                  <a:cubicBezTo>
                    <a:pt x="128" y="276"/>
                    <a:pt x="118" y="282"/>
                    <a:pt x="106" y="285"/>
                  </a:cubicBezTo>
                  <a:cubicBezTo>
                    <a:pt x="94" y="289"/>
                    <a:pt x="81" y="291"/>
                    <a:pt x="66" y="291"/>
                  </a:cubicBezTo>
                  <a:cubicBezTo>
                    <a:pt x="58" y="291"/>
                    <a:pt x="51" y="291"/>
                    <a:pt x="44" y="290"/>
                  </a:cubicBezTo>
                  <a:cubicBezTo>
                    <a:pt x="37" y="289"/>
                    <a:pt x="31" y="288"/>
                    <a:pt x="25" y="286"/>
                  </a:cubicBezTo>
                  <a:cubicBezTo>
                    <a:pt x="20" y="285"/>
                    <a:pt x="15" y="283"/>
                    <a:pt x="12" y="282"/>
                  </a:cubicBezTo>
                  <a:cubicBezTo>
                    <a:pt x="8" y="280"/>
                    <a:pt x="6" y="279"/>
                    <a:pt x="5" y="278"/>
                  </a:cubicBezTo>
                  <a:cubicBezTo>
                    <a:pt x="4" y="277"/>
                    <a:pt x="3" y="276"/>
                    <a:pt x="2" y="275"/>
                  </a:cubicBezTo>
                  <a:cubicBezTo>
                    <a:pt x="2" y="274"/>
                    <a:pt x="1" y="272"/>
                    <a:pt x="1" y="271"/>
                  </a:cubicBezTo>
                  <a:cubicBezTo>
                    <a:pt x="1" y="269"/>
                    <a:pt x="0" y="267"/>
                    <a:pt x="0" y="265"/>
                  </a:cubicBezTo>
                  <a:cubicBezTo>
                    <a:pt x="0" y="262"/>
                    <a:pt x="0" y="259"/>
                    <a:pt x="0" y="256"/>
                  </a:cubicBezTo>
                  <a:cubicBezTo>
                    <a:pt x="0" y="252"/>
                    <a:pt x="0" y="249"/>
                    <a:pt x="1" y="247"/>
                  </a:cubicBezTo>
                  <a:cubicBezTo>
                    <a:pt x="1" y="244"/>
                    <a:pt x="1" y="242"/>
                    <a:pt x="2" y="241"/>
                  </a:cubicBezTo>
                  <a:cubicBezTo>
                    <a:pt x="2" y="239"/>
                    <a:pt x="3" y="238"/>
                    <a:pt x="4" y="237"/>
                  </a:cubicBezTo>
                  <a:cubicBezTo>
                    <a:pt x="5" y="237"/>
                    <a:pt x="5" y="236"/>
                    <a:pt x="7" y="236"/>
                  </a:cubicBezTo>
                  <a:cubicBezTo>
                    <a:pt x="8" y="236"/>
                    <a:pt x="10" y="237"/>
                    <a:pt x="12" y="239"/>
                  </a:cubicBezTo>
                  <a:cubicBezTo>
                    <a:pt x="15" y="240"/>
                    <a:pt x="19" y="242"/>
                    <a:pt x="23" y="244"/>
                  </a:cubicBezTo>
                  <a:cubicBezTo>
                    <a:pt x="27" y="245"/>
                    <a:pt x="32" y="247"/>
                    <a:pt x="39" y="249"/>
                  </a:cubicBezTo>
                  <a:cubicBezTo>
                    <a:pt x="45" y="250"/>
                    <a:pt x="52" y="251"/>
                    <a:pt x="61" y="251"/>
                  </a:cubicBezTo>
                  <a:cubicBezTo>
                    <a:pt x="68" y="251"/>
                    <a:pt x="75" y="250"/>
                    <a:pt x="81" y="248"/>
                  </a:cubicBezTo>
                  <a:cubicBezTo>
                    <a:pt x="87" y="247"/>
                    <a:pt x="93" y="244"/>
                    <a:pt x="97" y="241"/>
                  </a:cubicBezTo>
                  <a:cubicBezTo>
                    <a:pt x="101" y="238"/>
                    <a:pt x="104" y="233"/>
                    <a:pt x="107" y="228"/>
                  </a:cubicBezTo>
                  <a:cubicBezTo>
                    <a:pt x="109" y="223"/>
                    <a:pt x="110" y="217"/>
                    <a:pt x="110" y="210"/>
                  </a:cubicBezTo>
                  <a:cubicBezTo>
                    <a:pt x="110" y="203"/>
                    <a:pt x="109" y="198"/>
                    <a:pt x="107" y="193"/>
                  </a:cubicBezTo>
                  <a:cubicBezTo>
                    <a:pt x="105" y="188"/>
                    <a:pt x="102" y="184"/>
                    <a:pt x="98" y="181"/>
                  </a:cubicBezTo>
                  <a:cubicBezTo>
                    <a:pt x="94" y="177"/>
                    <a:pt x="89" y="175"/>
                    <a:pt x="82" y="173"/>
                  </a:cubicBezTo>
                  <a:cubicBezTo>
                    <a:pt x="76" y="172"/>
                    <a:pt x="68" y="171"/>
                    <a:pt x="58" y="171"/>
                  </a:cubicBezTo>
                  <a:cubicBezTo>
                    <a:pt x="51" y="171"/>
                    <a:pt x="44" y="171"/>
                    <a:pt x="38" y="172"/>
                  </a:cubicBezTo>
                  <a:cubicBezTo>
                    <a:pt x="32" y="173"/>
                    <a:pt x="26" y="173"/>
                    <a:pt x="20" y="173"/>
                  </a:cubicBezTo>
                  <a:cubicBezTo>
                    <a:pt x="17" y="173"/>
                    <a:pt x="14" y="172"/>
                    <a:pt x="12" y="170"/>
                  </a:cubicBezTo>
                  <a:cubicBezTo>
                    <a:pt x="11" y="168"/>
                    <a:pt x="10" y="165"/>
                    <a:pt x="10" y="160"/>
                  </a:cubicBezTo>
                  <a:lnTo>
                    <a:pt x="10" y="51"/>
                  </a:lnTo>
                  <a:cubicBezTo>
                    <a:pt x="10" y="46"/>
                    <a:pt x="11" y="42"/>
                    <a:pt x="13" y="40"/>
                  </a:cubicBezTo>
                  <a:cubicBezTo>
                    <a:pt x="15" y="38"/>
                    <a:pt x="18" y="37"/>
                    <a:pt x="23" y="37"/>
                  </a:cubicBezTo>
                  <a:lnTo>
                    <a:pt x="141" y="37"/>
                  </a:lnTo>
                  <a:cubicBezTo>
                    <a:pt x="142" y="37"/>
                    <a:pt x="143" y="37"/>
                    <a:pt x="144" y="38"/>
                  </a:cubicBezTo>
                  <a:cubicBezTo>
                    <a:pt x="145" y="39"/>
                    <a:pt x="146" y="40"/>
                    <a:pt x="147" y="42"/>
                  </a:cubicBezTo>
                  <a:cubicBezTo>
                    <a:pt x="148" y="43"/>
                    <a:pt x="148" y="46"/>
                    <a:pt x="148" y="48"/>
                  </a:cubicBezTo>
                  <a:cubicBezTo>
                    <a:pt x="149" y="51"/>
                    <a:pt x="149" y="54"/>
                    <a:pt x="149" y="58"/>
                  </a:cubicBezTo>
                  <a:cubicBezTo>
                    <a:pt x="149" y="66"/>
                    <a:pt x="148" y="72"/>
                    <a:pt x="147" y="75"/>
                  </a:cubicBezTo>
                  <a:cubicBezTo>
                    <a:pt x="146" y="79"/>
                    <a:pt x="144" y="80"/>
                    <a:pt x="141" y="80"/>
                  </a:cubicBezTo>
                  <a:lnTo>
                    <a:pt x="52" y="80"/>
                  </a:lnTo>
                  <a:lnTo>
                    <a:pt x="52" y="134"/>
                  </a:lnTo>
                  <a:cubicBezTo>
                    <a:pt x="57" y="133"/>
                    <a:pt x="61" y="133"/>
                    <a:pt x="66" y="133"/>
                  </a:cubicBezTo>
                  <a:cubicBezTo>
                    <a:pt x="70" y="133"/>
                    <a:pt x="75" y="133"/>
                    <a:pt x="80" y="133"/>
                  </a:cubicBezTo>
                  <a:cubicBezTo>
                    <a:pt x="93" y="133"/>
                    <a:pt x="105" y="134"/>
                    <a:pt x="116" y="137"/>
                  </a:cubicBezTo>
                  <a:cubicBezTo>
                    <a:pt x="126" y="141"/>
                    <a:pt x="135" y="145"/>
                    <a:pt x="142" y="151"/>
                  </a:cubicBezTo>
                  <a:cubicBezTo>
                    <a:pt x="149" y="157"/>
                    <a:pt x="155" y="165"/>
                    <a:pt x="158" y="174"/>
                  </a:cubicBezTo>
                  <a:cubicBezTo>
                    <a:pt x="162" y="183"/>
                    <a:pt x="164" y="194"/>
                    <a:pt x="164" y="206"/>
                  </a:cubicBezTo>
                  <a:close/>
                  <a:moveTo>
                    <a:pt x="371" y="220"/>
                  </a:moveTo>
                  <a:cubicBezTo>
                    <a:pt x="371" y="231"/>
                    <a:pt x="369" y="241"/>
                    <a:pt x="365" y="250"/>
                  </a:cubicBezTo>
                  <a:cubicBezTo>
                    <a:pt x="361" y="259"/>
                    <a:pt x="355" y="267"/>
                    <a:pt x="347" y="273"/>
                  </a:cubicBezTo>
                  <a:cubicBezTo>
                    <a:pt x="340" y="279"/>
                    <a:pt x="330" y="283"/>
                    <a:pt x="319" y="287"/>
                  </a:cubicBezTo>
                  <a:cubicBezTo>
                    <a:pt x="308" y="290"/>
                    <a:pt x="295" y="291"/>
                    <a:pt x="280" y="291"/>
                  </a:cubicBezTo>
                  <a:cubicBezTo>
                    <a:pt x="266" y="291"/>
                    <a:pt x="253" y="290"/>
                    <a:pt x="242" y="287"/>
                  </a:cubicBezTo>
                  <a:cubicBezTo>
                    <a:pt x="232" y="284"/>
                    <a:pt x="223" y="280"/>
                    <a:pt x="216" y="275"/>
                  </a:cubicBezTo>
                  <a:cubicBezTo>
                    <a:pt x="208" y="269"/>
                    <a:pt x="203" y="262"/>
                    <a:pt x="199" y="254"/>
                  </a:cubicBezTo>
                  <a:cubicBezTo>
                    <a:pt x="196" y="246"/>
                    <a:pt x="194" y="237"/>
                    <a:pt x="194" y="227"/>
                  </a:cubicBezTo>
                  <a:cubicBezTo>
                    <a:pt x="194" y="220"/>
                    <a:pt x="195" y="213"/>
                    <a:pt x="197" y="207"/>
                  </a:cubicBezTo>
                  <a:cubicBezTo>
                    <a:pt x="199" y="200"/>
                    <a:pt x="202" y="195"/>
                    <a:pt x="207" y="189"/>
                  </a:cubicBezTo>
                  <a:cubicBezTo>
                    <a:pt x="211" y="184"/>
                    <a:pt x="216" y="179"/>
                    <a:pt x="222" y="174"/>
                  </a:cubicBezTo>
                  <a:cubicBezTo>
                    <a:pt x="229" y="169"/>
                    <a:pt x="236" y="165"/>
                    <a:pt x="244" y="161"/>
                  </a:cubicBezTo>
                  <a:cubicBezTo>
                    <a:pt x="237" y="157"/>
                    <a:pt x="231" y="153"/>
                    <a:pt x="226" y="149"/>
                  </a:cubicBezTo>
                  <a:cubicBezTo>
                    <a:pt x="221" y="145"/>
                    <a:pt x="216" y="140"/>
                    <a:pt x="213" y="135"/>
                  </a:cubicBezTo>
                  <a:cubicBezTo>
                    <a:pt x="209" y="130"/>
                    <a:pt x="206" y="125"/>
                    <a:pt x="204" y="119"/>
                  </a:cubicBezTo>
                  <a:cubicBezTo>
                    <a:pt x="202" y="113"/>
                    <a:pt x="201" y="107"/>
                    <a:pt x="201" y="100"/>
                  </a:cubicBezTo>
                  <a:cubicBezTo>
                    <a:pt x="201" y="90"/>
                    <a:pt x="203" y="81"/>
                    <a:pt x="206" y="72"/>
                  </a:cubicBezTo>
                  <a:cubicBezTo>
                    <a:pt x="210" y="64"/>
                    <a:pt x="215" y="57"/>
                    <a:pt x="222" y="51"/>
                  </a:cubicBezTo>
                  <a:cubicBezTo>
                    <a:pt x="229" y="45"/>
                    <a:pt x="238" y="40"/>
                    <a:pt x="249" y="37"/>
                  </a:cubicBezTo>
                  <a:cubicBezTo>
                    <a:pt x="259" y="34"/>
                    <a:pt x="271" y="32"/>
                    <a:pt x="285" y="32"/>
                  </a:cubicBezTo>
                  <a:cubicBezTo>
                    <a:pt x="299" y="32"/>
                    <a:pt x="311" y="34"/>
                    <a:pt x="321" y="37"/>
                  </a:cubicBezTo>
                  <a:cubicBezTo>
                    <a:pt x="331" y="40"/>
                    <a:pt x="339" y="44"/>
                    <a:pt x="345" y="49"/>
                  </a:cubicBezTo>
                  <a:cubicBezTo>
                    <a:pt x="351" y="55"/>
                    <a:pt x="356" y="61"/>
                    <a:pt x="359" y="69"/>
                  </a:cubicBezTo>
                  <a:cubicBezTo>
                    <a:pt x="362" y="76"/>
                    <a:pt x="364" y="85"/>
                    <a:pt x="364" y="94"/>
                  </a:cubicBezTo>
                  <a:cubicBezTo>
                    <a:pt x="364" y="100"/>
                    <a:pt x="363" y="106"/>
                    <a:pt x="361" y="112"/>
                  </a:cubicBezTo>
                  <a:cubicBezTo>
                    <a:pt x="359" y="117"/>
                    <a:pt x="356" y="123"/>
                    <a:pt x="352" y="128"/>
                  </a:cubicBezTo>
                  <a:cubicBezTo>
                    <a:pt x="349" y="133"/>
                    <a:pt x="344" y="138"/>
                    <a:pt x="339" y="142"/>
                  </a:cubicBezTo>
                  <a:cubicBezTo>
                    <a:pt x="334" y="147"/>
                    <a:pt x="328" y="151"/>
                    <a:pt x="321" y="155"/>
                  </a:cubicBezTo>
                  <a:cubicBezTo>
                    <a:pt x="329" y="159"/>
                    <a:pt x="336" y="163"/>
                    <a:pt x="342" y="168"/>
                  </a:cubicBezTo>
                  <a:cubicBezTo>
                    <a:pt x="348" y="173"/>
                    <a:pt x="353" y="178"/>
                    <a:pt x="358" y="183"/>
                  </a:cubicBezTo>
                  <a:cubicBezTo>
                    <a:pt x="362" y="188"/>
                    <a:pt x="365" y="194"/>
                    <a:pt x="367" y="200"/>
                  </a:cubicBezTo>
                  <a:cubicBezTo>
                    <a:pt x="370" y="206"/>
                    <a:pt x="371" y="213"/>
                    <a:pt x="371" y="220"/>
                  </a:cubicBezTo>
                  <a:close/>
                  <a:moveTo>
                    <a:pt x="315" y="99"/>
                  </a:moveTo>
                  <a:cubicBezTo>
                    <a:pt x="315" y="94"/>
                    <a:pt x="314" y="90"/>
                    <a:pt x="313" y="86"/>
                  </a:cubicBezTo>
                  <a:cubicBezTo>
                    <a:pt x="312" y="83"/>
                    <a:pt x="309" y="80"/>
                    <a:pt x="307" y="77"/>
                  </a:cubicBezTo>
                  <a:cubicBezTo>
                    <a:pt x="304" y="75"/>
                    <a:pt x="301" y="73"/>
                    <a:pt x="296" y="71"/>
                  </a:cubicBezTo>
                  <a:cubicBezTo>
                    <a:pt x="292" y="70"/>
                    <a:pt x="288" y="69"/>
                    <a:pt x="282" y="69"/>
                  </a:cubicBezTo>
                  <a:cubicBezTo>
                    <a:pt x="271" y="69"/>
                    <a:pt x="263" y="72"/>
                    <a:pt x="258" y="77"/>
                  </a:cubicBezTo>
                  <a:cubicBezTo>
                    <a:pt x="253" y="82"/>
                    <a:pt x="250" y="89"/>
                    <a:pt x="250" y="98"/>
                  </a:cubicBezTo>
                  <a:cubicBezTo>
                    <a:pt x="250" y="102"/>
                    <a:pt x="251" y="105"/>
                    <a:pt x="252" y="109"/>
                  </a:cubicBezTo>
                  <a:cubicBezTo>
                    <a:pt x="253" y="112"/>
                    <a:pt x="255" y="116"/>
                    <a:pt x="258" y="119"/>
                  </a:cubicBezTo>
                  <a:cubicBezTo>
                    <a:pt x="261" y="122"/>
                    <a:pt x="265" y="125"/>
                    <a:pt x="269" y="128"/>
                  </a:cubicBezTo>
                  <a:cubicBezTo>
                    <a:pt x="274" y="131"/>
                    <a:pt x="279" y="134"/>
                    <a:pt x="285" y="137"/>
                  </a:cubicBezTo>
                  <a:cubicBezTo>
                    <a:pt x="295" y="132"/>
                    <a:pt x="302" y="126"/>
                    <a:pt x="307" y="120"/>
                  </a:cubicBezTo>
                  <a:cubicBezTo>
                    <a:pt x="312" y="113"/>
                    <a:pt x="315" y="106"/>
                    <a:pt x="315" y="99"/>
                  </a:cubicBezTo>
                  <a:close/>
                  <a:moveTo>
                    <a:pt x="321" y="223"/>
                  </a:moveTo>
                  <a:cubicBezTo>
                    <a:pt x="321" y="219"/>
                    <a:pt x="320" y="214"/>
                    <a:pt x="318" y="210"/>
                  </a:cubicBezTo>
                  <a:cubicBezTo>
                    <a:pt x="317" y="206"/>
                    <a:pt x="314" y="203"/>
                    <a:pt x="311" y="199"/>
                  </a:cubicBezTo>
                  <a:cubicBezTo>
                    <a:pt x="307" y="196"/>
                    <a:pt x="303" y="192"/>
                    <a:pt x="298" y="189"/>
                  </a:cubicBezTo>
                  <a:cubicBezTo>
                    <a:pt x="293" y="186"/>
                    <a:pt x="287" y="183"/>
                    <a:pt x="280" y="179"/>
                  </a:cubicBezTo>
                  <a:cubicBezTo>
                    <a:pt x="274" y="182"/>
                    <a:pt x="269" y="186"/>
                    <a:pt x="264" y="189"/>
                  </a:cubicBezTo>
                  <a:cubicBezTo>
                    <a:pt x="260" y="192"/>
                    <a:pt x="256" y="196"/>
                    <a:pt x="253" y="199"/>
                  </a:cubicBezTo>
                  <a:cubicBezTo>
                    <a:pt x="250" y="203"/>
                    <a:pt x="248" y="206"/>
                    <a:pt x="246" y="210"/>
                  </a:cubicBezTo>
                  <a:cubicBezTo>
                    <a:pt x="245" y="214"/>
                    <a:pt x="244" y="218"/>
                    <a:pt x="244" y="223"/>
                  </a:cubicBezTo>
                  <a:cubicBezTo>
                    <a:pt x="244" y="233"/>
                    <a:pt x="247" y="241"/>
                    <a:pt x="254" y="246"/>
                  </a:cubicBezTo>
                  <a:cubicBezTo>
                    <a:pt x="260" y="251"/>
                    <a:pt x="270" y="254"/>
                    <a:pt x="283" y="254"/>
                  </a:cubicBezTo>
                  <a:cubicBezTo>
                    <a:pt x="295" y="254"/>
                    <a:pt x="305" y="251"/>
                    <a:pt x="311" y="246"/>
                  </a:cubicBezTo>
                  <a:cubicBezTo>
                    <a:pt x="317" y="240"/>
                    <a:pt x="321" y="233"/>
                    <a:pt x="321" y="223"/>
                  </a:cubicBezTo>
                  <a:close/>
                  <a:moveTo>
                    <a:pt x="565" y="268"/>
                  </a:moveTo>
                  <a:cubicBezTo>
                    <a:pt x="565" y="271"/>
                    <a:pt x="565" y="274"/>
                    <a:pt x="565" y="277"/>
                  </a:cubicBezTo>
                  <a:cubicBezTo>
                    <a:pt x="564" y="279"/>
                    <a:pt x="564" y="281"/>
                    <a:pt x="563" y="283"/>
                  </a:cubicBezTo>
                  <a:cubicBezTo>
                    <a:pt x="562" y="284"/>
                    <a:pt x="561" y="285"/>
                    <a:pt x="561" y="286"/>
                  </a:cubicBezTo>
                  <a:cubicBezTo>
                    <a:pt x="560" y="287"/>
                    <a:pt x="559" y="287"/>
                    <a:pt x="557" y="287"/>
                  </a:cubicBezTo>
                  <a:lnTo>
                    <a:pt x="419" y="287"/>
                  </a:lnTo>
                  <a:cubicBezTo>
                    <a:pt x="418" y="287"/>
                    <a:pt x="417" y="287"/>
                    <a:pt x="417" y="286"/>
                  </a:cubicBezTo>
                  <a:cubicBezTo>
                    <a:pt x="416" y="285"/>
                    <a:pt x="415" y="284"/>
                    <a:pt x="414" y="283"/>
                  </a:cubicBezTo>
                  <a:cubicBezTo>
                    <a:pt x="413" y="281"/>
                    <a:pt x="413" y="279"/>
                    <a:pt x="413" y="277"/>
                  </a:cubicBezTo>
                  <a:cubicBezTo>
                    <a:pt x="412" y="274"/>
                    <a:pt x="412" y="271"/>
                    <a:pt x="412" y="268"/>
                  </a:cubicBezTo>
                  <a:cubicBezTo>
                    <a:pt x="412" y="264"/>
                    <a:pt x="412" y="261"/>
                    <a:pt x="412" y="258"/>
                  </a:cubicBezTo>
                  <a:cubicBezTo>
                    <a:pt x="413" y="256"/>
                    <a:pt x="413" y="254"/>
                    <a:pt x="414" y="252"/>
                  </a:cubicBezTo>
                  <a:cubicBezTo>
                    <a:pt x="415" y="251"/>
                    <a:pt x="415" y="249"/>
                    <a:pt x="416" y="249"/>
                  </a:cubicBezTo>
                  <a:cubicBezTo>
                    <a:pt x="417" y="248"/>
                    <a:pt x="418" y="248"/>
                    <a:pt x="419" y="248"/>
                  </a:cubicBezTo>
                  <a:lnTo>
                    <a:pt x="466" y="248"/>
                  </a:lnTo>
                  <a:lnTo>
                    <a:pt x="466" y="85"/>
                  </a:lnTo>
                  <a:lnTo>
                    <a:pt x="426" y="107"/>
                  </a:lnTo>
                  <a:cubicBezTo>
                    <a:pt x="423" y="109"/>
                    <a:pt x="420" y="109"/>
                    <a:pt x="419" y="110"/>
                  </a:cubicBezTo>
                  <a:cubicBezTo>
                    <a:pt x="417" y="110"/>
                    <a:pt x="415" y="110"/>
                    <a:pt x="414" y="109"/>
                  </a:cubicBezTo>
                  <a:cubicBezTo>
                    <a:pt x="413" y="108"/>
                    <a:pt x="412" y="106"/>
                    <a:pt x="412" y="103"/>
                  </a:cubicBezTo>
                  <a:cubicBezTo>
                    <a:pt x="412" y="100"/>
                    <a:pt x="411" y="96"/>
                    <a:pt x="411" y="92"/>
                  </a:cubicBezTo>
                  <a:cubicBezTo>
                    <a:pt x="411" y="88"/>
                    <a:pt x="411" y="86"/>
                    <a:pt x="412" y="84"/>
                  </a:cubicBezTo>
                  <a:cubicBezTo>
                    <a:pt x="412" y="82"/>
                    <a:pt x="412" y="80"/>
                    <a:pt x="413" y="79"/>
                  </a:cubicBezTo>
                  <a:cubicBezTo>
                    <a:pt x="413" y="77"/>
                    <a:pt x="414" y="76"/>
                    <a:pt x="415" y="75"/>
                  </a:cubicBezTo>
                  <a:cubicBezTo>
                    <a:pt x="416" y="74"/>
                    <a:pt x="417" y="73"/>
                    <a:pt x="418" y="72"/>
                  </a:cubicBezTo>
                  <a:lnTo>
                    <a:pt x="472" y="38"/>
                  </a:lnTo>
                  <a:cubicBezTo>
                    <a:pt x="473" y="37"/>
                    <a:pt x="473" y="37"/>
                    <a:pt x="474" y="36"/>
                  </a:cubicBezTo>
                  <a:cubicBezTo>
                    <a:pt x="475" y="36"/>
                    <a:pt x="477" y="36"/>
                    <a:pt x="478" y="36"/>
                  </a:cubicBezTo>
                  <a:cubicBezTo>
                    <a:pt x="480" y="35"/>
                    <a:pt x="482" y="35"/>
                    <a:pt x="484" y="35"/>
                  </a:cubicBezTo>
                  <a:cubicBezTo>
                    <a:pt x="487" y="35"/>
                    <a:pt x="490" y="35"/>
                    <a:pt x="494" y="35"/>
                  </a:cubicBezTo>
                  <a:cubicBezTo>
                    <a:pt x="499" y="35"/>
                    <a:pt x="503" y="35"/>
                    <a:pt x="506" y="35"/>
                  </a:cubicBezTo>
                  <a:cubicBezTo>
                    <a:pt x="509" y="36"/>
                    <a:pt x="511" y="36"/>
                    <a:pt x="513" y="36"/>
                  </a:cubicBezTo>
                  <a:cubicBezTo>
                    <a:pt x="514" y="37"/>
                    <a:pt x="515" y="37"/>
                    <a:pt x="516" y="38"/>
                  </a:cubicBezTo>
                  <a:cubicBezTo>
                    <a:pt x="516" y="39"/>
                    <a:pt x="517" y="40"/>
                    <a:pt x="517" y="41"/>
                  </a:cubicBezTo>
                  <a:lnTo>
                    <a:pt x="517" y="248"/>
                  </a:lnTo>
                  <a:lnTo>
                    <a:pt x="557" y="248"/>
                  </a:lnTo>
                  <a:cubicBezTo>
                    <a:pt x="559" y="248"/>
                    <a:pt x="560" y="248"/>
                    <a:pt x="561" y="249"/>
                  </a:cubicBezTo>
                  <a:cubicBezTo>
                    <a:pt x="562" y="249"/>
                    <a:pt x="562" y="251"/>
                    <a:pt x="563" y="252"/>
                  </a:cubicBezTo>
                  <a:cubicBezTo>
                    <a:pt x="564" y="254"/>
                    <a:pt x="564" y="256"/>
                    <a:pt x="565" y="258"/>
                  </a:cubicBezTo>
                  <a:cubicBezTo>
                    <a:pt x="565" y="261"/>
                    <a:pt x="565" y="264"/>
                    <a:pt x="565" y="268"/>
                  </a:cubicBezTo>
                  <a:close/>
                  <a:moveTo>
                    <a:pt x="632" y="337"/>
                  </a:moveTo>
                  <a:cubicBezTo>
                    <a:pt x="631" y="339"/>
                    <a:pt x="631" y="340"/>
                    <a:pt x="629" y="341"/>
                  </a:cubicBezTo>
                  <a:cubicBezTo>
                    <a:pt x="629" y="342"/>
                    <a:pt x="627" y="343"/>
                    <a:pt x="625" y="343"/>
                  </a:cubicBezTo>
                  <a:cubicBezTo>
                    <a:pt x="623" y="344"/>
                    <a:pt x="621" y="345"/>
                    <a:pt x="618" y="345"/>
                  </a:cubicBezTo>
                  <a:cubicBezTo>
                    <a:pt x="615" y="345"/>
                    <a:pt x="612" y="345"/>
                    <a:pt x="608" y="345"/>
                  </a:cubicBezTo>
                  <a:cubicBezTo>
                    <a:pt x="602" y="345"/>
                    <a:pt x="598" y="345"/>
                    <a:pt x="595" y="345"/>
                  </a:cubicBezTo>
                  <a:cubicBezTo>
                    <a:pt x="591" y="344"/>
                    <a:pt x="589" y="343"/>
                    <a:pt x="587" y="342"/>
                  </a:cubicBezTo>
                  <a:cubicBezTo>
                    <a:pt x="585" y="341"/>
                    <a:pt x="584" y="340"/>
                    <a:pt x="584" y="338"/>
                  </a:cubicBezTo>
                  <a:cubicBezTo>
                    <a:pt x="584" y="337"/>
                    <a:pt x="584" y="335"/>
                    <a:pt x="585" y="333"/>
                  </a:cubicBezTo>
                  <a:lnTo>
                    <a:pt x="700" y="8"/>
                  </a:lnTo>
                  <a:cubicBezTo>
                    <a:pt x="701" y="7"/>
                    <a:pt x="702" y="5"/>
                    <a:pt x="703" y="4"/>
                  </a:cubicBezTo>
                  <a:cubicBezTo>
                    <a:pt x="704" y="3"/>
                    <a:pt x="705" y="2"/>
                    <a:pt x="707" y="1"/>
                  </a:cubicBezTo>
                  <a:cubicBezTo>
                    <a:pt x="709" y="1"/>
                    <a:pt x="711" y="0"/>
                    <a:pt x="714" y="0"/>
                  </a:cubicBezTo>
                  <a:cubicBezTo>
                    <a:pt x="717" y="0"/>
                    <a:pt x="720" y="0"/>
                    <a:pt x="725" y="0"/>
                  </a:cubicBezTo>
                  <a:cubicBezTo>
                    <a:pt x="730" y="0"/>
                    <a:pt x="734" y="0"/>
                    <a:pt x="738" y="0"/>
                  </a:cubicBezTo>
                  <a:cubicBezTo>
                    <a:pt x="741" y="1"/>
                    <a:pt x="743" y="2"/>
                    <a:pt x="745" y="3"/>
                  </a:cubicBezTo>
                  <a:cubicBezTo>
                    <a:pt x="747" y="4"/>
                    <a:pt x="748" y="5"/>
                    <a:pt x="748" y="7"/>
                  </a:cubicBezTo>
                  <a:cubicBezTo>
                    <a:pt x="748" y="8"/>
                    <a:pt x="748" y="10"/>
                    <a:pt x="747" y="12"/>
                  </a:cubicBezTo>
                  <a:lnTo>
                    <a:pt x="632" y="337"/>
                  </a:lnTo>
                  <a:close/>
                  <a:moveTo>
                    <a:pt x="936" y="268"/>
                  </a:moveTo>
                  <a:cubicBezTo>
                    <a:pt x="936" y="271"/>
                    <a:pt x="936" y="274"/>
                    <a:pt x="935" y="277"/>
                  </a:cubicBezTo>
                  <a:cubicBezTo>
                    <a:pt x="935" y="279"/>
                    <a:pt x="934" y="281"/>
                    <a:pt x="934" y="283"/>
                  </a:cubicBezTo>
                  <a:cubicBezTo>
                    <a:pt x="933" y="284"/>
                    <a:pt x="932" y="285"/>
                    <a:pt x="931" y="286"/>
                  </a:cubicBezTo>
                  <a:cubicBezTo>
                    <a:pt x="930" y="287"/>
                    <a:pt x="929" y="287"/>
                    <a:pt x="928" y="287"/>
                  </a:cubicBezTo>
                  <a:lnTo>
                    <a:pt x="790" y="287"/>
                  </a:lnTo>
                  <a:cubicBezTo>
                    <a:pt x="789" y="287"/>
                    <a:pt x="788" y="287"/>
                    <a:pt x="787" y="286"/>
                  </a:cubicBezTo>
                  <a:cubicBezTo>
                    <a:pt x="786" y="285"/>
                    <a:pt x="785" y="284"/>
                    <a:pt x="785" y="283"/>
                  </a:cubicBezTo>
                  <a:cubicBezTo>
                    <a:pt x="784" y="281"/>
                    <a:pt x="783" y="279"/>
                    <a:pt x="783" y="277"/>
                  </a:cubicBezTo>
                  <a:cubicBezTo>
                    <a:pt x="783" y="274"/>
                    <a:pt x="783" y="271"/>
                    <a:pt x="783" y="268"/>
                  </a:cubicBezTo>
                  <a:cubicBezTo>
                    <a:pt x="783" y="264"/>
                    <a:pt x="783" y="261"/>
                    <a:pt x="783" y="258"/>
                  </a:cubicBezTo>
                  <a:cubicBezTo>
                    <a:pt x="783" y="256"/>
                    <a:pt x="784" y="254"/>
                    <a:pt x="785" y="252"/>
                  </a:cubicBezTo>
                  <a:cubicBezTo>
                    <a:pt x="785" y="251"/>
                    <a:pt x="786" y="249"/>
                    <a:pt x="787" y="249"/>
                  </a:cubicBezTo>
                  <a:cubicBezTo>
                    <a:pt x="788" y="248"/>
                    <a:pt x="789" y="248"/>
                    <a:pt x="790" y="248"/>
                  </a:cubicBezTo>
                  <a:lnTo>
                    <a:pt x="837" y="248"/>
                  </a:lnTo>
                  <a:lnTo>
                    <a:pt x="837" y="85"/>
                  </a:lnTo>
                  <a:lnTo>
                    <a:pt x="796" y="107"/>
                  </a:lnTo>
                  <a:cubicBezTo>
                    <a:pt x="793" y="109"/>
                    <a:pt x="791" y="109"/>
                    <a:pt x="789" y="110"/>
                  </a:cubicBezTo>
                  <a:cubicBezTo>
                    <a:pt x="787" y="110"/>
                    <a:pt x="786" y="110"/>
                    <a:pt x="785" y="109"/>
                  </a:cubicBezTo>
                  <a:cubicBezTo>
                    <a:pt x="784" y="108"/>
                    <a:pt x="783" y="106"/>
                    <a:pt x="783" y="103"/>
                  </a:cubicBezTo>
                  <a:cubicBezTo>
                    <a:pt x="782" y="100"/>
                    <a:pt x="782" y="96"/>
                    <a:pt x="782" y="92"/>
                  </a:cubicBezTo>
                  <a:cubicBezTo>
                    <a:pt x="782" y="88"/>
                    <a:pt x="782" y="86"/>
                    <a:pt x="782" y="84"/>
                  </a:cubicBezTo>
                  <a:cubicBezTo>
                    <a:pt x="782" y="82"/>
                    <a:pt x="783" y="80"/>
                    <a:pt x="783" y="79"/>
                  </a:cubicBezTo>
                  <a:cubicBezTo>
                    <a:pt x="784" y="77"/>
                    <a:pt x="784" y="76"/>
                    <a:pt x="785" y="75"/>
                  </a:cubicBezTo>
                  <a:cubicBezTo>
                    <a:pt x="786" y="74"/>
                    <a:pt x="787" y="73"/>
                    <a:pt x="789" y="72"/>
                  </a:cubicBezTo>
                  <a:lnTo>
                    <a:pt x="843" y="38"/>
                  </a:lnTo>
                  <a:cubicBezTo>
                    <a:pt x="843" y="37"/>
                    <a:pt x="844" y="37"/>
                    <a:pt x="845" y="36"/>
                  </a:cubicBezTo>
                  <a:cubicBezTo>
                    <a:pt x="846" y="36"/>
                    <a:pt x="847" y="36"/>
                    <a:pt x="849" y="36"/>
                  </a:cubicBezTo>
                  <a:cubicBezTo>
                    <a:pt x="850" y="35"/>
                    <a:pt x="852" y="35"/>
                    <a:pt x="855" y="35"/>
                  </a:cubicBezTo>
                  <a:cubicBezTo>
                    <a:pt x="857" y="35"/>
                    <a:pt x="861" y="35"/>
                    <a:pt x="865" y="35"/>
                  </a:cubicBezTo>
                  <a:cubicBezTo>
                    <a:pt x="870" y="35"/>
                    <a:pt x="874" y="35"/>
                    <a:pt x="877" y="35"/>
                  </a:cubicBezTo>
                  <a:cubicBezTo>
                    <a:pt x="880" y="36"/>
                    <a:pt x="882" y="36"/>
                    <a:pt x="883" y="36"/>
                  </a:cubicBezTo>
                  <a:cubicBezTo>
                    <a:pt x="885" y="37"/>
                    <a:pt x="886" y="37"/>
                    <a:pt x="887" y="38"/>
                  </a:cubicBezTo>
                  <a:cubicBezTo>
                    <a:pt x="887" y="39"/>
                    <a:pt x="887" y="40"/>
                    <a:pt x="887" y="41"/>
                  </a:cubicBezTo>
                  <a:lnTo>
                    <a:pt x="887" y="248"/>
                  </a:lnTo>
                  <a:lnTo>
                    <a:pt x="928" y="248"/>
                  </a:lnTo>
                  <a:cubicBezTo>
                    <a:pt x="929" y="248"/>
                    <a:pt x="930" y="248"/>
                    <a:pt x="931" y="249"/>
                  </a:cubicBezTo>
                  <a:cubicBezTo>
                    <a:pt x="932" y="249"/>
                    <a:pt x="933" y="251"/>
                    <a:pt x="934" y="252"/>
                  </a:cubicBezTo>
                  <a:cubicBezTo>
                    <a:pt x="934" y="254"/>
                    <a:pt x="935" y="256"/>
                    <a:pt x="935" y="258"/>
                  </a:cubicBezTo>
                  <a:cubicBezTo>
                    <a:pt x="936" y="261"/>
                    <a:pt x="936" y="264"/>
                    <a:pt x="936" y="268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56" name="Freeform 1208"/>
            <p:cNvSpPr>
              <a:spLocks noEditPoints="1"/>
            </p:cNvSpPr>
            <p:nvPr/>
          </p:nvSpPr>
          <p:spPr bwMode="auto">
            <a:xfrm>
              <a:off x="7333061" y="2373965"/>
              <a:ext cx="525978" cy="157395"/>
            </a:xfrm>
            <a:custGeom>
              <a:avLst/>
              <a:gdLst/>
              <a:ahLst/>
              <a:cxnLst>
                <a:cxn ang="0">
                  <a:pos x="156" y="281"/>
                </a:cxn>
                <a:cxn ang="0">
                  <a:pos x="120" y="288"/>
                </a:cxn>
                <a:cxn ang="0">
                  <a:pos x="12" y="236"/>
                </a:cxn>
                <a:cxn ang="0">
                  <a:pos x="1" y="202"/>
                </a:cxn>
                <a:cxn ang="0">
                  <a:pos x="88" y="40"/>
                </a:cxn>
                <a:cxn ang="0">
                  <a:pos x="148" y="38"/>
                </a:cxn>
                <a:cxn ang="0">
                  <a:pos x="184" y="200"/>
                </a:cxn>
                <a:cxn ang="0">
                  <a:pos x="107" y="195"/>
                </a:cxn>
                <a:cxn ang="0">
                  <a:pos x="360" y="244"/>
                </a:cxn>
                <a:cxn ang="0">
                  <a:pos x="239" y="288"/>
                </a:cxn>
                <a:cxn ang="0">
                  <a:pos x="216" y="253"/>
                </a:cxn>
                <a:cxn ang="0">
                  <a:pos x="240" y="248"/>
                </a:cxn>
                <a:cxn ang="0">
                  <a:pos x="326" y="208"/>
                </a:cxn>
                <a:cxn ang="0">
                  <a:pos x="223" y="175"/>
                </a:cxn>
                <a:cxn ang="0">
                  <a:pos x="256" y="39"/>
                </a:cxn>
                <a:cxn ang="0">
                  <a:pos x="373" y="91"/>
                </a:cxn>
                <a:cxn ang="0">
                  <a:pos x="320" y="87"/>
                </a:cxn>
                <a:cxn ang="0">
                  <a:pos x="259" y="98"/>
                </a:cxn>
                <a:cxn ang="0">
                  <a:pos x="290" y="157"/>
                </a:cxn>
                <a:cxn ang="0">
                  <a:pos x="550" y="269"/>
                </a:cxn>
                <a:cxn ang="0">
                  <a:pos x="425" y="282"/>
                </a:cxn>
                <a:cxn ang="0">
                  <a:pos x="413" y="257"/>
                </a:cxn>
                <a:cxn ang="0">
                  <a:pos x="425" y="239"/>
                </a:cxn>
                <a:cxn ang="0">
                  <a:pos x="510" y="242"/>
                </a:cxn>
                <a:cxn ang="0">
                  <a:pos x="495" y="174"/>
                </a:cxn>
                <a:cxn ang="0">
                  <a:pos x="423" y="161"/>
                </a:cxn>
                <a:cxn ang="0">
                  <a:pos x="557" y="39"/>
                </a:cxn>
                <a:cxn ang="0">
                  <a:pos x="554" y="81"/>
                </a:cxn>
                <a:cxn ang="0">
                  <a:pos x="529" y="138"/>
                </a:cxn>
                <a:cxn ang="0">
                  <a:pos x="641" y="342"/>
                </a:cxn>
                <a:cxn ang="0">
                  <a:pos x="599" y="343"/>
                </a:cxn>
                <a:cxn ang="0">
                  <a:pos x="719" y="2"/>
                </a:cxn>
                <a:cxn ang="0">
                  <a:pos x="760" y="7"/>
                </a:cxn>
                <a:cxn ang="0">
                  <a:pos x="948" y="283"/>
                </a:cxn>
                <a:cxn ang="0">
                  <a:pos x="786" y="284"/>
                </a:cxn>
                <a:cxn ang="0">
                  <a:pos x="789" y="240"/>
                </a:cxn>
                <a:cxn ang="0">
                  <a:pos x="878" y="125"/>
                </a:cxn>
                <a:cxn ang="0">
                  <a:pos x="847" y="79"/>
                </a:cxn>
                <a:cxn ang="0">
                  <a:pos x="791" y="97"/>
                </a:cxn>
                <a:cxn ang="0">
                  <a:pos x="788" y="62"/>
                </a:cxn>
                <a:cxn ang="0">
                  <a:pos x="839" y="35"/>
                </a:cxn>
                <a:cxn ang="0">
                  <a:pos x="940" y="99"/>
                </a:cxn>
                <a:cxn ang="0">
                  <a:pos x="843" y="246"/>
                </a:cxn>
                <a:cxn ang="0">
                  <a:pos x="950" y="267"/>
                </a:cxn>
                <a:cxn ang="0">
                  <a:pos x="1066" y="292"/>
                </a:cxn>
                <a:cxn ang="0">
                  <a:pos x="983" y="206"/>
                </a:cxn>
                <a:cxn ang="0">
                  <a:pos x="1020" y="56"/>
                </a:cxn>
                <a:cxn ang="0">
                  <a:pos x="1129" y="39"/>
                </a:cxn>
                <a:cxn ang="0">
                  <a:pos x="1139" y="60"/>
                </a:cxn>
                <a:cxn ang="0">
                  <a:pos x="1126" y="79"/>
                </a:cxn>
                <a:cxn ang="0">
                  <a:pos x="1044" y="94"/>
                </a:cxn>
                <a:cxn ang="0">
                  <a:pos x="1067" y="131"/>
                </a:cxn>
                <a:cxn ang="0">
                  <a:pos x="1154" y="204"/>
                </a:cxn>
                <a:cxn ang="0">
                  <a:pos x="1072" y="169"/>
                </a:cxn>
                <a:cxn ang="0">
                  <a:pos x="1035" y="216"/>
                </a:cxn>
                <a:cxn ang="0">
                  <a:pos x="1095" y="240"/>
                </a:cxn>
              </a:cxnLst>
              <a:rect l="0" t="0" r="r" b="b"/>
              <a:pathLst>
                <a:path w="1154" h="346">
                  <a:moveTo>
                    <a:pt x="186" y="216"/>
                  </a:moveTo>
                  <a:cubicBezTo>
                    <a:pt x="186" y="222"/>
                    <a:pt x="185" y="227"/>
                    <a:pt x="184" y="231"/>
                  </a:cubicBezTo>
                  <a:cubicBezTo>
                    <a:pt x="183" y="234"/>
                    <a:pt x="181" y="236"/>
                    <a:pt x="178" y="236"/>
                  </a:cubicBezTo>
                  <a:lnTo>
                    <a:pt x="156" y="236"/>
                  </a:lnTo>
                  <a:lnTo>
                    <a:pt x="156" y="281"/>
                  </a:lnTo>
                  <a:cubicBezTo>
                    <a:pt x="156" y="282"/>
                    <a:pt x="156" y="283"/>
                    <a:pt x="155" y="284"/>
                  </a:cubicBezTo>
                  <a:cubicBezTo>
                    <a:pt x="154" y="285"/>
                    <a:pt x="153" y="286"/>
                    <a:pt x="151" y="287"/>
                  </a:cubicBezTo>
                  <a:cubicBezTo>
                    <a:pt x="149" y="287"/>
                    <a:pt x="147" y="288"/>
                    <a:pt x="143" y="288"/>
                  </a:cubicBezTo>
                  <a:cubicBezTo>
                    <a:pt x="140" y="288"/>
                    <a:pt x="136" y="289"/>
                    <a:pt x="131" y="289"/>
                  </a:cubicBezTo>
                  <a:cubicBezTo>
                    <a:pt x="127" y="289"/>
                    <a:pt x="123" y="288"/>
                    <a:pt x="120" y="288"/>
                  </a:cubicBezTo>
                  <a:cubicBezTo>
                    <a:pt x="117" y="288"/>
                    <a:pt x="114" y="287"/>
                    <a:pt x="112" y="287"/>
                  </a:cubicBezTo>
                  <a:cubicBezTo>
                    <a:pt x="110" y="286"/>
                    <a:pt x="109" y="285"/>
                    <a:pt x="108" y="284"/>
                  </a:cubicBezTo>
                  <a:cubicBezTo>
                    <a:pt x="108" y="283"/>
                    <a:pt x="107" y="282"/>
                    <a:pt x="107" y="281"/>
                  </a:cubicBezTo>
                  <a:lnTo>
                    <a:pt x="107" y="236"/>
                  </a:lnTo>
                  <a:lnTo>
                    <a:pt x="12" y="236"/>
                  </a:lnTo>
                  <a:cubicBezTo>
                    <a:pt x="10" y="236"/>
                    <a:pt x="8" y="235"/>
                    <a:pt x="7" y="235"/>
                  </a:cubicBezTo>
                  <a:cubicBezTo>
                    <a:pt x="5" y="235"/>
                    <a:pt x="4" y="234"/>
                    <a:pt x="3" y="232"/>
                  </a:cubicBezTo>
                  <a:cubicBezTo>
                    <a:pt x="2" y="230"/>
                    <a:pt x="2" y="228"/>
                    <a:pt x="1" y="225"/>
                  </a:cubicBezTo>
                  <a:cubicBezTo>
                    <a:pt x="1" y="222"/>
                    <a:pt x="0" y="218"/>
                    <a:pt x="0" y="213"/>
                  </a:cubicBezTo>
                  <a:cubicBezTo>
                    <a:pt x="0" y="209"/>
                    <a:pt x="1" y="205"/>
                    <a:pt x="1" y="202"/>
                  </a:cubicBezTo>
                  <a:cubicBezTo>
                    <a:pt x="1" y="199"/>
                    <a:pt x="1" y="196"/>
                    <a:pt x="2" y="194"/>
                  </a:cubicBezTo>
                  <a:cubicBezTo>
                    <a:pt x="2" y="192"/>
                    <a:pt x="3" y="189"/>
                    <a:pt x="4" y="187"/>
                  </a:cubicBezTo>
                  <a:cubicBezTo>
                    <a:pt x="5" y="185"/>
                    <a:pt x="6" y="183"/>
                    <a:pt x="7" y="180"/>
                  </a:cubicBezTo>
                  <a:lnTo>
                    <a:pt x="85" y="43"/>
                  </a:lnTo>
                  <a:cubicBezTo>
                    <a:pt x="85" y="42"/>
                    <a:pt x="86" y="41"/>
                    <a:pt x="88" y="40"/>
                  </a:cubicBezTo>
                  <a:cubicBezTo>
                    <a:pt x="89" y="39"/>
                    <a:pt x="92" y="39"/>
                    <a:pt x="94" y="38"/>
                  </a:cubicBezTo>
                  <a:cubicBezTo>
                    <a:pt x="97" y="37"/>
                    <a:pt x="101" y="37"/>
                    <a:pt x="105" y="37"/>
                  </a:cubicBezTo>
                  <a:cubicBezTo>
                    <a:pt x="109" y="36"/>
                    <a:pt x="114" y="36"/>
                    <a:pt x="120" y="36"/>
                  </a:cubicBezTo>
                  <a:cubicBezTo>
                    <a:pt x="127" y="36"/>
                    <a:pt x="132" y="36"/>
                    <a:pt x="137" y="37"/>
                  </a:cubicBezTo>
                  <a:cubicBezTo>
                    <a:pt x="142" y="37"/>
                    <a:pt x="145" y="38"/>
                    <a:pt x="148" y="38"/>
                  </a:cubicBezTo>
                  <a:cubicBezTo>
                    <a:pt x="151" y="39"/>
                    <a:pt x="153" y="40"/>
                    <a:pt x="154" y="41"/>
                  </a:cubicBezTo>
                  <a:cubicBezTo>
                    <a:pt x="156" y="42"/>
                    <a:pt x="156" y="43"/>
                    <a:pt x="156" y="45"/>
                  </a:cubicBezTo>
                  <a:lnTo>
                    <a:pt x="156" y="195"/>
                  </a:lnTo>
                  <a:lnTo>
                    <a:pt x="178" y="195"/>
                  </a:lnTo>
                  <a:cubicBezTo>
                    <a:pt x="180" y="195"/>
                    <a:pt x="182" y="197"/>
                    <a:pt x="184" y="200"/>
                  </a:cubicBezTo>
                  <a:cubicBezTo>
                    <a:pt x="185" y="203"/>
                    <a:pt x="186" y="208"/>
                    <a:pt x="186" y="216"/>
                  </a:cubicBezTo>
                  <a:close/>
                  <a:moveTo>
                    <a:pt x="107" y="80"/>
                  </a:moveTo>
                  <a:lnTo>
                    <a:pt x="107" y="80"/>
                  </a:lnTo>
                  <a:lnTo>
                    <a:pt x="41" y="195"/>
                  </a:lnTo>
                  <a:lnTo>
                    <a:pt x="107" y="195"/>
                  </a:lnTo>
                  <a:lnTo>
                    <a:pt x="107" y="80"/>
                  </a:lnTo>
                  <a:close/>
                  <a:moveTo>
                    <a:pt x="379" y="151"/>
                  </a:moveTo>
                  <a:cubicBezTo>
                    <a:pt x="379" y="161"/>
                    <a:pt x="379" y="172"/>
                    <a:pt x="378" y="183"/>
                  </a:cubicBezTo>
                  <a:cubicBezTo>
                    <a:pt x="377" y="194"/>
                    <a:pt x="375" y="204"/>
                    <a:pt x="372" y="215"/>
                  </a:cubicBezTo>
                  <a:cubicBezTo>
                    <a:pt x="369" y="225"/>
                    <a:pt x="365" y="235"/>
                    <a:pt x="360" y="244"/>
                  </a:cubicBezTo>
                  <a:cubicBezTo>
                    <a:pt x="355" y="254"/>
                    <a:pt x="348" y="262"/>
                    <a:pt x="340" y="269"/>
                  </a:cubicBezTo>
                  <a:cubicBezTo>
                    <a:pt x="332" y="276"/>
                    <a:pt x="322" y="282"/>
                    <a:pt x="311" y="286"/>
                  </a:cubicBezTo>
                  <a:cubicBezTo>
                    <a:pt x="299" y="290"/>
                    <a:pt x="286" y="292"/>
                    <a:pt x="270" y="292"/>
                  </a:cubicBezTo>
                  <a:cubicBezTo>
                    <a:pt x="264" y="292"/>
                    <a:pt x="259" y="292"/>
                    <a:pt x="254" y="291"/>
                  </a:cubicBezTo>
                  <a:cubicBezTo>
                    <a:pt x="248" y="290"/>
                    <a:pt x="243" y="289"/>
                    <a:pt x="239" y="288"/>
                  </a:cubicBezTo>
                  <a:cubicBezTo>
                    <a:pt x="234" y="287"/>
                    <a:pt x="230" y="286"/>
                    <a:pt x="227" y="284"/>
                  </a:cubicBezTo>
                  <a:cubicBezTo>
                    <a:pt x="224" y="283"/>
                    <a:pt x="222" y="282"/>
                    <a:pt x="220" y="280"/>
                  </a:cubicBezTo>
                  <a:cubicBezTo>
                    <a:pt x="219" y="279"/>
                    <a:pt x="218" y="277"/>
                    <a:pt x="217" y="274"/>
                  </a:cubicBezTo>
                  <a:cubicBezTo>
                    <a:pt x="216" y="272"/>
                    <a:pt x="216" y="268"/>
                    <a:pt x="216" y="264"/>
                  </a:cubicBezTo>
                  <a:cubicBezTo>
                    <a:pt x="216" y="259"/>
                    <a:pt x="216" y="256"/>
                    <a:pt x="216" y="253"/>
                  </a:cubicBezTo>
                  <a:cubicBezTo>
                    <a:pt x="217" y="251"/>
                    <a:pt x="217" y="249"/>
                    <a:pt x="218" y="247"/>
                  </a:cubicBezTo>
                  <a:cubicBezTo>
                    <a:pt x="218" y="246"/>
                    <a:pt x="219" y="245"/>
                    <a:pt x="220" y="245"/>
                  </a:cubicBezTo>
                  <a:cubicBezTo>
                    <a:pt x="221" y="244"/>
                    <a:pt x="222" y="244"/>
                    <a:pt x="223" y="244"/>
                  </a:cubicBezTo>
                  <a:cubicBezTo>
                    <a:pt x="224" y="244"/>
                    <a:pt x="226" y="244"/>
                    <a:pt x="229" y="245"/>
                  </a:cubicBezTo>
                  <a:cubicBezTo>
                    <a:pt x="232" y="246"/>
                    <a:pt x="236" y="247"/>
                    <a:pt x="240" y="248"/>
                  </a:cubicBezTo>
                  <a:cubicBezTo>
                    <a:pt x="244" y="249"/>
                    <a:pt x="248" y="250"/>
                    <a:pt x="253" y="251"/>
                  </a:cubicBezTo>
                  <a:cubicBezTo>
                    <a:pt x="259" y="252"/>
                    <a:pt x="264" y="253"/>
                    <a:pt x="271" y="253"/>
                  </a:cubicBezTo>
                  <a:cubicBezTo>
                    <a:pt x="281" y="253"/>
                    <a:pt x="291" y="251"/>
                    <a:pt x="298" y="247"/>
                  </a:cubicBezTo>
                  <a:cubicBezTo>
                    <a:pt x="305" y="243"/>
                    <a:pt x="312" y="238"/>
                    <a:pt x="316" y="231"/>
                  </a:cubicBezTo>
                  <a:cubicBezTo>
                    <a:pt x="321" y="225"/>
                    <a:pt x="324" y="217"/>
                    <a:pt x="326" y="208"/>
                  </a:cubicBezTo>
                  <a:cubicBezTo>
                    <a:pt x="329" y="200"/>
                    <a:pt x="330" y="191"/>
                    <a:pt x="330" y="181"/>
                  </a:cubicBezTo>
                  <a:cubicBezTo>
                    <a:pt x="324" y="185"/>
                    <a:pt x="317" y="188"/>
                    <a:pt x="309" y="191"/>
                  </a:cubicBezTo>
                  <a:cubicBezTo>
                    <a:pt x="300" y="194"/>
                    <a:pt x="291" y="195"/>
                    <a:pt x="280" y="195"/>
                  </a:cubicBezTo>
                  <a:cubicBezTo>
                    <a:pt x="267" y="195"/>
                    <a:pt x="255" y="193"/>
                    <a:pt x="246" y="190"/>
                  </a:cubicBezTo>
                  <a:cubicBezTo>
                    <a:pt x="237" y="186"/>
                    <a:pt x="229" y="181"/>
                    <a:pt x="223" y="175"/>
                  </a:cubicBezTo>
                  <a:cubicBezTo>
                    <a:pt x="218" y="168"/>
                    <a:pt x="213" y="160"/>
                    <a:pt x="211" y="151"/>
                  </a:cubicBezTo>
                  <a:cubicBezTo>
                    <a:pt x="208" y="141"/>
                    <a:pt x="207" y="131"/>
                    <a:pt x="207" y="119"/>
                  </a:cubicBezTo>
                  <a:cubicBezTo>
                    <a:pt x="207" y="107"/>
                    <a:pt x="209" y="95"/>
                    <a:pt x="212" y="84"/>
                  </a:cubicBezTo>
                  <a:cubicBezTo>
                    <a:pt x="216" y="74"/>
                    <a:pt x="222" y="65"/>
                    <a:pt x="229" y="57"/>
                  </a:cubicBezTo>
                  <a:cubicBezTo>
                    <a:pt x="236" y="50"/>
                    <a:pt x="246" y="44"/>
                    <a:pt x="256" y="39"/>
                  </a:cubicBezTo>
                  <a:cubicBezTo>
                    <a:pt x="267" y="35"/>
                    <a:pt x="280" y="33"/>
                    <a:pt x="295" y="33"/>
                  </a:cubicBezTo>
                  <a:cubicBezTo>
                    <a:pt x="306" y="33"/>
                    <a:pt x="316" y="34"/>
                    <a:pt x="325" y="37"/>
                  </a:cubicBezTo>
                  <a:cubicBezTo>
                    <a:pt x="334" y="40"/>
                    <a:pt x="341" y="44"/>
                    <a:pt x="347" y="49"/>
                  </a:cubicBezTo>
                  <a:cubicBezTo>
                    <a:pt x="354" y="54"/>
                    <a:pt x="359" y="60"/>
                    <a:pt x="363" y="67"/>
                  </a:cubicBezTo>
                  <a:cubicBezTo>
                    <a:pt x="367" y="74"/>
                    <a:pt x="371" y="82"/>
                    <a:pt x="373" y="91"/>
                  </a:cubicBezTo>
                  <a:cubicBezTo>
                    <a:pt x="375" y="100"/>
                    <a:pt x="377" y="109"/>
                    <a:pt x="378" y="119"/>
                  </a:cubicBezTo>
                  <a:cubicBezTo>
                    <a:pt x="379" y="129"/>
                    <a:pt x="379" y="140"/>
                    <a:pt x="379" y="151"/>
                  </a:cubicBezTo>
                  <a:close/>
                  <a:moveTo>
                    <a:pt x="329" y="144"/>
                  </a:moveTo>
                  <a:cubicBezTo>
                    <a:pt x="329" y="130"/>
                    <a:pt x="328" y="119"/>
                    <a:pt x="327" y="110"/>
                  </a:cubicBezTo>
                  <a:cubicBezTo>
                    <a:pt x="325" y="100"/>
                    <a:pt x="323" y="93"/>
                    <a:pt x="320" y="87"/>
                  </a:cubicBezTo>
                  <a:cubicBezTo>
                    <a:pt x="317" y="82"/>
                    <a:pt x="313" y="78"/>
                    <a:pt x="308" y="76"/>
                  </a:cubicBezTo>
                  <a:cubicBezTo>
                    <a:pt x="303" y="73"/>
                    <a:pt x="298" y="72"/>
                    <a:pt x="292" y="72"/>
                  </a:cubicBezTo>
                  <a:cubicBezTo>
                    <a:pt x="286" y="72"/>
                    <a:pt x="281" y="73"/>
                    <a:pt x="276" y="75"/>
                  </a:cubicBezTo>
                  <a:cubicBezTo>
                    <a:pt x="272" y="77"/>
                    <a:pt x="268" y="80"/>
                    <a:pt x="265" y="84"/>
                  </a:cubicBezTo>
                  <a:cubicBezTo>
                    <a:pt x="262" y="88"/>
                    <a:pt x="260" y="93"/>
                    <a:pt x="259" y="98"/>
                  </a:cubicBezTo>
                  <a:cubicBezTo>
                    <a:pt x="257" y="103"/>
                    <a:pt x="257" y="109"/>
                    <a:pt x="257" y="115"/>
                  </a:cubicBezTo>
                  <a:cubicBezTo>
                    <a:pt x="257" y="122"/>
                    <a:pt x="257" y="128"/>
                    <a:pt x="259" y="133"/>
                  </a:cubicBezTo>
                  <a:cubicBezTo>
                    <a:pt x="260" y="139"/>
                    <a:pt x="262" y="143"/>
                    <a:pt x="264" y="146"/>
                  </a:cubicBezTo>
                  <a:cubicBezTo>
                    <a:pt x="267" y="150"/>
                    <a:pt x="270" y="152"/>
                    <a:pt x="275" y="154"/>
                  </a:cubicBezTo>
                  <a:cubicBezTo>
                    <a:pt x="279" y="156"/>
                    <a:pt x="284" y="157"/>
                    <a:pt x="290" y="157"/>
                  </a:cubicBezTo>
                  <a:cubicBezTo>
                    <a:pt x="298" y="157"/>
                    <a:pt x="305" y="155"/>
                    <a:pt x="311" y="153"/>
                  </a:cubicBezTo>
                  <a:cubicBezTo>
                    <a:pt x="318" y="151"/>
                    <a:pt x="324" y="148"/>
                    <a:pt x="329" y="144"/>
                  </a:cubicBezTo>
                  <a:close/>
                  <a:moveTo>
                    <a:pt x="577" y="206"/>
                  </a:moveTo>
                  <a:cubicBezTo>
                    <a:pt x="577" y="220"/>
                    <a:pt x="575" y="232"/>
                    <a:pt x="570" y="243"/>
                  </a:cubicBezTo>
                  <a:cubicBezTo>
                    <a:pt x="565" y="253"/>
                    <a:pt x="559" y="262"/>
                    <a:pt x="550" y="269"/>
                  </a:cubicBezTo>
                  <a:cubicBezTo>
                    <a:pt x="542" y="277"/>
                    <a:pt x="531" y="282"/>
                    <a:pt x="519" y="286"/>
                  </a:cubicBezTo>
                  <a:cubicBezTo>
                    <a:pt x="507" y="290"/>
                    <a:pt x="494" y="292"/>
                    <a:pt x="479" y="292"/>
                  </a:cubicBezTo>
                  <a:cubicBezTo>
                    <a:pt x="471" y="292"/>
                    <a:pt x="464" y="291"/>
                    <a:pt x="457" y="290"/>
                  </a:cubicBezTo>
                  <a:cubicBezTo>
                    <a:pt x="450" y="290"/>
                    <a:pt x="444" y="288"/>
                    <a:pt x="438" y="287"/>
                  </a:cubicBezTo>
                  <a:cubicBezTo>
                    <a:pt x="433" y="285"/>
                    <a:pt x="428" y="284"/>
                    <a:pt x="425" y="282"/>
                  </a:cubicBezTo>
                  <a:cubicBezTo>
                    <a:pt x="421" y="281"/>
                    <a:pt x="419" y="280"/>
                    <a:pt x="418" y="279"/>
                  </a:cubicBezTo>
                  <a:cubicBezTo>
                    <a:pt x="417" y="278"/>
                    <a:pt x="416" y="277"/>
                    <a:pt x="415" y="276"/>
                  </a:cubicBezTo>
                  <a:cubicBezTo>
                    <a:pt x="415" y="274"/>
                    <a:pt x="414" y="273"/>
                    <a:pt x="414" y="271"/>
                  </a:cubicBezTo>
                  <a:cubicBezTo>
                    <a:pt x="414" y="270"/>
                    <a:pt x="414" y="268"/>
                    <a:pt x="413" y="265"/>
                  </a:cubicBezTo>
                  <a:cubicBezTo>
                    <a:pt x="413" y="263"/>
                    <a:pt x="413" y="260"/>
                    <a:pt x="413" y="257"/>
                  </a:cubicBezTo>
                  <a:cubicBezTo>
                    <a:pt x="413" y="253"/>
                    <a:pt x="413" y="250"/>
                    <a:pt x="414" y="247"/>
                  </a:cubicBezTo>
                  <a:cubicBezTo>
                    <a:pt x="414" y="245"/>
                    <a:pt x="414" y="243"/>
                    <a:pt x="415" y="241"/>
                  </a:cubicBezTo>
                  <a:cubicBezTo>
                    <a:pt x="415" y="240"/>
                    <a:pt x="416" y="239"/>
                    <a:pt x="417" y="238"/>
                  </a:cubicBezTo>
                  <a:cubicBezTo>
                    <a:pt x="418" y="237"/>
                    <a:pt x="419" y="237"/>
                    <a:pt x="420" y="237"/>
                  </a:cubicBezTo>
                  <a:cubicBezTo>
                    <a:pt x="421" y="237"/>
                    <a:pt x="423" y="238"/>
                    <a:pt x="425" y="239"/>
                  </a:cubicBezTo>
                  <a:cubicBezTo>
                    <a:pt x="428" y="241"/>
                    <a:pt x="432" y="242"/>
                    <a:pt x="436" y="244"/>
                  </a:cubicBezTo>
                  <a:cubicBezTo>
                    <a:pt x="440" y="246"/>
                    <a:pt x="446" y="248"/>
                    <a:pt x="452" y="249"/>
                  </a:cubicBezTo>
                  <a:cubicBezTo>
                    <a:pt x="458" y="251"/>
                    <a:pt x="465" y="251"/>
                    <a:pt x="474" y="251"/>
                  </a:cubicBezTo>
                  <a:cubicBezTo>
                    <a:pt x="481" y="251"/>
                    <a:pt x="488" y="251"/>
                    <a:pt x="494" y="249"/>
                  </a:cubicBezTo>
                  <a:cubicBezTo>
                    <a:pt x="500" y="248"/>
                    <a:pt x="506" y="245"/>
                    <a:pt x="510" y="242"/>
                  </a:cubicBezTo>
                  <a:cubicBezTo>
                    <a:pt x="514" y="238"/>
                    <a:pt x="517" y="234"/>
                    <a:pt x="520" y="229"/>
                  </a:cubicBezTo>
                  <a:cubicBezTo>
                    <a:pt x="522" y="224"/>
                    <a:pt x="523" y="217"/>
                    <a:pt x="523" y="210"/>
                  </a:cubicBezTo>
                  <a:cubicBezTo>
                    <a:pt x="523" y="204"/>
                    <a:pt x="522" y="199"/>
                    <a:pt x="520" y="194"/>
                  </a:cubicBezTo>
                  <a:cubicBezTo>
                    <a:pt x="518" y="189"/>
                    <a:pt x="515" y="185"/>
                    <a:pt x="511" y="181"/>
                  </a:cubicBezTo>
                  <a:cubicBezTo>
                    <a:pt x="507" y="178"/>
                    <a:pt x="502" y="176"/>
                    <a:pt x="495" y="174"/>
                  </a:cubicBezTo>
                  <a:cubicBezTo>
                    <a:pt x="489" y="172"/>
                    <a:pt x="481" y="171"/>
                    <a:pt x="471" y="171"/>
                  </a:cubicBezTo>
                  <a:cubicBezTo>
                    <a:pt x="464" y="171"/>
                    <a:pt x="457" y="172"/>
                    <a:pt x="451" y="173"/>
                  </a:cubicBezTo>
                  <a:cubicBezTo>
                    <a:pt x="445" y="173"/>
                    <a:pt x="439" y="174"/>
                    <a:pt x="434" y="174"/>
                  </a:cubicBezTo>
                  <a:cubicBezTo>
                    <a:pt x="430" y="174"/>
                    <a:pt x="427" y="173"/>
                    <a:pt x="425" y="171"/>
                  </a:cubicBezTo>
                  <a:cubicBezTo>
                    <a:pt x="424" y="169"/>
                    <a:pt x="423" y="166"/>
                    <a:pt x="423" y="161"/>
                  </a:cubicBezTo>
                  <a:lnTo>
                    <a:pt x="423" y="52"/>
                  </a:lnTo>
                  <a:cubicBezTo>
                    <a:pt x="423" y="47"/>
                    <a:pt x="424" y="43"/>
                    <a:pt x="426" y="41"/>
                  </a:cubicBezTo>
                  <a:cubicBezTo>
                    <a:pt x="428" y="39"/>
                    <a:pt x="431" y="37"/>
                    <a:pt x="436" y="37"/>
                  </a:cubicBezTo>
                  <a:lnTo>
                    <a:pt x="554" y="37"/>
                  </a:lnTo>
                  <a:cubicBezTo>
                    <a:pt x="555" y="37"/>
                    <a:pt x="556" y="38"/>
                    <a:pt x="557" y="39"/>
                  </a:cubicBezTo>
                  <a:cubicBezTo>
                    <a:pt x="558" y="39"/>
                    <a:pt x="559" y="41"/>
                    <a:pt x="560" y="42"/>
                  </a:cubicBezTo>
                  <a:cubicBezTo>
                    <a:pt x="561" y="44"/>
                    <a:pt x="561" y="46"/>
                    <a:pt x="562" y="49"/>
                  </a:cubicBezTo>
                  <a:cubicBezTo>
                    <a:pt x="562" y="52"/>
                    <a:pt x="562" y="55"/>
                    <a:pt x="562" y="59"/>
                  </a:cubicBezTo>
                  <a:cubicBezTo>
                    <a:pt x="562" y="67"/>
                    <a:pt x="561" y="72"/>
                    <a:pt x="560" y="76"/>
                  </a:cubicBezTo>
                  <a:cubicBezTo>
                    <a:pt x="559" y="79"/>
                    <a:pt x="557" y="81"/>
                    <a:pt x="554" y="81"/>
                  </a:cubicBezTo>
                  <a:lnTo>
                    <a:pt x="465" y="81"/>
                  </a:lnTo>
                  <a:lnTo>
                    <a:pt x="465" y="134"/>
                  </a:lnTo>
                  <a:cubicBezTo>
                    <a:pt x="470" y="134"/>
                    <a:pt x="474" y="134"/>
                    <a:pt x="479" y="134"/>
                  </a:cubicBezTo>
                  <a:cubicBezTo>
                    <a:pt x="483" y="133"/>
                    <a:pt x="488" y="133"/>
                    <a:pt x="493" y="133"/>
                  </a:cubicBezTo>
                  <a:cubicBezTo>
                    <a:pt x="506" y="133"/>
                    <a:pt x="518" y="135"/>
                    <a:pt x="529" y="138"/>
                  </a:cubicBezTo>
                  <a:cubicBezTo>
                    <a:pt x="539" y="141"/>
                    <a:pt x="548" y="146"/>
                    <a:pt x="555" y="152"/>
                  </a:cubicBezTo>
                  <a:cubicBezTo>
                    <a:pt x="562" y="158"/>
                    <a:pt x="568" y="166"/>
                    <a:pt x="571" y="175"/>
                  </a:cubicBezTo>
                  <a:cubicBezTo>
                    <a:pt x="575" y="184"/>
                    <a:pt x="577" y="194"/>
                    <a:pt x="577" y="206"/>
                  </a:cubicBezTo>
                  <a:close/>
                  <a:moveTo>
                    <a:pt x="644" y="338"/>
                  </a:moveTo>
                  <a:cubicBezTo>
                    <a:pt x="643" y="339"/>
                    <a:pt x="642" y="341"/>
                    <a:pt x="641" y="342"/>
                  </a:cubicBezTo>
                  <a:cubicBezTo>
                    <a:pt x="640" y="343"/>
                    <a:pt x="639" y="344"/>
                    <a:pt x="637" y="344"/>
                  </a:cubicBezTo>
                  <a:cubicBezTo>
                    <a:pt x="635" y="345"/>
                    <a:pt x="633" y="345"/>
                    <a:pt x="630" y="346"/>
                  </a:cubicBezTo>
                  <a:cubicBezTo>
                    <a:pt x="627" y="346"/>
                    <a:pt x="624" y="346"/>
                    <a:pt x="620" y="346"/>
                  </a:cubicBezTo>
                  <a:cubicBezTo>
                    <a:pt x="614" y="346"/>
                    <a:pt x="610" y="346"/>
                    <a:pt x="607" y="345"/>
                  </a:cubicBezTo>
                  <a:cubicBezTo>
                    <a:pt x="603" y="345"/>
                    <a:pt x="601" y="344"/>
                    <a:pt x="599" y="343"/>
                  </a:cubicBezTo>
                  <a:cubicBezTo>
                    <a:pt x="597" y="342"/>
                    <a:pt x="596" y="341"/>
                    <a:pt x="596" y="339"/>
                  </a:cubicBezTo>
                  <a:cubicBezTo>
                    <a:pt x="596" y="337"/>
                    <a:pt x="596" y="336"/>
                    <a:pt x="597" y="333"/>
                  </a:cubicBezTo>
                  <a:lnTo>
                    <a:pt x="712" y="9"/>
                  </a:lnTo>
                  <a:cubicBezTo>
                    <a:pt x="713" y="7"/>
                    <a:pt x="714" y="6"/>
                    <a:pt x="715" y="5"/>
                  </a:cubicBezTo>
                  <a:cubicBezTo>
                    <a:pt x="716" y="4"/>
                    <a:pt x="717" y="3"/>
                    <a:pt x="719" y="2"/>
                  </a:cubicBezTo>
                  <a:cubicBezTo>
                    <a:pt x="721" y="1"/>
                    <a:pt x="723" y="1"/>
                    <a:pt x="726" y="1"/>
                  </a:cubicBezTo>
                  <a:cubicBezTo>
                    <a:pt x="729" y="0"/>
                    <a:pt x="732" y="0"/>
                    <a:pt x="736" y="0"/>
                  </a:cubicBezTo>
                  <a:cubicBezTo>
                    <a:pt x="742" y="0"/>
                    <a:pt x="746" y="0"/>
                    <a:pt x="749" y="1"/>
                  </a:cubicBezTo>
                  <a:cubicBezTo>
                    <a:pt x="753" y="1"/>
                    <a:pt x="755" y="2"/>
                    <a:pt x="757" y="3"/>
                  </a:cubicBezTo>
                  <a:cubicBezTo>
                    <a:pt x="759" y="4"/>
                    <a:pt x="760" y="6"/>
                    <a:pt x="760" y="7"/>
                  </a:cubicBezTo>
                  <a:cubicBezTo>
                    <a:pt x="760" y="9"/>
                    <a:pt x="760" y="11"/>
                    <a:pt x="759" y="13"/>
                  </a:cubicBezTo>
                  <a:lnTo>
                    <a:pt x="644" y="338"/>
                  </a:lnTo>
                  <a:close/>
                  <a:moveTo>
                    <a:pt x="950" y="267"/>
                  </a:moveTo>
                  <a:cubicBezTo>
                    <a:pt x="950" y="271"/>
                    <a:pt x="950" y="274"/>
                    <a:pt x="949" y="276"/>
                  </a:cubicBezTo>
                  <a:cubicBezTo>
                    <a:pt x="949" y="279"/>
                    <a:pt x="949" y="281"/>
                    <a:pt x="948" y="283"/>
                  </a:cubicBezTo>
                  <a:cubicBezTo>
                    <a:pt x="947" y="285"/>
                    <a:pt x="947" y="286"/>
                    <a:pt x="946" y="286"/>
                  </a:cubicBezTo>
                  <a:cubicBezTo>
                    <a:pt x="945" y="287"/>
                    <a:pt x="943" y="288"/>
                    <a:pt x="942" y="288"/>
                  </a:cubicBezTo>
                  <a:lnTo>
                    <a:pt x="798" y="288"/>
                  </a:lnTo>
                  <a:cubicBezTo>
                    <a:pt x="795" y="288"/>
                    <a:pt x="793" y="287"/>
                    <a:pt x="791" y="287"/>
                  </a:cubicBezTo>
                  <a:cubicBezTo>
                    <a:pt x="789" y="286"/>
                    <a:pt x="787" y="285"/>
                    <a:pt x="786" y="284"/>
                  </a:cubicBezTo>
                  <a:cubicBezTo>
                    <a:pt x="785" y="282"/>
                    <a:pt x="784" y="280"/>
                    <a:pt x="783" y="277"/>
                  </a:cubicBezTo>
                  <a:cubicBezTo>
                    <a:pt x="783" y="274"/>
                    <a:pt x="782" y="271"/>
                    <a:pt x="782" y="266"/>
                  </a:cubicBezTo>
                  <a:cubicBezTo>
                    <a:pt x="782" y="262"/>
                    <a:pt x="782" y="258"/>
                    <a:pt x="783" y="255"/>
                  </a:cubicBezTo>
                  <a:cubicBezTo>
                    <a:pt x="783" y="252"/>
                    <a:pt x="784" y="250"/>
                    <a:pt x="785" y="247"/>
                  </a:cubicBezTo>
                  <a:cubicBezTo>
                    <a:pt x="786" y="245"/>
                    <a:pt x="787" y="243"/>
                    <a:pt x="789" y="240"/>
                  </a:cubicBezTo>
                  <a:cubicBezTo>
                    <a:pt x="791" y="238"/>
                    <a:pt x="793" y="236"/>
                    <a:pt x="795" y="233"/>
                  </a:cubicBezTo>
                  <a:lnTo>
                    <a:pt x="838" y="186"/>
                  </a:lnTo>
                  <a:cubicBezTo>
                    <a:pt x="847" y="177"/>
                    <a:pt x="854" y="169"/>
                    <a:pt x="859" y="162"/>
                  </a:cubicBezTo>
                  <a:cubicBezTo>
                    <a:pt x="865" y="154"/>
                    <a:pt x="869" y="148"/>
                    <a:pt x="872" y="142"/>
                  </a:cubicBezTo>
                  <a:cubicBezTo>
                    <a:pt x="875" y="135"/>
                    <a:pt x="877" y="130"/>
                    <a:pt x="878" y="125"/>
                  </a:cubicBezTo>
                  <a:cubicBezTo>
                    <a:pt x="879" y="119"/>
                    <a:pt x="879" y="115"/>
                    <a:pt x="879" y="110"/>
                  </a:cubicBezTo>
                  <a:cubicBezTo>
                    <a:pt x="879" y="106"/>
                    <a:pt x="879" y="102"/>
                    <a:pt x="877" y="98"/>
                  </a:cubicBezTo>
                  <a:cubicBezTo>
                    <a:pt x="876" y="94"/>
                    <a:pt x="874" y="91"/>
                    <a:pt x="871" y="88"/>
                  </a:cubicBezTo>
                  <a:cubicBezTo>
                    <a:pt x="869" y="85"/>
                    <a:pt x="866" y="83"/>
                    <a:pt x="861" y="81"/>
                  </a:cubicBezTo>
                  <a:cubicBezTo>
                    <a:pt x="857" y="80"/>
                    <a:pt x="853" y="79"/>
                    <a:pt x="847" y="79"/>
                  </a:cubicBezTo>
                  <a:cubicBezTo>
                    <a:pt x="840" y="79"/>
                    <a:pt x="833" y="80"/>
                    <a:pt x="827" y="82"/>
                  </a:cubicBezTo>
                  <a:cubicBezTo>
                    <a:pt x="821" y="84"/>
                    <a:pt x="816" y="86"/>
                    <a:pt x="812" y="88"/>
                  </a:cubicBezTo>
                  <a:cubicBezTo>
                    <a:pt x="807" y="91"/>
                    <a:pt x="804" y="93"/>
                    <a:pt x="801" y="95"/>
                  </a:cubicBezTo>
                  <a:cubicBezTo>
                    <a:pt x="798" y="97"/>
                    <a:pt x="795" y="98"/>
                    <a:pt x="794" y="98"/>
                  </a:cubicBezTo>
                  <a:cubicBezTo>
                    <a:pt x="792" y="98"/>
                    <a:pt x="792" y="97"/>
                    <a:pt x="791" y="97"/>
                  </a:cubicBezTo>
                  <a:cubicBezTo>
                    <a:pt x="790" y="96"/>
                    <a:pt x="789" y="95"/>
                    <a:pt x="789" y="93"/>
                  </a:cubicBezTo>
                  <a:cubicBezTo>
                    <a:pt x="788" y="91"/>
                    <a:pt x="788" y="89"/>
                    <a:pt x="787" y="85"/>
                  </a:cubicBezTo>
                  <a:cubicBezTo>
                    <a:pt x="787" y="82"/>
                    <a:pt x="787" y="79"/>
                    <a:pt x="787" y="74"/>
                  </a:cubicBezTo>
                  <a:cubicBezTo>
                    <a:pt x="787" y="71"/>
                    <a:pt x="787" y="69"/>
                    <a:pt x="787" y="67"/>
                  </a:cubicBezTo>
                  <a:cubicBezTo>
                    <a:pt x="787" y="65"/>
                    <a:pt x="788" y="63"/>
                    <a:pt x="788" y="62"/>
                  </a:cubicBezTo>
                  <a:cubicBezTo>
                    <a:pt x="788" y="60"/>
                    <a:pt x="789" y="59"/>
                    <a:pt x="790" y="58"/>
                  </a:cubicBezTo>
                  <a:cubicBezTo>
                    <a:pt x="790" y="57"/>
                    <a:pt x="791" y="55"/>
                    <a:pt x="793" y="54"/>
                  </a:cubicBezTo>
                  <a:cubicBezTo>
                    <a:pt x="795" y="52"/>
                    <a:pt x="798" y="50"/>
                    <a:pt x="802" y="48"/>
                  </a:cubicBezTo>
                  <a:cubicBezTo>
                    <a:pt x="806" y="46"/>
                    <a:pt x="811" y="43"/>
                    <a:pt x="818" y="41"/>
                  </a:cubicBezTo>
                  <a:cubicBezTo>
                    <a:pt x="824" y="39"/>
                    <a:pt x="831" y="37"/>
                    <a:pt x="839" y="35"/>
                  </a:cubicBezTo>
                  <a:cubicBezTo>
                    <a:pt x="846" y="34"/>
                    <a:pt x="854" y="33"/>
                    <a:pt x="862" y="33"/>
                  </a:cubicBezTo>
                  <a:cubicBezTo>
                    <a:pt x="875" y="33"/>
                    <a:pt x="887" y="35"/>
                    <a:pt x="897" y="38"/>
                  </a:cubicBezTo>
                  <a:cubicBezTo>
                    <a:pt x="906" y="41"/>
                    <a:pt x="914" y="46"/>
                    <a:pt x="921" y="52"/>
                  </a:cubicBezTo>
                  <a:cubicBezTo>
                    <a:pt x="927" y="58"/>
                    <a:pt x="932" y="65"/>
                    <a:pt x="935" y="73"/>
                  </a:cubicBezTo>
                  <a:cubicBezTo>
                    <a:pt x="938" y="81"/>
                    <a:pt x="940" y="89"/>
                    <a:pt x="940" y="99"/>
                  </a:cubicBezTo>
                  <a:cubicBezTo>
                    <a:pt x="940" y="107"/>
                    <a:pt x="939" y="115"/>
                    <a:pt x="938" y="122"/>
                  </a:cubicBezTo>
                  <a:cubicBezTo>
                    <a:pt x="936" y="130"/>
                    <a:pt x="933" y="139"/>
                    <a:pt x="928" y="148"/>
                  </a:cubicBezTo>
                  <a:cubicBezTo>
                    <a:pt x="923" y="157"/>
                    <a:pt x="916" y="167"/>
                    <a:pt x="907" y="178"/>
                  </a:cubicBezTo>
                  <a:cubicBezTo>
                    <a:pt x="898" y="189"/>
                    <a:pt x="887" y="202"/>
                    <a:pt x="872" y="216"/>
                  </a:cubicBezTo>
                  <a:lnTo>
                    <a:pt x="843" y="246"/>
                  </a:lnTo>
                  <a:lnTo>
                    <a:pt x="941" y="246"/>
                  </a:lnTo>
                  <a:cubicBezTo>
                    <a:pt x="943" y="246"/>
                    <a:pt x="944" y="247"/>
                    <a:pt x="945" y="248"/>
                  </a:cubicBezTo>
                  <a:cubicBezTo>
                    <a:pt x="946" y="248"/>
                    <a:pt x="947" y="249"/>
                    <a:pt x="948" y="251"/>
                  </a:cubicBezTo>
                  <a:cubicBezTo>
                    <a:pt x="948" y="253"/>
                    <a:pt x="949" y="255"/>
                    <a:pt x="949" y="257"/>
                  </a:cubicBezTo>
                  <a:cubicBezTo>
                    <a:pt x="950" y="260"/>
                    <a:pt x="950" y="263"/>
                    <a:pt x="950" y="267"/>
                  </a:cubicBezTo>
                  <a:close/>
                  <a:moveTo>
                    <a:pt x="1154" y="204"/>
                  </a:moveTo>
                  <a:cubicBezTo>
                    <a:pt x="1154" y="217"/>
                    <a:pt x="1152" y="228"/>
                    <a:pt x="1149" y="239"/>
                  </a:cubicBezTo>
                  <a:cubicBezTo>
                    <a:pt x="1145" y="250"/>
                    <a:pt x="1139" y="259"/>
                    <a:pt x="1132" y="267"/>
                  </a:cubicBezTo>
                  <a:cubicBezTo>
                    <a:pt x="1124" y="275"/>
                    <a:pt x="1115" y="281"/>
                    <a:pt x="1104" y="285"/>
                  </a:cubicBezTo>
                  <a:cubicBezTo>
                    <a:pt x="1093" y="290"/>
                    <a:pt x="1080" y="292"/>
                    <a:pt x="1066" y="292"/>
                  </a:cubicBezTo>
                  <a:cubicBezTo>
                    <a:pt x="1055" y="292"/>
                    <a:pt x="1044" y="291"/>
                    <a:pt x="1036" y="288"/>
                  </a:cubicBezTo>
                  <a:cubicBezTo>
                    <a:pt x="1027" y="285"/>
                    <a:pt x="1020" y="282"/>
                    <a:pt x="1013" y="277"/>
                  </a:cubicBezTo>
                  <a:cubicBezTo>
                    <a:pt x="1007" y="272"/>
                    <a:pt x="1002" y="266"/>
                    <a:pt x="998" y="259"/>
                  </a:cubicBezTo>
                  <a:cubicBezTo>
                    <a:pt x="994" y="251"/>
                    <a:pt x="991" y="243"/>
                    <a:pt x="988" y="235"/>
                  </a:cubicBezTo>
                  <a:cubicBezTo>
                    <a:pt x="986" y="226"/>
                    <a:pt x="984" y="216"/>
                    <a:pt x="983" y="206"/>
                  </a:cubicBezTo>
                  <a:cubicBezTo>
                    <a:pt x="983" y="195"/>
                    <a:pt x="982" y="184"/>
                    <a:pt x="982" y="172"/>
                  </a:cubicBezTo>
                  <a:cubicBezTo>
                    <a:pt x="982" y="163"/>
                    <a:pt x="983" y="152"/>
                    <a:pt x="984" y="142"/>
                  </a:cubicBezTo>
                  <a:cubicBezTo>
                    <a:pt x="984" y="131"/>
                    <a:pt x="986" y="120"/>
                    <a:pt x="989" y="110"/>
                  </a:cubicBezTo>
                  <a:cubicBezTo>
                    <a:pt x="992" y="100"/>
                    <a:pt x="996" y="90"/>
                    <a:pt x="1001" y="81"/>
                  </a:cubicBezTo>
                  <a:cubicBezTo>
                    <a:pt x="1006" y="71"/>
                    <a:pt x="1012" y="63"/>
                    <a:pt x="1020" y="56"/>
                  </a:cubicBezTo>
                  <a:cubicBezTo>
                    <a:pt x="1028" y="49"/>
                    <a:pt x="1038" y="44"/>
                    <a:pt x="1049" y="39"/>
                  </a:cubicBezTo>
                  <a:cubicBezTo>
                    <a:pt x="1060" y="35"/>
                    <a:pt x="1074" y="33"/>
                    <a:pt x="1089" y="33"/>
                  </a:cubicBezTo>
                  <a:cubicBezTo>
                    <a:pt x="1094" y="33"/>
                    <a:pt x="1099" y="34"/>
                    <a:pt x="1104" y="34"/>
                  </a:cubicBezTo>
                  <a:cubicBezTo>
                    <a:pt x="1109" y="35"/>
                    <a:pt x="1113" y="35"/>
                    <a:pt x="1118" y="36"/>
                  </a:cubicBezTo>
                  <a:cubicBezTo>
                    <a:pt x="1122" y="37"/>
                    <a:pt x="1126" y="38"/>
                    <a:pt x="1129" y="39"/>
                  </a:cubicBezTo>
                  <a:cubicBezTo>
                    <a:pt x="1132" y="41"/>
                    <a:pt x="1133" y="42"/>
                    <a:pt x="1134" y="42"/>
                  </a:cubicBezTo>
                  <a:cubicBezTo>
                    <a:pt x="1135" y="43"/>
                    <a:pt x="1136" y="44"/>
                    <a:pt x="1137" y="45"/>
                  </a:cubicBezTo>
                  <a:cubicBezTo>
                    <a:pt x="1137" y="46"/>
                    <a:pt x="1138" y="47"/>
                    <a:pt x="1138" y="49"/>
                  </a:cubicBezTo>
                  <a:cubicBezTo>
                    <a:pt x="1138" y="50"/>
                    <a:pt x="1138" y="51"/>
                    <a:pt x="1139" y="53"/>
                  </a:cubicBezTo>
                  <a:cubicBezTo>
                    <a:pt x="1139" y="55"/>
                    <a:pt x="1139" y="57"/>
                    <a:pt x="1139" y="60"/>
                  </a:cubicBezTo>
                  <a:cubicBezTo>
                    <a:pt x="1139" y="64"/>
                    <a:pt x="1139" y="67"/>
                    <a:pt x="1138" y="70"/>
                  </a:cubicBezTo>
                  <a:cubicBezTo>
                    <a:pt x="1138" y="72"/>
                    <a:pt x="1138" y="74"/>
                    <a:pt x="1137" y="76"/>
                  </a:cubicBezTo>
                  <a:cubicBezTo>
                    <a:pt x="1137" y="77"/>
                    <a:pt x="1136" y="78"/>
                    <a:pt x="1135" y="79"/>
                  </a:cubicBezTo>
                  <a:cubicBezTo>
                    <a:pt x="1134" y="80"/>
                    <a:pt x="1133" y="80"/>
                    <a:pt x="1132" y="80"/>
                  </a:cubicBezTo>
                  <a:cubicBezTo>
                    <a:pt x="1130" y="80"/>
                    <a:pt x="1128" y="80"/>
                    <a:pt x="1126" y="79"/>
                  </a:cubicBezTo>
                  <a:cubicBezTo>
                    <a:pt x="1124" y="78"/>
                    <a:pt x="1121" y="77"/>
                    <a:pt x="1117" y="76"/>
                  </a:cubicBezTo>
                  <a:cubicBezTo>
                    <a:pt x="1114" y="75"/>
                    <a:pt x="1110" y="74"/>
                    <a:pt x="1105" y="73"/>
                  </a:cubicBezTo>
                  <a:cubicBezTo>
                    <a:pt x="1100" y="72"/>
                    <a:pt x="1095" y="72"/>
                    <a:pt x="1088" y="72"/>
                  </a:cubicBezTo>
                  <a:cubicBezTo>
                    <a:pt x="1078" y="72"/>
                    <a:pt x="1069" y="74"/>
                    <a:pt x="1062" y="78"/>
                  </a:cubicBezTo>
                  <a:cubicBezTo>
                    <a:pt x="1055" y="82"/>
                    <a:pt x="1049" y="87"/>
                    <a:pt x="1044" y="94"/>
                  </a:cubicBezTo>
                  <a:cubicBezTo>
                    <a:pt x="1040" y="100"/>
                    <a:pt x="1037" y="108"/>
                    <a:pt x="1035" y="117"/>
                  </a:cubicBezTo>
                  <a:cubicBezTo>
                    <a:pt x="1033" y="125"/>
                    <a:pt x="1031" y="135"/>
                    <a:pt x="1031" y="145"/>
                  </a:cubicBezTo>
                  <a:cubicBezTo>
                    <a:pt x="1034" y="143"/>
                    <a:pt x="1037" y="141"/>
                    <a:pt x="1041" y="139"/>
                  </a:cubicBezTo>
                  <a:cubicBezTo>
                    <a:pt x="1045" y="137"/>
                    <a:pt x="1049" y="136"/>
                    <a:pt x="1053" y="134"/>
                  </a:cubicBezTo>
                  <a:cubicBezTo>
                    <a:pt x="1057" y="133"/>
                    <a:pt x="1062" y="132"/>
                    <a:pt x="1067" y="131"/>
                  </a:cubicBezTo>
                  <a:cubicBezTo>
                    <a:pt x="1072" y="130"/>
                    <a:pt x="1077" y="130"/>
                    <a:pt x="1083" y="130"/>
                  </a:cubicBezTo>
                  <a:cubicBezTo>
                    <a:pt x="1096" y="130"/>
                    <a:pt x="1107" y="132"/>
                    <a:pt x="1116" y="135"/>
                  </a:cubicBezTo>
                  <a:cubicBezTo>
                    <a:pt x="1125" y="139"/>
                    <a:pt x="1132" y="144"/>
                    <a:pt x="1138" y="150"/>
                  </a:cubicBezTo>
                  <a:cubicBezTo>
                    <a:pt x="1143" y="157"/>
                    <a:pt x="1148" y="164"/>
                    <a:pt x="1150" y="173"/>
                  </a:cubicBezTo>
                  <a:cubicBezTo>
                    <a:pt x="1153" y="183"/>
                    <a:pt x="1154" y="193"/>
                    <a:pt x="1154" y="204"/>
                  </a:cubicBezTo>
                  <a:close/>
                  <a:moveTo>
                    <a:pt x="1105" y="209"/>
                  </a:moveTo>
                  <a:cubicBezTo>
                    <a:pt x="1105" y="202"/>
                    <a:pt x="1104" y="197"/>
                    <a:pt x="1103" y="192"/>
                  </a:cubicBezTo>
                  <a:cubicBezTo>
                    <a:pt x="1102" y="187"/>
                    <a:pt x="1100" y="182"/>
                    <a:pt x="1097" y="179"/>
                  </a:cubicBezTo>
                  <a:cubicBezTo>
                    <a:pt x="1095" y="176"/>
                    <a:pt x="1091" y="173"/>
                    <a:pt x="1087" y="171"/>
                  </a:cubicBezTo>
                  <a:cubicBezTo>
                    <a:pt x="1083" y="170"/>
                    <a:pt x="1078" y="169"/>
                    <a:pt x="1072" y="169"/>
                  </a:cubicBezTo>
                  <a:cubicBezTo>
                    <a:pt x="1068" y="169"/>
                    <a:pt x="1064" y="169"/>
                    <a:pt x="1061" y="170"/>
                  </a:cubicBezTo>
                  <a:cubicBezTo>
                    <a:pt x="1057" y="170"/>
                    <a:pt x="1054" y="171"/>
                    <a:pt x="1051" y="172"/>
                  </a:cubicBezTo>
                  <a:cubicBezTo>
                    <a:pt x="1047" y="173"/>
                    <a:pt x="1044" y="175"/>
                    <a:pt x="1041" y="177"/>
                  </a:cubicBezTo>
                  <a:cubicBezTo>
                    <a:pt x="1038" y="178"/>
                    <a:pt x="1035" y="180"/>
                    <a:pt x="1032" y="182"/>
                  </a:cubicBezTo>
                  <a:cubicBezTo>
                    <a:pt x="1032" y="195"/>
                    <a:pt x="1033" y="207"/>
                    <a:pt x="1035" y="216"/>
                  </a:cubicBezTo>
                  <a:cubicBezTo>
                    <a:pt x="1036" y="225"/>
                    <a:pt x="1038" y="233"/>
                    <a:pt x="1041" y="238"/>
                  </a:cubicBezTo>
                  <a:cubicBezTo>
                    <a:pt x="1044" y="243"/>
                    <a:pt x="1048" y="247"/>
                    <a:pt x="1053" y="250"/>
                  </a:cubicBezTo>
                  <a:cubicBezTo>
                    <a:pt x="1057" y="252"/>
                    <a:pt x="1063" y="253"/>
                    <a:pt x="1069" y="253"/>
                  </a:cubicBezTo>
                  <a:cubicBezTo>
                    <a:pt x="1075" y="253"/>
                    <a:pt x="1080" y="252"/>
                    <a:pt x="1084" y="250"/>
                  </a:cubicBezTo>
                  <a:cubicBezTo>
                    <a:pt x="1089" y="247"/>
                    <a:pt x="1093" y="244"/>
                    <a:pt x="1095" y="240"/>
                  </a:cubicBezTo>
                  <a:cubicBezTo>
                    <a:pt x="1098" y="236"/>
                    <a:pt x="1101" y="232"/>
                    <a:pt x="1102" y="226"/>
                  </a:cubicBezTo>
                  <a:cubicBezTo>
                    <a:pt x="1104" y="221"/>
                    <a:pt x="1105" y="215"/>
                    <a:pt x="1105" y="209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257" name="Freeform 1209"/>
            <p:cNvSpPr>
              <a:spLocks noEditPoints="1"/>
            </p:cNvSpPr>
            <p:nvPr/>
          </p:nvSpPr>
          <p:spPr bwMode="auto">
            <a:xfrm>
              <a:off x="8614137" y="2134884"/>
              <a:ext cx="430346" cy="159387"/>
            </a:xfrm>
            <a:custGeom>
              <a:avLst/>
              <a:gdLst/>
              <a:ahLst/>
              <a:cxnLst>
                <a:cxn ang="0">
                  <a:pos x="106" y="286"/>
                </a:cxn>
                <a:cxn ang="0">
                  <a:pos x="12" y="282"/>
                </a:cxn>
                <a:cxn ang="0">
                  <a:pos x="1" y="265"/>
                </a:cxn>
                <a:cxn ang="0">
                  <a:pos x="4" y="238"/>
                </a:cxn>
                <a:cxn ang="0">
                  <a:pos x="39" y="249"/>
                </a:cxn>
                <a:cxn ang="0">
                  <a:pos x="107" y="228"/>
                </a:cxn>
                <a:cxn ang="0">
                  <a:pos x="82" y="173"/>
                </a:cxn>
                <a:cxn ang="0">
                  <a:pos x="13" y="170"/>
                </a:cxn>
                <a:cxn ang="0">
                  <a:pos x="23" y="37"/>
                </a:cxn>
                <a:cxn ang="0">
                  <a:pos x="149" y="49"/>
                </a:cxn>
                <a:cxn ang="0">
                  <a:pos x="52" y="81"/>
                </a:cxn>
                <a:cxn ang="0">
                  <a:pos x="116" y="138"/>
                </a:cxn>
                <a:cxn ang="0">
                  <a:pos x="365" y="268"/>
                </a:cxn>
                <a:cxn ang="0">
                  <a:pos x="357" y="287"/>
                </a:cxn>
                <a:cxn ang="0">
                  <a:pos x="212" y="277"/>
                </a:cxn>
                <a:cxn ang="0">
                  <a:pos x="216" y="249"/>
                </a:cxn>
                <a:cxn ang="0">
                  <a:pos x="226" y="107"/>
                </a:cxn>
                <a:cxn ang="0">
                  <a:pos x="211" y="92"/>
                </a:cxn>
                <a:cxn ang="0">
                  <a:pos x="218" y="73"/>
                </a:cxn>
                <a:cxn ang="0">
                  <a:pos x="284" y="35"/>
                </a:cxn>
                <a:cxn ang="0">
                  <a:pos x="316" y="38"/>
                </a:cxn>
                <a:cxn ang="0">
                  <a:pos x="360" y="249"/>
                </a:cxn>
                <a:cxn ang="0">
                  <a:pos x="568" y="266"/>
                </a:cxn>
                <a:cxn ang="0">
                  <a:pos x="560" y="287"/>
                </a:cxn>
                <a:cxn ang="0">
                  <a:pos x="401" y="277"/>
                </a:cxn>
                <a:cxn ang="0">
                  <a:pos x="407" y="240"/>
                </a:cxn>
                <a:cxn ang="0">
                  <a:pos x="489" y="141"/>
                </a:cxn>
                <a:cxn ang="0">
                  <a:pos x="489" y="88"/>
                </a:cxn>
                <a:cxn ang="0">
                  <a:pos x="430" y="88"/>
                </a:cxn>
                <a:cxn ang="0">
                  <a:pos x="406" y="92"/>
                </a:cxn>
                <a:cxn ang="0">
                  <a:pos x="406" y="61"/>
                </a:cxn>
                <a:cxn ang="0">
                  <a:pos x="436" y="41"/>
                </a:cxn>
                <a:cxn ang="0">
                  <a:pos x="539" y="51"/>
                </a:cxn>
                <a:cxn ang="0">
                  <a:pos x="546" y="147"/>
                </a:cxn>
                <a:cxn ang="0">
                  <a:pos x="559" y="246"/>
                </a:cxn>
                <a:cxn ang="0">
                  <a:pos x="568" y="266"/>
                </a:cxn>
                <a:cxn ang="0">
                  <a:pos x="618" y="345"/>
                </a:cxn>
                <a:cxn ang="0">
                  <a:pos x="584" y="339"/>
                </a:cxn>
                <a:cxn ang="0">
                  <a:pos x="707" y="2"/>
                </a:cxn>
                <a:cxn ang="0">
                  <a:pos x="745" y="3"/>
                </a:cxn>
                <a:cxn ang="0">
                  <a:pos x="946" y="215"/>
                </a:cxn>
                <a:cxn ang="0">
                  <a:pos x="916" y="281"/>
                </a:cxn>
                <a:cxn ang="0">
                  <a:pos x="892" y="288"/>
                </a:cxn>
                <a:cxn ang="0">
                  <a:pos x="867" y="281"/>
                </a:cxn>
                <a:cxn ang="0">
                  <a:pos x="763" y="232"/>
                </a:cxn>
                <a:cxn ang="0">
                  <a:pos x="762" y="194"/>
                </a:cxn>
                <a:cxn ang="0">
                  <a:pos x="848" y="40"/>
                </a:cxn>
                <a:cxn ang="0">
                  <a:pos x="897" y="36"/>
                </a:cxn>
                <a:cxn ang="0">
                  <a:pos x="916" y="195"/>
                </a:cxn>
                <a:cxn ang="0">
                  <a:pos x="867" y="80"/>
                </a:cxn>
                <a:cxn ang="0">
                  <a:pos x="867" y="80"/>
                </a:cxn>
              </a:cxnLst>
              <a:rect l="0" t="0" r="r" b="b"/>
              <a:pathLst>
                <a:path w="946" h="346">
                  <a:moveTo>
                    <a:pt x="164" y="206"/>
                  </a:moveTo>
                  <a:cubicBezTo>
                    <a:pt x="164" y="220"/>
                    <a:pt x="162" y="232"/>
                    <a:pt x="157" y="242"/>
                  </a:cubicBezTo>
                  <a:cubicBezTo>
                    <a:pt x="153" y="253"/>
                    <a:pt x="146" y="262"/>
                    <a:pt x="137" y="269"/>
                  </a:cubicBezTo>
                  <a:cubicBezTo>
                    <a:pt x="129" y="276"/>
                    <a:pt x="118" y="282"/>
                    <a:pt x="106" y="286"/>
                  </a:cubicBezTo>
                  <a:cubicBezTo>
                    <a:pt x="94" y="290"/>
                    <a:pt x="81" y="292"/>
                    <a:pt x="66" y="292"/>
                  </a:cubicBezTo>
                  <a:cubicBezTo>
                    <a:pt x="59" y="292"/>
                    <a:pt x="51" y="291"/>
                    <a:pt x="44" y="290"/>
                  </a:cubicBezTo>
                  <a:cubicBezTo>
                    <a:pt x="37" y="289"/>
                    <a:pt x="31" y="288"/>
                    <a:pt x="26" y="286"/>
                  </a:cubicBezTo>
                  <a:cubicBezTo>
                    <a:pt x="20" y="285"/>
                    <a:pt x="15" y="283"/>
                    <a:pt x="12" y="282"/>
                  </a:cubicBezTo>
                  <a:cubicBezTo>
                    <a:pt x="8" y="281"/>
                    <a:pt x="6" y="279"/>
                    <a:pt x="5" y="278"/>
                  </a:cubicBezTo>
                  <a:cubicBezTo>
                    <a:pt x="4" y="277"/>
                    <a:pt x="3" y="276"/>
                    <a:pt x="3" y="275"/>
                  </a:cubicBezTo>
                  <a:cubicBezTo>
                    <a:pt x="2" y="274"/>
                    <a:pt x="2" y="273"/>
                    <a:pt x="1" y="271"/>
                  </a:cubicBezTo>
                  <a:cubicBezTo>
                    <a:pt x="1" y="269"/>
                    <a:pt x="1" y="267"/>
                    <a:pt x="1" y="265"/>
                  </a:cubicBezTo>
                  <a:cubicBezTo>
                    <a:pt x="0" y="262"/>
                    <a:pt x="0" y="260"/>
                    <a:pt x="0" y="256"/>
                  </a:cubicBezTo>
                  <a:cubicBezTo>
                    <a:pt x="0" y="253"/>
                    <a:pt x="1" y="250"/>
                    <a:pt x="1" y="247"/>
                  </a:cubicBezTo>
                  <a:cubicBezTo>
                    <a:pt x="1" y="244"/>
                    <a:pt x="1" y="242"/>
                    <a:pt x="2" y="241"/>
                  </a:cubicBezTo>
                  <a:cubicBezTo>
                    <a:pt x="3" y="239"/>
                    <a:pt x="3" y="238"/>
                    <a:pt x="4" y="238"/>
                  </a:cubicBezTo>
                  <a:cubicBezTo>
                    <a:pt x="5" y="237"/>
                    <a:pt x="6" y="237"/>
                    <a:pt x="7" y="237"/>
                  </a:cubicBezTo>
                  <a:cubicBezTo>
                    <a:pt x="8" y="237"/>
                    <a:pt x="10" y="237"/>
                    <a:pt x="13" y="239"/>
                  </a:cubicBezTo>
                  <a:cubicBezTo>
                    <a:pt x="15" y="240"/>
                    <a:pt x="19" y="242"/>
                    <a:pt x="23" y="244"/>
                  </a:cubicBezTo>
                  <a:cubicBezTo>
                    <a:pt x="27" y="246"/>
                    <a:pt x="33" y="247"/>
                    <a:pt x="39" y="249"/>
                  </a:cubicBezTo>
                  <a:cubicBezTo>
                    <a:pt x="45" y="250"/>
                    <a:pt x="52" y="251"/>
                    <a:pt x="61" y="251"/>
                  </a:cubicBezTo>
                  <a:cubicBezTo>
                    <a:pt x="69" y="251"/>
                    <a:pt x="75" y="250"/>
                    <a:pt x="81" y="249"/>
                  </a:cubicBezTo>
                  <a:cubicBezTo>
                    <a:pt x="88" y="247"/>
                    <a:pt x="93" y="245"/>
                    <a:pt x="97" y="241"/>
                  </a:cubicBezTo>
                  <a:cubicBezTo>
                    <a:pt x="101" y="238"/>
                    <a:pt x="105" y="233"/>
                    <a:pt x="107" y="228"/>
                  </a:cubicBezTo>
                  <a:cubicBezTo>
                    <a:pt x="109" y="223"/>
                    <a:pt x="110" y="217"/>
                    <a:pt x="110" y="210"/>
                  </a:cubicBezTo>
                  <a:cubicBezTo>
                    <a:pt x="110" y="204"/>
                    <a:pt x="109" y="198"/>
                    <a:pt x="107" y="193"/>
                  </a:cubicBezTo>
                  <a:cubicBezTo>
                    <a:pt x="106" y="188"/>
                    <a:pt x="103" y="184"/>
                    <a:pt x="98" y="181"/>
                  </a:cubicBezTo>
                  <a:cubicBezTo>
                    <a:pt x="94" y="178"/>
                    <a:pt x="89" y="175"/>
                    <a:pt x="82" y="173"/>
                  </a:cubicBezTo>
                  <a:cubicBezTo>
                    <a:pt x="76" y="172"/>
                    <a:pt x="68" y="171"/>
                    <a:pt x="58" y="171"/>
                  </a:cubicBezTo>
                  <a:cubicBezTo>
                    <a:pt x="51" y="171"/>
                    <a:pt x="44" y="171"/>
                    <a:pt x="38" y="172"/>
                  </a:cubicBezTo>
                  <a:cubicBezTo>
                    <a:pt x="32" y="173"/>
                    <a:pt x="26" y="173"/>
                    <a:pt x="21" y="173"/>
                  </a:cubicBezTo>
                  <a:cubicBezTo>
                    <a:pt x="17" y="173"/>
                    <a:pt x="14" y="172"/>
                    <a:pt x="13" y="170"/>
                  </a:cubicBezTo>
                  <a:cubicBezTo>
                    <a:pt x="11" y="169"/>
                    <a:pt x="10" y="165"/>
                    <a:pt x="10" y="160"/>
                  </a:cubicBezTo>
                  <a:lnTo>
                    <a:pt x="10" y="52"/>
                  </a:lnTo>
                  <a:cubicBezTo>
                    <a:pt x="10" y="46"/>
                    <a:pt x="11" y="43"/>
                    <a:pt x="13" y="40"/>
                  </a:cubicBezTo>
                  <a:cubicBezTo>
                    <a:pt x="15" y="38"/>
                    <a:pt x="18" y="37"/>
                    <a:pt x="23" y="37"/>
                  </a:cubicBezTo>
                  <a:lnTo>
                    <a:pt x="141" y="37"/>
                  </a:lnTo>
                  <a:cubicBezTo>
                    <a:pt x="142" y="37"/>
                    <a:pt x="144" y="37"/>
                    <a:pt x="145" y="38"/>
                  </a:cubicBezTo>
                  <a:cubicBezTo>
                    <a:pt x="146" y="39"/>
                    <a:pt x="147" y="40"/>
                    <a:pt x="147" y="42"/>
                  </a:cubicBezTo>
                  <a:cubicBezTo>
                    <a:pt x="148" y="44"/>
                    <a:pt x="148" y="46"/>
                    <a:pt x="149" y="49"/>
                  </a:cubicBezTo>
                  <a:cubicBezTo>
                    <a:pt x="149" y="51"/>
                    <a:pt x="149" y="55"/>
                    <a:pt x="149" y="59"/>
                  </a:cubicBezTo>
                  <a:cubicBezTo>
                    <a:pt x="149" y="66"/>
                    <a:pt x="149" y="72"/>
                    <a:pt x="147" y="75"/>
                  </a:cubicBezTo>
                  <a:cubicBezTo>
                    <a:pt x="146" y="79"/>
                    <a:pt x="144" y="81"/>
                    <a:pt x="141" y="81"/>
                  </a:cubicBezTo>
                  <a:lnTo>
                    <a:pt x="52" y="81"/>
                  </a:lnTo>
                  <a:lnTo>
                    <a:pt x="52" y="134"/>
                  </a:lnTo>
                  <a:cubicBezTo>
                    <a:pt x="57" y="134"/>
                    <a:pt x="61" y="133"/>
                    <a:pt x="66" y="133"/>
                  </a:cubicBezTo>
                  <a:cubicBezTo>
                    <a:pt x="70" y="133"/>
                    <a:pt x="75" y="133"/>
                    <a:pt x="80" y="133"/>
                  </a:cubicBezTo>
                  <a:cubicBezTo>
                    <a:pt x="93" y="133"/>
                    <a:pt x="105" y="134"/>
                    <a:pt x="116" y="138"/>
                  </a:cubicBezTo>
                  <a:cubicBezTo>
                    <a:pt x="126" y="141"/>
                    <a:pt x="135" y="145"/>
                    <a:pt x="142" y="152"/>
                  </a:cubicBezTo>
                  <a:cubicBezTo>
                    <a:pt x="150" y="158"/>
                    <a:pt x="155" y="165"/>
                    <a:pt x="159" y="174"/>
                  </a:cubicBezTo>
                  <a:cubicBezTo>
                    <a:pt x="162" y="183"/>
                    <a:pt x="164" y="194"/>
                    <a:pt x="164" y="206"/>
                  </a:cubicBezTo>
                  <a:close/>
                  <a:moveTo>
                    <a:pt x="365" y="268"/>
                  </a:moveTo>
                  <a:cubicBezTo>
                    <a:pt x="365" y="271"/>
                    <a:pt x="365" y="274"/>
                    <a:pt x="364" y="277"/>
                  </a:cubicBezTo>
                  <a:cubicBezTo>
                    <a:pt x="364" y="279"/>
                    <a:pt x="363" y="282"/>
                    <a:pt x="363" y="283"/>
                  </a:cubicBezTo>
                  <a:cubicBezTo>
                    <a:pt x="362" y="284"/>
                    <a:pt x="361" y="286"/>
                    <a:pt x="360" y="286"/>
                  </a:cubicBezTo>
                  <a:cubicBezTo>
                    <a:pt x="359" y="287"/>
                    <a:pt x="358" y="287"/>
                    <a:pt x="357" y="287"/>
                  </a:cubicBezTo>
                  <a:lnTo>
                    <a:pt x="219" y="287"/>
                  </a:lnTo>
                  <a:cubicBezTo>
                    <a:pt x="218" y="287"/>
                    <a:pt x="217" y="287"/>
                    <a:pt x="216" y="286"/>
                  </a:cubicBezTo>
                  <a:cubicBezTo>
                    <a:pt x="215" y="286"/>
                    <a:pt x="215" y="284"/>
                    <a:pt x="214" y="283"/>
                  </a:cubicBezTo>
                  <a:cubicBezTo>
                    <a:pt x="213" y="282"/>
                    <a:pt x="213" y="279"/>
                    <a:pt x="212" y="277"/>
                  </a:cubicBezTo>
                  <a:cubicBezTo>
                    <a:pt x="212" y="274"/>
                    <a:pt x="212" y="271"/>
                    <a:pt x="212" y="268"/>
                  </a:cubicBezTo>
                  <a:cubicBezTo>
                    <a:pt x="212" y="264"/>
                    <a:pt x="212" y="261"/>
                    <a:pt x="212" y="258"/>
                  </a:cubicBezTo>
                  <a:cubicBezTo>
                    <a:pt x="212" y="256"/>
                    <a:pt x="213" y="254"/>
                    <a:pt x="214" y="252"/>
                  </a:cubicBezTo>
                  <a:cubicBezTo>
                    <a:pt x="214" y="251"/>
                    <a:pt x="215" y="250"/>
                    <a:pt x="216" y="249"/>
                  </a:cubicBezTo>
                  <a:cubicBezTo>
                    <a:pt x="217" y="248"/>
                    <a:pt x="218" y="248"/>
                    <a:pt x="219" y="248"/>
                  </a:cubicBezTo>
                  <a:lnTo>
                    <a:pt x="266" y="248"/>
                  </a:lnTo>
                  <a:lnTo>
                    <a:pt x="266" y="85"/>
                  </a:lnTo>
                  <a:lnTo>
                    <a:pt x="226" y="107"/>
                  </a:lnTo>
                  <a:cubicBezTo>
                    <a:pt x="223" y="109"/>
                    <a:pt x="220" y="110"/>
                    <a:pt x="218" y="110"/>
                  </a:cubicBezTo>
                  <a:cubicBezTo>
                    <a:pt x="216" y="110"/>
                    <a:pt x="215" y="110"/>
                    <a:pt x="214" y="109"/>
                  </a:cubicBezTo>
                  <a:cubicBezTo>
                    <a:pt x="213" y="108"/>
                    <a:pt x="212" y="106"/>
                    <a:pt x="212" y="103"/>
                  </a:cubicBezTo>
                  <a:cubicBezTo>
                    <a:pt x="211" y="100"/>
                    <a:pt x="211" y="97"/>
                    <a:pt x="211" y="92"/>
                  </a:cubicBezTo>
                  <a:cubicBezTo>
                    <a:pt x="211" y="89"/>
                    <a:pt x="211" y="86"/>
                    <a:pt x="211" y="84"/>
                  </a:cubicBezTo>
                  <a:cubicBezTo>
                    <a:pt x="211" y="82"/>
                    <a:pt x="212" y="80"/>
                    <a:pt x="212" y="79"/>
                  </a:cubicBezTo>
                  <a:cubicBezTo>
                    <a:pt x="213" y="78"/>
                    <a:pt x="213" y="76"/>
                    <a:pt x="214" y="76"/>
                  </a:cubicBezTo>
                  <a:cubicBezTo>
                    <a:pt x="215" y="75"/>
                    <a:pt x="216" y="74"/>
                    <a:pt x="218" y="73"/>
                  </a:cubicBezTo>
                  <a:lnTo>
                    <a:pt x="272" y="38"/>
                  </a:lnTo>
                  <a:cubicBezTo>
                    <a:pt x="272" y="37"/>
                    <a:pt x="273" y="37"/>
                    <a:pt x="274" y="37"/>
                  </a:cubicBezTo>
                  <a:cubicBezTo>
                    <a:pt x="275" y="36"/>
                    <a:pt x="276" y="36"/>
                    <a:pt x="278" y="36"/>
                  </a:cubicBezTo>
                  <a:cubicBezTo>
                    <a:pt x="279" y="36"/>
                    <a:pt x="281" y="35"/>
                    <a:pt x="284" y="35"/>
                  </a:cubicBezTo>
                  <a:cubicBezTo>
                    <a:pt x="287" y="35"/>
                    <a:pt x="290" y="35"/>
                    <a:pt x="294" y="35"/>
                  </a:cubicBezTo>
                  <a:cubicBezTo>
                    <a:pt x="299" y="35"/>
                    <a:pt x="303" y="35"/>
                    <a:pt x="306" y="36"/>
                  </a:cubicBezTo>
                  <a:cubicBezTo>
                    <a:pt x="309" y="36"/>
                    <a:pt x="311" y="36"/>
                    <a:pt x="313" y="37"/>
                  </a:cubicBezTo>
                  <a:cubicBezTo>
                    <a:pt x="314" y="37"/>
                    <a:pt x="315" y="38"/>
                    <a:pt x="316" y="38"/>
                  </a:cubicBezTo>
                  <a:cubicBezTo>
                    <a:pt x="316" y="39"/>
                    <a:pt x="316" y="40"/>
                    <a:pt x="316" y="41"/>
                  </a:cubicBezTo>
                  <a:lnTo>
                    <a:pt x="316" y="248"/>
                  </a:lnTo>
                  <a:lnTo>
                    <a:pt x="357" y="248"/>
                  </a:lnTo>
                  <a:cubicBezTo>
                    <a:pt x="358" y="248"/>
                    <a:pt x="359" y="248"/>
                    <a:pt x="360" y="249"/>
                  </a:cubicBezTo>
                  <a:cubicBezTo>
                    <a:pt x="361" y="250"/>
                    <a:pt x="362" y="251"/>
                    <a:pt x="363" y="252"/>
                  </a:cubicBezTo>
                  <a:cubicBezTo>
                    <a:pt x="364" y="254"/>
                    <a:pt x="364" y="256"/>
                    <a:pt x="364" y="258"/>
                  </a:cubicBezTo>
                  <a:cubicBezTo>
                    <a:pt x="365" y="261"/>
                    <a:pt x="365" y="264"/>
                    <a:pt x="365" y="268"/>
                  </a:cubicBezTo>
                  <a:close/>
                  <a:moveTo>
                    <a:pt x="568" y="266"/>
                  </a:moveTo>
                  <a:cubicBezTo>
                    <a:pt x="568" y="270"/>
                    <a:pt x="568" y="273"/>
                    <a:pt x="567" y="276"/>
                  </a:cubicBezTo>
                  <a:cubicBezTo>
                    <a:pt x="567" y="279"/>
                    <a:pt x="566" y="281"/>
                    <a:pt x="566" y="282"/>
                  </a:cubicBezTo>
                  <a:cubicBezTo>
                    <a:pt x="565" y="284"/>
                    <a:pt x="564" y="285"/>
                    <a:pt x="563" y="286"/>
                  </a:cubicBezTo>
                  <a:cubicBezTo>
                    <a:pt x="562" y="287"/>
                    <a:pt x="561" y="287"/>
                    <a:pt x="560" y="287"/>
                  </a:cubicBezTo>
                  <a:lnTo>
                    <a:pt x="416" y="287"/>
                  </a:lnTo>
                  <a:cubicBezTo>
                    <a:pt x="413" y="287"/>
                    <a:pt x="411" y="287"/>
                    <a:pt x="409" y="286"/>
                  </a:cubicBezTo>
                  <a:cubicBezTo>
                    <a:pt x="407" y="286"/>
                    <a:pt x="405" y="285"/>
                    <a:pt x="404" y="283"/>
                  </a:cubicBezTo>
                  <a:cubicBezTo>
                    <a:pt x="402" y="282"/>
                    <a:pt x="401" y="280"/>
                    <a:pt x="401" y="277"/>
                  </a:cubicBezTo>
                  <a:cubicBezTo>
                    <a:pt x="400" y="274"/>
                    <a:pt x="400" y="270"/>
                    <a:pt x="400" y="266"/>
                  </a:cubicBezTo>
                  <a:cubicBezTo>
                    <a:pt x="400" y="262"/>
                    <a:pt x="400" y="258"/>
                    <a:pt x="401" y="255"/>
                  </a:cubicBezTo>
                  <a:cubicBezTo>
                    <a:pt x="401" y="252"/>
                    <a:pt x="402" y="249"/>
                    <a:pt x="403" y="247"/>
                  </a:cubicBezTo>
                  <a:cubicBezTo>
                    <a:pt x="404" y="244"/>
                    <a:pt x="405" y="242"/>
                    <a:pt x="407" y="240"/>
                  </a:cubicBezTo>
                  <a:cubicBezTo>
                    <a:pt x="408" y="238"/>
                    <a:pt x="410" y="235"/>
                    <a:pt x="413" y="232"/>
                  </a:cubicBezTo>
                  <a:lnTo>
                    <a:pt x="456" y="186"/>
                  </a:lnTo>
                  <a:cubicBezTo>
                    <a:pt x="465" y="177"/>
                    <a:pt x="472" y="169"/>
                    <a:pt x="477" y="161"/>
                  </a:cubicBezTo>
                  <a:cubicBezTo>
                    <a:pt x="482" y="154"/>
                    <a:pt x="487" y="147"/>
                    <a:pt x="489" y="141"/>
                  </a:cubicBezTo>
                  <a:cubicBezTo>
                    <a:pt x="492" y="135"/>
                    <a:pt x="494" y="129"/>
                    <a:pt x="496" y="124"/>
                  </a:cubicBezTo>
                  <a:cubicBezTo>
                    <a:pt x="497" y="119"/>
                    <a:pt x="497" y="114"/>
                    <a:pt x="497" y="110"/>
                  </a:cubicBezTo>
                  <a:cubicBezTo>
                    <a:pt x="497" y="105"/>
                    <a:pt x="497" y="101"/>
                    <a:pt x="495" y="97"/>
                  </a:cubicBezTo>
                  <a:cubicBezTo>
                    <a:pt x="494" y="94"/>
                    <a:pt x="492" y="90"/>
                    <a:pt x="489" y="88"/>
                  </a:cubicBezTo>
                  <a:cubicBezTo>
                    <a:pt x="487" y="85"/>
                    <a:pt x="483" y="82"/>
                    <a:pt x="479" y="81"/>
                  </a:cubicBezTo>
                  <a:cubicBezTo>
                    <a:pt x="475" y="79"/>
                    <a:pt x="471" y="78"/>
                    <a:pt x="465" y="78"/>
                  </a:cubicBezTo>
                  <a:cubicBezTo>
                    <a:pt x="458" y="78"/>
                    <a:pt x="451" y="79"/>
                    <a:pt x="445" y="81"/>
                  </a:cubicBezTo>
                  <a:cubicBezTo>
                    <a:pt x="439" y="83"/>
                    <a:pt x="434" y="85"/>
                    <a:pt x="430" y="88"/>
                  </a:cubicBezTo>
                  <a:cubicBezTo>
                    <a:pt x="425" y="90"/>
                    <a:pt x="421" y="92"/>
                    <a:pt x="418" y="94"/>
                  </a:cubicBezTo>
                  <a:cubicBezTo>
                    <a:pt x="415" y="96"/>
                    <a:pt x="413" y="97"/>
                    <a:pt x="411" y="97"/>
                  </a:cubicBezTo>
                  <a:cubicBezTo>
                    <a:pt x="410" y="97"/>
                    <a:pt x="409" y="97"/>
                    <a:pt x="408" y="96"/>
                  </a:cubicBezTo>
                  <a:cubicBezTo>
                    <a:pt x="408" y="95"/>
                    <a:pt x="407" y="94"/>
                    <a:pt x="406" y="92"/>
                  </a:cubicBezTo>
                  <a:cubicBezTo>
                    <a:pt x="406" y="91"/>
                    <a:pt x="405" y="88"/>
                    <a:pt x="405" y="85"/>
                  </a:cubicBezTo>
                  <a:cubicBezTo>
                    <a:pt x="405" y="82"/>
                    <a:pt x="405" y="78"/>
                    <a:pt x="405" y="74"/>
                  </a:cubicBezTo>
                  <a:cubicBezTo>
                    <a:pt x="405" y="71"/>
                    <a:pt x="405" y="69"/>
                    <a:pt x="405" y="67"/>
                  </a:cubicBezTo>
                  <a:cubicBezTo>
                    <a:pt x="405" y="65"/>
                    <a:pt x="405" y="63"/>
                    <a:pt x="406" y="61"/>
                  </a:cubicBezTo>
                  <a:cubicBezTo>
                    <a:pt x="406" y="60"/>
                    <a:pt x="407" y="59"/>
                    <a:pt x="407" y="57"/>
                  </a:cubicBezTo>
                  <a:cubicBezTo>
                    <a:pt x="408" y="56"/>
                    <a:pt x="409" y="55"/>
                    <a:pt x="411" y="54"/>
                  </a:cubicBezTo>
                  <a:cubicBezTo>
                    <a:pt x="412" y="52"/>
                    <a:pt x="415" y="50"/>
                    <a:pt x="420" y="48"/>
                  </a:cubicBezTo>
                  <a:cubicBezTo>
                    <a:pt x="424" y="45"/>
                    <a:pt x="429" y="43"/>
                    <a:pt x="436" y="41"/>
                  </a:cubicBezTo>
                  <a:cubicBezTo>
                    <a:pt x="442" y="38"/>
                    <a:pt x="449" y="36"/>
                    <a:pt x="456" y="35"/>
                  </a:cubicBezTo>
                  <a:cubicBezTo>
                    <a:pt x="464" y="33"/>
                    <a:pt x="472" y="33"/>
                    <a:pt x="480" y="33"/>
                  </a:cubicBezTo>
                  <a:cubicBezTo>
                    <a:pt x="493" y="33"/>
                    <a:pt x="505" y="34"/>
                    <a:pt x="514" y="38"/>
                  </a:cubicBezTo>
                  <a:cubicBezTo>
                    <a:pt x="524" y="41"/>
                    <a:pt x="532" y="45"/>
                    <a:pt x="539" y="51"/>
                  </a:cubicBezTo>
                  <a:cubicBezTo>
                    <a:pt x="545" y="57"/>
                    <a:pt x="550" y="64"/>
                    <a:pt x="553" y="72"/>
                  </a:cubicBezTo>
                  <a:cubicBezTo>
                    <a:pt x="556" y="80"/>
                    <a:pt x="558" y="89"/>
                    <a:pt x="558" y="98"/>
                  </a:cubicBezTo>
                  <a:cubicBezTo>
                    <a:pt x="558" y="106"/>
                    <a:pt x="557" y="114"/>
                    <a:pt x="555" y="122"/>
                  </a:cubicBezTo>
                  <a:cubicBezTo>
                    <a:pt x="554" y="130"/>
                    <a:pt x="551" y="138"/>
                    <a:pt x="546" y="147"/>
                  </a:cubicBezTo>
                  <a:cubicBezTo>
                    <a:pt x="541" y="157"/>
                    <a:pt x="534" y="167"/>
                    <a:pt x="525" y="178"/>
                  </a:cubicBezTo>
                  <a:cubicBezTo>
                    <a:pt x="516" y="189"/>
                    <a:pt x="504" y="201"/>
                    <a:pt x="490" y="216"/>
                  </a:cubicBezTo>
                  <a:lnTo>
                    <a:pt x="461" y="246"/>
                  </a:lnTo>
                  <a:lnTo>
                    <a:pt x="559" y="246"/>
                  </a:lnTo>
                  <a:cubicBezTo>
                    <a:pt x="560" y="246"/>
                    <a:pt x="562" y="246"/>
                    <a:pt x="563" y="247"/>
                  </a:cubicBezTo>
                  <a:cubicBezTo>
                    <a:pt x="564" y="248"/>
                    <a:pt x="565" y="249"/>
                    <a:pt x="565" y="251"/>
                  </a:cubicBezTo>
                  <a:cubicBezTo>
                    <a:pt x="566" y="252"/>
                    <a:pt x="567" y="254"/>
                    <a:pt x="567" y="257"/>
                  </a:cubicBezTo>
                  <a:cubicBezTo>
                    <a:pt x="568" y="260"/>
                    <a:pt x="568" y="263"/>
                    <a:pt x="568" y="266"/>
                  </a:cubicBezTo>
                  <a:close/>
                  <a:moveTo>
                    <a:pt x="632" y="337"/>
                  </a:moveTo>
                  <a:cubicBezTo>
                    <a:pt x="632" y="339"/>
                    <a:pt x="631" y="340"/>
                    <a:pt x="630" y="341"/>
                  </a:cubicBezTo>
                  <a:cubicBezTo>
                    <a:pt x="629" y="342"/>
                    <a:pt x="627" y="343"/>
                    <a:pt x="625" y="344"/>
                  </a:cubicBezTo>
                  <a:cubicBezTo>
                    <a:pt x="624" y="344"/>
                    <a:pt x="621" y="345"/>
                    <a:pt x="618" y="345"/>
                  </a:cubicBezTo>
                  <a:cubicBezTo>
                    <a:pt x="616" y="345"/>
                    <a:pt x="612" y="346"/>
                    <a:pt x="608" y="346"/>
                  </a:cubicBezTo>
                  <a:cubicBezTo>
                    <a:pt x="603" y="346"/>
                    <a:pt x="598" y="345"/>
                    <a:pt x="595" y="345"/>
                  </a:cubicBezTo>
                  <a:cubicBezTo>
                    <a:pt x="592" y="344"/>
                    <a:pt x="589" y="344"/>
                    <a:pt x="587" y="343"/>
                  </a:cubicBezTo>
                  <a:cubicBezTo>
                    <a:pt x="586" y="342"/>
                    <a:pt x="585" y="340"/>
                    <a:pt x="584" y="339"/>
                  </a:cubicBezTo>
                  <a:cubicBezTo>
                    <a:pt x="584" y="337"/>
                    <a:pt x="584" y="335"/>
                    <a:pt x="585" y="333"/>
                  </a:cubicBezTo>
                  <a:lnTo>
                    <a:pt x="701" y="8"/>
                  </a:lnTo>
                  <a:cubicBezTo>
                    <a:pt x="701" y="7"/>
                    <a:pt x="702" y="5"/>
                    <a:pt x="703" y="4"/>
                  </a:cubicBezTo>
                  <a:cubicBezTo>
                    <a:pt x="704" y="3"/>
                    <a:pt x="705" y="2"/>
                    <a:pt x="707" y="2"/>
                  </a:cubicBezTo>
                  <a:cubicBezTo>
                    <a:pt x="709" y="1"/>
                    <a:pt x="711" y="1"/>
                    <a:pt x="714" y="0"/>
                  </a:cubicBezTo>
                  <a:cubicBezTo>
                    <a:pt x="717" y="0"/>
                    <a:pt x="721" y="0"/>
                    <a:pt x="725" y="0"/>
                  </a:cubicBezTo>
                  <a:cubicBezTo>
                    <a:pt x="730" y="0"/>
                    <a:pt x="735" y="0"/>
                    <a:pt x="738" y="1"/>
                  </a:cubicBezTo>
                  <a:cubicBezTo>
                    <a:pt x="741" y="1"/>
                    <a:pt x="744" y="2"/>
                    <a:pt x="745" y="3"/>
                  </a:cubicBezTo>
                  <a:cubicBezTo>
                    <a:pt x="747" y="4"/>
                    <a:pt x="748" y="5"/>
                    <a:pt x="748" y="7"/>
                  </a:cubicBezTo>
                  <a:cubicBezTo>
                    <a:pt x="748" y="8"/>
                    <a:pt x="748" y="10"/>
                    <a:pt x="748" y="13"/>
                  </a:cubicBezTo>
                  <a:lnTo>
                    <a:pt x="632" y="337"/>
                  </a:lnTo>
                  <a:close/>
                  <a:moveTo>
                    <a:pt x="946" y="215"/>
                  </a:moveTo>
                  <a:cubicBezTo>
                    <a:pt x="946" y="222"/>
                    <a:pt x="945" y="227"/>
                    <a:pt x="944" y="230"/>
                  </a:cubicBezTo>
                  <a:cubicBezTo>
                    <a:pt x="943" y="234"/>
                    <a:pt x="941" y="235"/>
                    <a:pt x="939" y="235"/>
                  </a:cubicBezTo>
                  <a:lnTo>
                    <a:pt x="916" y="235"/>
                  </a:lnTo>
                  <a:lnTo>
                    <a:pt x="916" y="281"/>
                  </a:lnTo>
                  <a:cubicBezTo>
                    <a:pt x="916" y="282"/>
                    <a:pt x="916" y="283"/>
                    <a:pt x="915" y="284"/>
                  </a:cubicBezTo>
                  <a:cubicBezTo>
                    <a:pt x="914" y="285"/>
                    <a:pt x="913" y="286"/>
                    <a:pt x="911" y="286"/>
                  </a:cubicBezTo>
                  <a:cubicBezTo>
                    <a:pt x="909" y="287"/>
                    <a:pt x="907" y="287"/>
                    <a:pt x="904" y="288"/>
                  </a:cubicBezTo>
                  <a:cubicBezTo>
                    <a:pt x="901" y="288"/>
                    <a:pt x="896" y="288"/>
                    <a:pt x="892" y="288"/>
                  </a:cubicBezTo>
                  <a:cubicBezTo>
                    <a:pt x="887" y="288"/>
                    <a:pt x="883" y="288"/>
                    <a:pt x="880" y="288"/>
                  </a:cubicBezTo>
                  <a:cubicBezTo>
                    <a:pt x="877" y="287"/>
                    <a:pt x="874" y="287"/>
                    <a:pt x="872" y="286"/>
                  </a:cubicBezTo>
                  <a:cubicBezTo>
                    <a:pt x="870" y="286"/>
                    <a:pt x="869" y="285"/>
                    <a:pt x="869" y="284"/>
                  </a:cubicBezTo>
                  <a:cubicBezTo>
                    <a:pt x="868" y="283"/>
                    <a:pt x="867" y="282"/>
                    <a:pt x="867" y="281"/>
                  </a:cubicBezTo>
                  <a:lnTo>
                    <a:pt x="867" y="235"/>
                  </a:lnTo>
                  <a:lnTo>
                    <a:pt x="772" y="235"/>
                  </a:lnTo>
                  <a:cubicBezTo>
                    <a:pt x="770" y="235"/>
                    <a:pt x="768" y="235"/>
                    <a:pt x="767" y="235"/>
                  </a:cubicBezTo>
                  <a:cubicBezTo>
                    <a:pt x="766" y="234"/>
                    <a:pt x="764" y="233"/>
                    <a:pt x="763" y="232"/>
                  </a:cubicBezTo>
                  <a:cubicBezTo>
                    <a:pt x="762" y="230"/>
                    <a:pt x="762" y="228"/>
                    <a:pt x="761" y="225"/>
                  </a:cubicBezTo>
                  <a:cubicBezTo>
                    <a:pt x="761" y="222"/>
                    <a:pt x="761" y="218"/>
                    <a:pt x="761" y="213"/>
                  </a:cubicBezTo>
                  <a:cubicBezTo>
                    <a:pt x="761" y="208"/>
                    <a:pt x="761" y="205"/>
                    <a:pt x="761" y="202"/>
                  </a:cubicBezTo>
                  <a:cubicBezTo>
                    <a:pt x="761" y="199"/>
                    <a:pt x="761" y="196"/>
                    <a:pt x="762" y="194"/>
                  </a:cubicBezTo>
                  <a:cubicBezTo>
                    <a:pt x="762" y="191"/>
                    <a:pt x="763" y="189"/>
                    <a:pt x="764" y="187"/>
                  </a:cubicBezTo>
                  <a:cubicBezTo>
                    <a:pt x="765" y="184"/>
                    <a:pt x="766" y="182"/>
                    <a:pt x="767" y="180"/>
                  </a:cubicBezTo>
                  <a:lnTo>
                    <a:pt x="845" y="43"/>
                  </a:lnTo>
                  <a:cubicBezTo>
                    <a:pt x="845" y="41"/>
                    <a:pt x="846" y="40"/>
                    <a:pt x="848" y="40"/>
                  </a:cubicBezTo>
                  <a:cubicBezTo>
                    <a:pt x="849" y="39"/>
                    <a:pt x="852" y="38"/>
                    <a:pt x="854" y="38"/>
                  </a:cubicBezTo>
                  <a:cubicBezTo>
                    <a:pt x="857" y="37"/>
                    <a:pt x="861" y="37"/>
                    <a:pt x="865" y="36"/>
                  </a:cubicBezTo>
                  <a:cubicBezTo>
                    <a:pt x="869" y="36"/>
                    <a:pt x="874" y="36"/>
                    <a:pt x="880" y="36"/>
                  </a:cubicBezTo>
                  <a:cubicBezTo>
                    <a:pt x="887" y="36"/>
                    <a:pt x="893" y="36"/>
                    <a:pt x="897" y="36"/>
                  </a:cubicBezTo>
                  <a:cubicBezTo>
                    <a:pt x="902" y="37"/>
                    <a:pt x="906" y="37"/>
                    <a:pt x="908" y="38"/>
                  </a:cubicBezTo>
                  <a:cubicBezTo>
                    <a:pt x="911" y="39"/>
                    <a:pt x="913" y="40"/>
                    <a:pt x="914" y="41"/>
                  </a:cubicBezTo>
                  <a:cubicBezTo>
                    <a:pt x="916" y="42"/>
                    <a:pt x="916" y="43"/>
                    <a:pt x="916" y="44"/>
                  </a:cubicBezTo>
                  <a:lnTo>
                    <a:pt x="916" y="195"/>
                  </a:lnTo>
                  <a:lnTo>
                    <a:pt x="939" y="195"/>
                  </a:lnTo>
                  <a:cubicBezTo>
                    <a:pt x="941" y="195"/>
                    <a:pt x="942" y="196"/>
                    <a:pt x="944" y="199"/>
                  </a:cubicBezTo>
                  <a:cubicBezTo>
                    <a:pt x="945" y="203"/>
                    <a:pt x="946" y="208"/>
                    <a:pt x="946" y="215"/>
                  </a:cubicBezTo>
                  <a:close/>
                  <a:moveTo>
                    <a:pt x="867" y="80"/>
                  </a:moveTo>
                  <a:lnTo>
                    <a:pt x="867" y="80"/>
                  </a:lnTo>
                  <a:lnTo>
                    <a:pt x="801" y="195"/>
                  </a:lnTo>
                  <a:lnTo>
                    <a:pt x="867" y="195"/>
                  </a:lnTo>
                  <a:lnTo>
                    <a:pt x="867" y="80"/>
                  </a:ln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grpSp>
          <p:nvGrpSpPr>
            <p:cNvPr id="3459" name="Group 1411"/>
            <p:cNvGrpSpPr>
              <a:grpSpLocks/>
            </p:cNvGrpSpPr>
            <p:nvPr/>
          </p:nvGrpSpPr>
          <p:grpSpPr bwMode="auto">
            <a:xfrm>
              <a:off x="1495499" y="1234346"/>
              <a:ext cx="9991596" cy="4265604"/>
              <a:chOff x="1649" y="1112"/>
              <a:chExt cx="5015" cy="2141"/>
            </a:xfrm>
          </p:grpSpPr>
          <p:sp>
            <p:nvSpPr>
              <p:cNvPr id="3259" name="Freeform 1211"/>
              <p:cNvSpPr>
                <a:spLocks noEditPoints="1"/>
              </p:cNvSpPr>
              <p:nvPr/>
            </p:nvSpPr>
            <p:spPr bwMode="auto">
              <a:xfrm>
                <a:off x="6085" y="1826"/>
                <a:ext cx="263" cy="79"/>
              </a:xfrm>
              <a:custGeom>
                <a:avLst/>
                <a:gdLst/>
                <a:ahLst/>
                <a:cxnLst>
                  <a:cxn ang="0">
                    <a:pos x="156" y="281"/>
                  </a:cxn>
                  <a:cxn ang="0">
                    <a:pos x="120" y="288"/>
                  </a:cxn>
                  <a:cxn ang="0">
                    <a:pos x="12" y="236"/>
                  </a:cxn>
                  <a:cxn ang="0">
                    <a:pos x="1" y="202"/>
                  </a:cxn>
                  <a:cxn ang="0">
                    <a:pos x="88" y="40"/>
                  </a:cxn>
                  <a:cxn ang="0">
                    <a:pos x="148" y="38"/>
                  </a:cxn>
                  <a:cxn ang="0">
                    <a:pos x="184" y="200"/>
                  </a:cxn>
                  <a:cxn ang="0">
                    <a:pos x="107" y="195"/>
                  </a:cxn>
                  <a:cxn ang="0">
                    <a:pos x="375" y="83"/>
                  </a:cxn>
                  <a:cxn ang="0">
                    <a:pos x="274" y="288"/>
                  </a:cxn>
                  <a:cxn ang="0">
                    <a:pos x="234" y="277"/>
                  </a:cxn>
                  <a:cxn ang="0">
                    <a:pos x="210" y="49"/>
                  </a:cxn>
                  <a:cxn ang="0">
                    <a:pos x="372" y="38"/>
                  </a:cxn>
                  <a:cxn ang="0">
                    <a:pos x="571" y="247"/>
                  </a:cxn>
                  <a:cxn ang="0">
                    <a:pos x="438" y="285"/>
                  </a:cxn>
                  <a:cxn ang="0">
                    <a:pos x="411" y="261"/>
                  </a:cxn>
                  <a:cxn ang="0">
                    <a:pos x="436" y="243"/>
                  </a:cxn>
                  <a:cxn ang="0">
                    <a:pos x="517" y="231"/>
                  </a:cxn>
                  <a:cxn ang="0">
                    <a:pos x="465" y="178"/>
                  </a:cxn>
                  <a:cxn ang="0">
                    <a:pos x="435" y="159"/>
                  </a:cxn>
                  <a:cxn ang="0">
                    <a:pos x="465" y="141"/>
                  </a:cxn>
                  <a:cxn ang="0">
                    <a:pos x="509" y="92"/>
                  </a:cxn>
                  <a:cxn ang="0">
                    <a:pos x="442" y="83"/>
                  </a:cxn>
                  <a:cxn ang="0">
                    <a:pos x="417" y="84"/>
                  </a:cxn>
                  <a:cxn ang="0">
                    <a:pos x="422" y="54"/>
                  </a:cxn>
                  <a:cxn ang="0">
                    <a:pos x="524" y="37"/>
                  </a:cxn>
                  <a:cxn ang="0">
                    <a:pos x="555" y="134"/>
                  </a:cxn>
                  <a:cxn ang="0">
                    <a:pos x="563" y="176"/>
                  </a:cxn>
                  <a:cxn ang="0">
                    <a:pos x="637" y="344"/>
                  </a:cxn>
                  <a:cxn ang="0">
                    <a:pos x="596" y="339"/>
                  </a:cxn>
                  <a:cxn ang="0">
                    <a:pos x="726" y="1"/>
                  </a:cxn>
                  <a:cxn ang="0">
                    <a:pos x="759" y="13"/>
                  </a:cxn>
                  <a:cxn ang="0">
                    <a:pos x="891" y="287"/>
                  </a:cxn>
                  <a:cxn ang="0">
                    <a:pos x="787" y="275"/>
                  </a:cxn>
                  <a:cxn ang="0">
                    <a:pos x="783" y="238"/>
                  </a:cxn>
                  <a:cxn ang="0">
                    <a:pos x="846" y="251"/>
                  </a:cxn>
                  <a:cxn ang="0">
                    <a:pos x="887" y="201"/>
                  </a:cxn>
                  <a:cxn ang="0">
                    <a:pos x="810" y="178"/>
                  </a:cxn>
                  <a:cxn ang="0">
                    <a:pos x="807" y="145"/>
                  </a:cxn>
                  <a:cxn ang="0">
                    <a:pos x="870" y="131"/>
                  </a:cxn>
                  <a:cxn ang="0">
                    <a:pos x="863" y="76"/>
                  </a:cxn>
                  <a:cxn ang="0">
                    <a:pos x="794" y="93"/>
                  </a:cxn>
                  <a:cxn ang="0">
                    <a:pos x="788" y="66"/>
                  </a:cxn>
                  <a:cxn ang="0">
                    <a:pos x="816" y="41"/>
                  </a:cxn>
                  <a:cxn ang="0">
                    <a:pos x="933" y="69"/>
                  </a:cxn>
                  <a:cxn ang="0">
                    <a:pos x="893" y="156"/>
                  </a:cxn>
                  <a:cxn ang="0">
                    <a:pos x="949" y="214"/>
                  </a:cxn>
                  <a:cxn ang="0">
                    <a:pos x="1140" y="287"/>
                  </a:cxn>
                  <a:cxn ang="0">
                    <a:pos x="995" y="268"/>
                  </a:cxn>
                  <a:cxn ang="0">
                    <a:pos x="1049" y="248"/>
                  </a:cxn>
                  <a:cxn ang="0">
                    <a:pos x="995" y="103"/>
                  </a:cxn>
                  <a:cxn ang="0">
                    <a:pos x="1001" y="73"/>
                  </a:cxn>
                  <a:cxn ang="0">
                    <a:pos x="1077" y="36"/>
                  </a:cxn>
                  <a:cxn ang="0">
                    <a:pos x="1100" y="248"/>
                  </a:cxn>
                  <a:cxn ang="0">
                    <a:pos x="1148" y="268"/>
                  </a:cxn>
                </a:cxnLst>
                <a:rect l="0" t="0" r="r" b="b"/>
                <a:pathLst>
                  <a:path w="1148" h="346">
                    <a:moveTo>
                      <a:pt x="186" y="216"/>
                    </a:moveTo>
                    <a:cubicBezTo>
                      <a:pt x="186" y="222"/>
                      <a:pt x="185" y="227"/>
                      <a:pt x="184" y="230"/>
                    </a:cubicBezTo>
                    <a:cubicBezTo>
                      <a:pt x="183" y="234"/>
                      <a:pt x="181" y="236"/>
                      <a:pt x="178" y="236"/>
                    </a:cubicBezTo>
                    <a:lnTo>
                      <a:pt x="156" y="236"/>
                    </a:lnTo>
                    <a:lnTo>
                      <a:pt x="156" y="281"/>
                    </a:lnTo>
                    <a:cubicBezTo>
                      <a:pt x="156" y="282"/>
                      <a:pt x="156" y="283"/>
                      <a:pt x="155" y="284"/>
                    </a:cubicBezTo>
                    <a:cubicBezTo>
                      <a:pt x="154" y="285"/>
                      <a:pt x="153" y="286"/>
                      <a:pt x="151" y="287"/>
                    </a:cubicBezTo>
                    <a:cubicBezTo>
                      <a:pt x="149" y="287"/>
                      <a:pt x="147" y="288"/>
                      <a:pt x="143" y="288"/>
                    </a:cubicBezTo>
                    <a:cubicBezTo>
                      <a:pt x="140" y="288"/>
                      <a:pt x="136" y="289"/>
                      <a:pt x="132" y="289"/>
                    </a:cubicBezTo>
                    <a:cubicBezTo>
                      <a:pt x="127" y="289"/>
                      <a:pt x="123" y="288"/>
                      <a:pt x="120" y="288"/>
                    </a:cubicBezTo>
                    <a:cubicBezTo>
                      <a:pt x="117" y="288"/>
                      <a:pt x="114" y="287"/>
                      <a:pt x="112" y="287"/>
                    </a:cubicBezTo>
                    <a:cubicBezTo>
                      <a:pt x="110" y="286"/>
                      <a:pt x="109" y="285"/>
                      <a:pt x="108" y="284"/>
                    </a:cubicBezTo>
                    <a:cubicBezTo>
                      <a:pt x="108" y="283"/>
                      <a:pt x="107" y="282"/>
                      <a:pt x="107" y="281"/>
                    </a:cubicBezTo>
                    <a:lnTo>
                      <a:pt x="107" y="236"/>
                    </a:lnTo>
                    <a:lnTo>
                      <a:pt x="12" y="236"/>
                    </a:lnTo>
                    <a:cubicBezTo>
                      <a:pt x="10" y="236"/>
                      <a:pt x="8" y="235"/>
                      <a:pt x="7" y="235"/>
                    </a:cubicBezTo>
                    <a:cubicBezTo>
                      <a:pt x="5" y="234"/>
                      <a:pt x="4" y="233"/>
                      <a:pt x="3" y="232"/>
                    </a:cubicBezTo>
                    <a:cubicBezTo>
                      <a:pt x="2" y="230"/>
                      <a:pt x="2" y="228"/>
                      <a:pt x="1" y="225"/>
                    </a:cubicBezTo>
                    <a:cubicBezTo>
                      <a:pt x="1" y="222"/>
                      <a:pt x="0" y="218"/>
                      <a:pt x="0" y="213"/>
                    </a:cubicBezTo>
                    <a:cubicBezTo>
                      <a:pt x="0" y="209"/>
                      <a:pt x="1" y="205"/>
                      <a:pt x="1" y="202"/>
                    </a:cubicBezTo>
                    <a:cubicBezTo>
                      <a:pt x="1" y="199"/>
                      <a:pt x="1" y="196"/>
                      <a:pt x="2" y="194"/>
                    </a:cubicBezTo>
                    <a:cubicBezTo>
                      <a:pt x="2" y="191"/>
                      <a:pt x="3" y="189"/>
                      <a:pt x="4" y="187"/>
                    </a:cubicBezTo>
                    <a:cubicBezTo>
                      <a:pt x="5" y="185"/>
                      <a:pt x="6" y="182"/>
                      <a:pt x="7" y="180"/>
                    </a:cubicBezTo>
                    <a:lnTo>
                      <a:pt x="85" y="43"/>
                    </a:lnTo>
                    <a:cubicBezTo>
                      <a:pt x="85" y="42"/>
                      <a:pt x="86" y="41"/>
                      <a:pt x="88" y="40"/>
                    </a:cubicBezTo>
                    <a:cubicBezTo>
                      <a:pt x="89" y="39"/>
                      <a:pt x="92" y="38"/>
                      <a:pt x="94" y="38"/>
                    </a:cubicBezTo>
                    <a:cubicBezTo>
                      <a:pt x="97" y="37"/>
                      <a:pt x="101" y="37"/>
                      <a:pt x="105" y="37"/>
                    </a:cubicBezTo>
                    <a:cubicBezTo>
                      <a:pt x="109" y="36"/>
                      <a:pt x="114" y="36"/>
                      <a:pt x="120" y="36"/>
                    </a:cubicBezTo>
                    <a:cubicBezTo>
                      <a:pt x="127" y="36"/>
                      <a:pt x="132" y="36"/>
                      <a:pt x="137" y="37"/>
                    </a:cubicBezTo>
                    <a:cubicBezTo>
                      <a:pt x="142" y="37"/>
                      <a:pt x="145" y="38"/>
                      <a:pt x="148" y="38"/>
                    </a:cubicBezTo>
                    <a:cubicBezTo>
                      <a:pt x="151" y="39"/>
                      <a:pt x="153" y="40"/>
                      <a:pt x="154" y="41"/>
                    </a:cubicBezTo>
                    <a:cubicBezTo>
                      <a:pt x="156" y="42"/>
                      <a:pt x="156" y="43"/>
                      <a:pt x="156" y="44"/>
                    </a:cubicBezTo>
                    <a:lnTo>
                      <a:pt x="156" y="195"/>
                    </a:lnTo>
                    <a:lnTo>
                      <a:pt x="178" y="195"/>
                    </a:lnTo>
                    <a:cubicBezTo>
                      <a:pt x="181" y="195"/>
                      <a:pt x="182" y="197"/>
                      <a:pt x="184" y="200"/>
                    </a:cubicBezTo>
                    <a:cubicBezTo>
                      <a:pt x="185" y="203"/>
                      <a:pt x="186" y="208"/>
                      <a:pt x="186" y="216"/>
                    </a:cubicBezTo>
                    <a:close/>
                    <a:moveTo>
                      <a:pt x="107" y="80"/>
                    </a:moveTo>
                    <a:lnTo>
                      <a:pt x="107" y="80"/>
                    </a:lnTo>
                    <a:lnTo>
                      <a:pt x="41" y="195"/>
                    </a:lnTo>
                    <a:lnTo>
                      <a:pt x="107" y="195"/>
                    </a:lnTo>
                    <a:lnTo>
                      <a:pt x="107" y="80"/>
                    </a:lnTo>
                    <a:close/>
                    <a:moveTo>
                      <a:pt x="379" y="59"/>
                    </a:moveTo>
                    <a:cubicBezTo>
                      <a:pt x="379" y="63"/>
                      <a:pt x="379" y="66"/>
                      <a:pt x="378" y="69"/>
                    </a:cubicBezTo>
                    <a:cubicBezTo>
                      <a:pt x="378" y="71"/>
                      <a:pt x="378" y="74"/>
                      <a:pt x="377" y="76"/>
                    </a:cubicBezTo>
                    <a:cubicBezTo>
                      <a:pt x="377" y="79"/>
                      <a:pt x="376" y="81"/>
                      <a:pt x="375" y="83"/>
                    </a:cubicBezTo>
                    <a:cubicBezTo>
                      <a:pt x="375" y="85"/>
                      <a:pt x="374" y="87"/>
                      <a:pt x="373" y="90"/>
                    </a:cubicBezTo>
                    <a:lnTo>
                      <a:pt x="290" y="281"/>
                    </a:lnTo>
                    <a:cubicBezTo>
                      <a:pt x="290" y="282"/>
                      <a:pt x="289" y="284"/>
                      <a:pt x="287" y="285"/>
                    </a:cubicBezTo>
                    <a:cubicBezTo>
                      <a:pt x="286" y="286"/>
                      <a:pt x="284" y="287"/>
                      <a:pt x="282" y="287"/>
                    </a:cubicBezTo>
                    <a:cubicBezTo>
                      <a:pt x="280" y="288"/>
                      <a:pt x="277" y="288"/>
                      <a:pt x="274" y="288"/>
                    </a:cubicBezTo>
                    <a:cubicBezTo>
                      <a:pt x="270" y="288"/>
                      <a:pt x="266" y="289"/>
                      <a:pt x="261" y="289"/>
                    </a:cubicBezTo>
                    <a:cubicBezTo>
                      <a:pt x="254" y="289"/>
                      <a:pt x="249" y="288"/>
                      <a:pt x="245" y="288"/>
                    </a:cubicBezTo>
                    <a:cubicBezTo>
                      <a:pt x="241" y="287"/>
                      <a:pt x="238" y="287"/>
                      <a:pt x="236" y="286"/>
                    </a:cubicBezTo>
                    <a:cubicBezTo>
                      <a:pt x="234" y="285"/>
                      <a:pt x="233" y="284"/>
                      <a:pt x="233" y="282"/>
                    </a:cubicBezTo>
                    <a:cubicBezTo>
                      <a:pt x="233" y="281"/>
                      <a:pt x="233" y="279"/>
                      <a:pt x="234" y="277"/>
                    </a:cubicBezTo>
                    <a:lnTo>
                      <a:pt x="323" y="81"/>
                    </a:lnTo>
                    <a:lnTo>
                      <a:pt x="218" y="81"/>
                    </a:lnTo>
                    <a:cubicBezTo>
                      <a:pt x="215" y="81"/>
                      <a:pt x="213" y="80"/>
                      <a:pt x="212" y="76"/>
                    </a:cubicBezTo>
                    <a:cubicBezTo>
                      <a:pt x="210" y="73"/>
                      <a:pt x="210" y="67"/>
                      <a:pt x="210" y="59"/>
                    </a:cubicBezTo>
                    <a:cubicBezTo>
                      <a:pt x="210" y="55"/>
                      <a:pt x="210" y="52"/>
                      <a:pt x="210" y="49"/>
                    </a:cubicBezTo>
                    <a:cubicBezTo>
                      <a:pt x="211" y="46"/>
                      <a:pt x="211" y="44"/>
                      <a:pt x="212" y="42"/>
                    </a:cubicBezTo>
                    <a:cubicBezTo>
                      <a:pt x="213" y="41"/>
                      <a:pt x="213" y="39"/>
                      <a:pt x="214" y="39"/>
                    </a:cubicBezTo>
                    <a:cubicBezTo>
                      <a:pt x="215" y="38"/>
                      <a:pt x="217" y="37"/>
                      <a:pt x="218" y="37"/>
                    </a:cubicBezTo>
                    <a:lnTo>
                      <a:pt x="366" y="37"/>
                    </a:lnTo>
                    <a:cubicBezTo>
                      <a:pt x="369" y="37"/>
                      <a:pt x="371" y="38"/>
                      <a:pt x="372" y="38"/>
                    </a:cubicBezTo>
                    <a:cubicBezTo>
                      <a:pt x="374" y="38"/>
                      <a:pt x="375" y="39"/>
                      <a:pt x="376" y="41"/>
                    </a:cubicBezTo>
                    <a:cubicBezTo>
                      <a:pt x="377" y="43"/>
                      <a:pt x="378" y="45"/>
                      <a:pt x="378" y="48"/>
                    </a:cubicBezTo>
                    <a:cubicBezTo>
                      <a:pt x="378" y="50"/>
                      <a:pt x="379" y="54"/>
                      <a:pt x="379" y="59"/>
                    </a:cubicBezTo>
                    <a:close/>
                    <a:moveTo>
                      <a:pt x="578" y="214"/>
                    </a:moveTo>
                    <a:cubicBezTo>
                      <a:pt x="578" y="227"/>
                      <a:pt x="576" y="238"/>
                      <a:pt x="571" y="247"/>
                    </a:cubicBezTo>
                    <a:cubicBezTo>
                      <a:pt x="566" y="257"/>
                      <a:pt x="560" y="265"/>
                      <a:pt x="551" y="272"/>
                    </a:cubicBezTo>
                    <a:cubicBezTo>
                      <a:pt x="543" y="278"/>
                      <a:pt x="533" y="283"/>
                      <a:pt x="521" y="287"/>
                    </a:cubicBezTo>
                    <a:cubicBezTo>
                      <a:pt x="509" y="290"/>
                      <a:pt x="496" y="292"/>
                      <a:pt x="482" y="292"/>
                    </a:cubicBezTo>
                    <a:cubicBezTo>
                      <a:pt x="473" y="292"/>
                      <a:pt x="465" y="291"/>
                      <a:pt x="458" y="290"/>
                    </a:cubicBezTo>
                    <a:cubicBezTo>
                      <a:pt x="450" y="289"/>
                      <a:pt x="444" y="287"/>
                      <a:pt x="438" y="285"/>
                    </a:cubicBezTo>
                    <a:cubicBezTo>
                      <a:pt x="432" y="284"/>
                      <a:pt x="428" y="282"/>
                      <a:pt x="424" y="280"/>
                    </a:cubicBezTo>
                    <a:cubicBezTo>
                      <a:pt x="420" y="278"/>
                      <a:pt x="418" y="276"/>
                      <a:pt x="416" y="275"/>
                    </a:cubicBezTo>
                    <a:cubicBezTo>
                      <a:pt x="415" y="274"/>
                      <a:pt x="414" y="273"/>
                      <a:pt x="414" y="272"/>
                    </a:cubicBezTo>
                    <a:cubicBezTo>
                      <a:pt x="413" y="271"/>
                      <a:pt x="413" y="269"/>
                      <a:pt x="412" y="267"/>
                    </a:cubicBezTo>
                    <a:cubicBezTo>
                      <a:pt x="412" y="266"/>
                      <a:pt x="412" y="263"/>
                      <a:pt x="411" y="261"/>
                    </a:cubicBezTo>
                    <a:cubicBezTo>
                      <a:pt x="411" y="258"/>
                      <a:pt x="411" y="255"/>
                      <a:pt x="411" y="251"/>
                    </a:cubicBezTo>
                    <a:cubicBezTo>
                      <a:pt x="411" y="245"/>
                      <a:pt x="412" y="241"/>
                      <a:pt x="413" y="238"/>
                    </a:cubicBezTo>
                    <a:cubicBezTo>
                      <a:pt x="414" y="236"/>
                      <a:pt x="415" y="235"/>
                      <a:pt x="417" y="235"/>
                    </a:cubicBezTo>
                    <a:cubicBezTo>
                      <a:pt x="419" y="235"/>
                      <a:pt x="421" y="236"/>
                      <a:pt x="424" y="237"/>
                    </a:cubicBezTo>
                    <a:cubicBezTo>
                      <a:pt x="427" y="239"/>
                      <a:pt x="431" y="241"/>
                      <a:pt x="436" y="243"/>
                    </a:cubicBezTo>
                    <a:cubicBezTo>
                      <a:pt x="441" y="245"/>
                      <a:pt x="447" y="247"/>
                      <a:pt x="453" y="249"/>
                    </a:cubicBezTo>
                    <a:cubicBezTo>
                      <a:pt x="460" y="250"/>
                      <a:pt x="467" y="251"/>
                      <a:pt x="476" y="251"/>
                    </a:cubicBezTo>
                    <a:cubicBezTo>
                      <a:pt x="483" y="251"/>
                      <a:pt x="489" y="250"/>
                      <a:pt x="494" y="249"/>
                    </a:cubicBezTo>
                    <a:cubicBezTo>
                      <a:pt x="500" y="247"/>
                      <a:pt x="504" y="245"/>
                      <a:pt x="508" y="242"/>
                    </a:cubicBezTo>
                    <a:cubicBezTo>
                      <a:pt x="512" y="239"/>
                      <a:pt x="515" y="235"/>
                      <a:pt x="517" y="231"/>
                    </a:cubicBezTo>
                    <a:cubicBezTo>
                      <a:pt x="519" y="226"/>
                      <a:pt x="520" y="222"/>
                      <a:pt x="520" y="216"/>
                    </a:cubicBezTo>
                    <a:cubicBezTo>
                      <a:pt x="520" y="210"/>
                      <a:pt x="518" y="205"/>
                      <a:pt x="516" y="201"/>
                    </a:cubicBezTo>
                    <a:cubicBezTo>
                      <a:pt x="514" y="196"/>
                      <a:pt x="510" y="192"/>
                      <a:pt x="506" y="189"/>
                    </a:cubicBezTo>
                    <a:cubicBezTo>
                      <a:pt x="502" y="186"/>
                      <a:pt x="496" y="183"/>
                      <a:pt x="489" y="181"/>
                    </a:cubicBezTo>
                    <a:cubicBezTo>
                      <a:pt x="483" y="179"/>
                      <a:pt x="475" y="178"/>
                      <a:pt x="465" y="178"/>
                    </a:cubicBezTo>
                    <a:lnTo>
                      <a:pt x="444" y="178"/>
                    </a:lnTo>
                    <a:cubicBezTo>
                      <a:pt x="442" y="178"/>
                      <a:pt x="441" y="178"/>
                      <a:pt x="440" y="178"/>
                    </a:cubicBezTo>
                    <a:cubicBezTo>
                      <a:pt x="438" y="177"/>
                      <a:pt x="437" y="176"/>
                      <a:pt x="437" y="175"/>
                    </a:cubicBezTo>
                    <a:cubicBezTo>
                      <a:pt x="436" y="174"/>
                      <a:pt x="435" y="172"/>
                      <a:pt x="435" y="169"/>
                    </a:cubicBezTo>
                    <a:cubicBezTo>
                      <a:pt x="435" y="166"/>
                      <a:pt x="435" y="163"/>
                      <a:pt x="435" y="159"/>
                    </a:cubicBezTo>
                    <a:cubicBezTo>
                      <a:pt x="435" y="156"/>
                      <a:pt x="435" y="153"/>
                      <a:pt x="435" y="150"/>
                    </a:cubicBezTo>
                    <a:cubicBezTo>
                      <a:pt x="435" y="148"/>
                      <a:pt x="436" y="146"/>
                      <a:pt x="436" y="145"/>
                    </a:cubicBezTo>
                    <a:cubicBezTo>
                      <a:pt x="437" y="143"/>
                      <a:pt x="438" y="142"/>
                      <a:pt x="439" y="142"/>
                    </a:cubicBezTo>
                    <a:cubicBezTo>
                      <a:pt x="440" y="141"/>
                      <a:pt x="442" y="141"/>
                      <a:pt x="443" y="141"/>
                    </a:cubicBezTo>
                    <a:lnTo>
                      <a:pt x="465" y="141"/>
                    </a:lnTo>
                    <a:cubicBezTo>
                      <a:pt x="472" y="141"/>
                      <a:pt x="479" y="140"/>
                      <a:pt x="485" y="139"/>
                    </a:cubicBezTo>
                    <a:cubicBezTo>
                      <a:pt x="491" y="137"/>
                      <a:pt x="496" y="134"/>
                      <a:pt x="499" y="131"/>
                    </a:cubicBezTo>
                    <a:cubicBezTo>
                      <a:pt x="503" y="128"/>
                      <a:pt x="506" y="124"/>
                      <a:pt x="509" y="119"/>
                    </a:cubicBezTo>
                    <a:cubicBezTo>
                      <a:pt x="511" y="115"/>
                      <a:pt x="512" y="110"/>
                      <a:pt x="512" y="104"/>
                    </a:cubicBezTo>
                    <a:cubicBezTo>
                      <a:pt x="512" y="100"/>
                      <a:pt x="511" y="96"/>
                      <a:pt x="509" y="92"/>
                    </a:cubicBezTo>
                    <a:cubicBezTo>
                      <a:pt x="508" y="88"/>
                      <a:pt x="506" y="85"/>
                      <a:pt x="503" y="82"/>
                    </a:cubicBezTo>
                    <a:cubicBezTo>
                      <a:pt x="500" y="80"/>
                      <a:pt x="497" y="77"/>
                      <a:pt x="492" y="76"/>
                    </a:cubicBezTo>
                    <a:cubicBezTo>
                      <a:pt x="488" y="74"/>
                      <a:pt x="483" y="73"/>
                      <a:pt x="477" y="73"/>
                    </a:cubicBezTo>
                    <a:cubicBezTo>
                      <a:pt x="470" y="73"/>
                      <a:pt x="464" y="74"/>
                      <a:pt x="458" y="76"/>
                    </a:cubicBezTo>
                    <a:cubicBezTo>
                      <a:pt x="452" y="78"/>
                      <a:pt x="447" y="80"/>
                      <a:pt x="442" y="83"/>
                    </a:cubicBezTo>
                    <a:cubicBezTo>
                      <a:pt x="437" y="85"/>
                      <a:pt x="433" y="87"/>
                      <a:pt x="430" y="90"/>
                    </a:cubicBezTo>
                    <a:cubicBezTo>
                      <a:pt x="427" y="92"/>
                      <a:pt x="424" y="93"/>
                      <a:pt x="423" y="93"/>
                    </a:cubicBezTo>
                    <a:cubicBezTo>
                      <a:pt x="422" y="93"/>
                      <a:pt x="421" y="92"/>
                      <a:pt x="420" y="92"/>
                    </a:cubicBezTo>
                    <a:cubicBezTo>
                      <a:pt x="419" y="92"/>
                      <a:pt x="419" y="91"/>
                      <a:pt x="418" y="89"/>
                    </a:cubicBezTo>
                    <a:cubicBezTo>
                      <a:pt x="418" y="88"/>
                      <a:pt x="417" y="86"/>
                      <a:pt x="417" y="84"/>
                    </a:cubicBezTo>
                    <a:cubicBezTo>
                      <a:pt x="417" y="81"/>
                      <a:pt x="417" y="78"/>
                      <a:pt x="417" y="74"/>
                    </a:cubicBezTo>
                    <a:cubicBezTo>
                      <a:pt x="417" y="71"/>
                      <a:pt x="417" y="68"/>
                      <a:pt x="417" y="66"/>
                    </a:cubicBezTo>
                    <a:cubicBezTo>
                      <a:pt x="417" y="64"/>
                      <a:pt x="417" y="62"/>
                      <a:pt x="418" y="61"/>
                    </a:cubicBezTo>
                    <a:cubicBezTo>
                      <a:pt x="418" y="60"/>
                      <a:pt x="419" y="58"/>
                      <a:pt x="419" y="57"/>
                    </a:cubicBezTo>
                    <a:cubicBezTo>
                      <a:pt x="420" y="56"/>
                      <a:pt x="421" y="55"/>
                      <a:pt x="422" y="54"/>
                    </a:cubicBezTo>
                    <a:cubicBezTo>
                      <a:pt x="423" y="53"/>
                      <a:pt x="426" y="51"/>
                      <a:pt x="430" y="48"/>
                    </a:cubicBezTo>
                    <a:cubicBezTo>
                      <a:pt x="434" y="46"/>
                      <a:pt x="439" y="44"/>
                      <a:pt x="445" y="41"/>
                    </a:cubicBezTo>
                    <a:cubicBezTo>
                      <a:pt x="451" y="39"/>
                      <a:pt x="458" y="37"/>
                      <a:pt x="466" y="35"/>
                    </a:cubicBezTo>
                    <a:cubicBezTo>
                      <a:pt x="474" y="34"/>
                      <a:pt x="482" y="33"/>
                      <a:pt x="492" y="33"/>
                    </a:cubicBezTo>
                    <a:cubicBezTo>
                      <a:pt x="504" y="33"/>
                      <a:pt x="515" y="34"/>
                      <a:pt x="524" y="37"/>
                    </a:cubicBezTo>
                    <a:cubicBezTo>
                      <a:pt x="533" y="40"/>
                      <a:pt x="541" y="44"/>
                      <a:pt x="547" y="49"/>
                    </a:cubicBezTo>
                    <a:cubicBezTo>
                      <a:pt x="554" y="55"/>
                      <a:pt x="559" y="61"/>
                      <a:pt x="562" y="69"/>
                    </a:cubicBezTo>
                    <a:cubicBezTo>
                      <a:pt x="565" y="77"/>
                      <a:pt x="567" y="86"/>
                      <a:pt x="567" y="96"/>
                    </a:cubicBezTo>
                    <a:cubicBezTo>
                      <a:pt x="567" y="103"/>
                      <a:pt x="566" y="110"/>
                      <a:pt x="564" y="117"/>
                    </a:cubicBezTo>
                    <a:cubicBezTo>
                      <a:pt x="562" y="123"/>
                      <a:pt x="559" y="129"/>
                      <a:pt x="555" y="134"/>
                    </a:cubicBezTo>
                    <a:cubicBezTo>
                      <a:pt x="552" y="140"/>
                      <a:pt x="547" y="144"/>
                      <a:pt x="541" y="148"/>
                    </a:cubicBezTo>
                    <a:cubicBezTo>
                      <a:pt x="536" y="151"/>
                      <a:pt x="529" y="154"/>
                      <a:pt x="522" y="156"/>
                    </a:cubicBezTo>
                    <a:lnTo>
                      <a:pt x="522" y="156"/>
                    </a:lnTo>
                    <a:cubicBezTo>
                      <a:pt x="531" y="157"/>
                      <a:pt x="539" y="159"/>
                      <a:pt x="546" y="163"/>
                    </a:cubicBezTo>
                    <a:cubicBezTo>
                      <a:pt x="553" y="166"/>
                      <a:pt x="558" y="171"/>
                      <a:pt x="563" y="176"/>
                    </a:cubicBezTo>
                    <a:cubicBezTo>
                      <a:pt x="568" y="181"/>
                      <a:pt x="572" y="187"/>
                      <a:pt x="574" y="193"/>
                    </a:cubicBezTo>
                    <a:cubicBezTo>
                      <a:pt x="577" y="200"/>
                      <a:pt x="578" y="207"/>
                      <a:pt x="578" y="214"/>
                    </a:cubicBezTo>
                    <a:close/>
                    <a:moveTo>
                      <a:pt x="644" y="337"/>
                    </a:moveTo>
                    <a:cubicBezTo>
                      <a:pt x="643" y="339"/>
                      <a:pt x="642" y="340"/>
                      <a:pt x="641" y="341"/>
                    </a:cubicBezTo>
                    <a:cubicBezTo>
                      <a:pt x="640" y="343"/>
                      <a:pt x="639" y="343"/>
                      <a:pt x="637" y="344"/>
                    </a:cubicBezTo>
                    <a:cubicBezTo>
                      <a:pt x="635" y="345"/>
                      <a:pt x="633" y="345"/>
                      <a:pt x="630" y="345"/>
                    </a:cubicBezTo>
                    <a:cubicBezTo>
                      <a:pt x="627" y="346"/>
                      <a:pt x="624" y="346"/>
                      <a:pt x="620" y="346"/>
                    </a:cubicBezTo>
                    <a:cubicBezTo>
                      <a:pt x="614" y="346"/>
                      <a:pt x="610" y="346"/>
                      <a:pt x="607" y="345"/>
                    </a:cubicBezTo>
                    <a:cubicBezTo>
                      <a:pt x="603" y="345"/>
                      <a:pt x="601" y="344"/>
                      <a:pt x="599" y="343"/>
                    </a:cubicBezTo>
                    <a:cubicBezTo>
                      <a:pt x="597" y="342"/>
                      <a:pt x="596" y="340"/>
                      <a:pt x="596" y="339"/>
                    </a:cubicBezTo>
                    <a:cubicBezTo>
                      <a:pt x="596" y="337"/>
                      <a:pt x="596" y="335"/>
                      <a:pt x="597" y="333"/>
                    </a:cubicBezTo>
                    <a:lnTo>
                      <a:pt x="712" y="9"/>
                    </a:lnTo>
                    <a:cubicBezTo>
                      <a:pt x="713" y="7"/>
                      <a:pt x="714" y="6"/>
                      <a:pt x="715" y="5"/>
                    </a:cubicBezTo>
                    <a:cubicBezTo>
                      <a:pt x="716" y="4"/>
                      <a:pt x="717" y="3"/>
                      <a:pt x="719" y="2"/>
                    </a:cubicBezTo>
                    <a:cubicBezTo>
                      <a:pt x="721" y="1"/>
                      <a:pt x="723" y="1"/>
                      <a:pt x="726" y="1"/>
                    </a:cubicBezTo>
                    <a:cubicBezTo>
                      <a:pt x="729" y="0"/>
                      <a:pt x="732" y="0"/>
                      <a:pt x="737" y="0"/>
                    </a:cubicBezTo>
                    <a:cubicBezTo>
                      <a:pt x="742" y="0"/>
                      <a:pt x="746" y="0"/>
                      <a:pt x="750" y="1"/>
                    </a:cubicBezTo>
                    <a:cubicBezTo>
                      <a:pt x="753" y="1"/>
                      <a:pt x="755" y="2"/>
                      <a:pt x="757" y="3"/>
                    </a:cubicBezTo>
                    <a:cubicBezTo>
                      <a:pt x="759" y="4"/>
                      <a:pt x="760" y="6"/>
                      <a:pt x="760" y="7"/>
                    </a:cubicBezTo>
                    <a:cubicBezTo>
                      <a:pt x="760" y="9"/>
                      <a:pt x="760" y="11"/>
                      <a:pt x="759" y="13"/>
                    </a:cubicBezTo>
                    <a:lnTo>
                      <a:pt x="644" y="337"/>
                    </a:lnTo>
                    <a:close/>
                    <a:moveTo>
                      <a:pt x="949" y="214"/>
                    </a:moveTo>
                    <a:cubicBezTo>
                      <a:pt x="949" y="227"/>
                      <a:pt x="946" y="238"/>
                      <a:pt x="942" y="247"/>
                    </a:cubicBezTo>
                    <a:cubicBezTo>
                      <a:pt x="937" y="257"/>
                      <a:pt x="930" y="265"/>
                      <a:pt x="922" y="272"/>
                    </a:cubicBezTo>
                    <a:cubicBezTo>
                      <a:pt x="913" y="278"/>
                      <a:pt x="903" y="283"/>
                      <a:pt x="891" y="287"/>
                    </a:cubicBezTo>
                    <a:cubicBezTo>
                      <a:pt x="879" y="290"/>
                      <a:pt x="866" y="292"/>
                      <a:pt x="852" y="292"/>
                    </a:cubicBezTo>
                    <a:cubicBezTo>
                      <a:pt x="844" y="292"/>
                      <a:pt x="836" y="291"/>
                      <a:pt x="828" y="290"/>
                    </a:cubicBezTo>
                    <a:cubicBezTo>
                      <a:pt x="821" y="289"/>
                      <a:pt x="814" y="287"/>
                      <a:pt x="809" y="285"/>
                    </a:cubicBezTo>
                    <a:cubicBezTo>
                      <a:pt x="803" y="284"/>
                      <a:pt x="798" y="282"/>
                      <a:pt x="794" y="280"/>
                    </a:cubicBezTo>
                    <a:cubicBezTo>
                      <a:pt x="791" y="278"/>
                      <a:pt x="788" y="276"/>
                      <a:pt x="787" y="275"/>
                    </a:cubicBezTo>
                    <a:cubicBezTo>
                      <a:pt x="786" y="274"/>
                      <a:pt x="785" y="273"/>
                      <a:pt x="785" y="272"/>
                    </a:cubicBezTo>
                    <a:cubicBezTo>
                      <a:pt x="784" y="271"/>
                      <a:pt x="783" y="269"/>
                      <a:pt x="783" y="267"/>
                    </a:cubicBezTo>
                    <a:cubicBezTo>
                      <a:pt x="782" y="266"/>
                      <a:pt x="782" y="263"/>
                      <a:pt x="782" y="261"/>
                    </a:cubicBezTo>
                    <a:cubicBezTo>
                      <a:pt x="782" y="258"/>
                      <a:pt x="782" y="255"/>
                      <a:pt x="782" y="251"/>
                    </a:cubicBezTo>
                    <a:cubicBezTo>
                      <a:pt x="782" y="245"/>
                      <a:pt x="782" y="241"/>
                      <a:pt x="783" y="238"/>
                    </a:cubicBezTo>
                    <a:cubicBezTo>
                      <a:pt x="784" y="236"/>
                      <a:pt x="786" y="235"/>
                      <a:pt x="788" y="235"/>
                    </a:cubicBezTo>
                    <a:cubicBezTo>
                      <a:pt x="789" y="235"/>
                      <a:pt x="791" y="236"/>
                      <a:pt x="795" y="237"/>
                    </a:cubicBezTo>
                    <a:cubicBezTo>
                      <a:pt x="798" y="239"/>
                      <a:pt x="802" y="241"/>
                      <a:pt x="807" y="243"/>
                    </a:cubicBezTo>
                    <a:cubicBezTo>
                      <a:pt x="812" y="245"/>
                      <a:pt x="817" y="247"/>
                      <a:pt x="824" y="249"/>
                    </a:cubicBezTo>
                    <a:cubicBezTo>
                      <a:pt x="830" y="250"/>
                      <a:pt x="838" y="251"/>
                      <a:pt x="846" y="251"/>
                    </a:cubicBezTo>
                    <a:cubicBezTo>
                      <a:pt x="853" y="251"/>
                      <a:pt x="860" y="250"/>
                      <a:pt x="865" y="249"/>
                    </a:cubicBezTo>
                    <a:cubicBezTo>
                      <a:pt x="870" y="247"/>
                      <a:pt x="875" y="245"/>
                      <a:pt x="879" y="242"/>
                    </a:cubicBezTo>
                    <a:cubicBezTo>
                      <a:pt x="883" y="239"/>
                      <a:pt x="885" y="235"/>
                      <a:pt x="887" y="231"/>
                    </a:cubicBezTo>
                    <a:cubicBezTo>
                      <a:pt x="889" y="226"/>
                      <a:pt x="890" y="222"/>
                      <a:pt x="890" y="216"/>
                    </a:cubicBezTo>
                    <a:cubicBezTo>
                      <a:pt x="890" y="210"/>
                      <a:pt x="889" y="205"/>
                      <a:pt x="887" y="201"/>
                    </a:cubicBezTo>
                    <a:cubicBezTo>
                      <a:pt x="884" y="196"/>
                      <a:pt x="881" y="192"/>
                      <a:pt x="877" y="189"/>
                    </a:cubicBezTo>
                    <a:cubicBezTo>
                      <a:pt x="872" y="186"/>
                      <a:pt x="867" y="183"/>
                      <a:pt x="860" y="181"/>
                    </a:cubicBezTo>
                    <a:cubicBezTo>
                      <a:pt x="853" y="179"/>
                      <a:pt x="845" y="178"/>
                      <a:pt x="836" y="178"/>
                    </a:cubicBezTo>
                    <a:lnTo>
                      <a:pt x="814" y="178"/>
                    </a:lnTo>
                    <a:cubicBezTo>
                      <a:pt x="813" y="178"/>
                      <a:pt x="811" y="178"/>
                      <a:pt x="810" y="178"/>
                    </a:cubicBezTo>
                    <a:cubicBezTo>
                      <a:pt x="809" y="177"/>
                      <a:pt x="808" y="176"/>
                      <a:pt x="807" y="175"/>
                    </a:cubicBezTo>
                    <a:cubicBezTo>
                      <a:pt x="806" y="174"/>
                      <a:pt x="806" y="172"/>
                      <a:pt x="806" y="169"/>
                    </a:cubicBezTo>
                    <a:cubicBezTo>
                      <a:pt x="805" y="166"/>
                      <a:pt x="805" y="163"/>
                      <a:pt x="805" y="159"/>
                    </a:cubicBezTo>
                    <a:cubicBezTo>
                      <a:pt x="805" y="156"/>
                      <a:pt x="805" y="153"/>
                      <a:pt x="806" y="150"/>
                    </a:cubicBezTo>
                    <a:cubicBezTo>
                      <a:pt x="806" y="148"/>
                      <a:pt x="806" y="146"/>
                      <a:pt x="807" y="145"/>
                    </a:cubicBezTo>
                    <a:cubicBezTo>
                      <a:pt x="808" y="143"/>
                      <a:pt x="809" y="142"/>
                      <a:pt x="810" y="142"/>
                    </a:cubicBezTo>
                    <a:cubicBezTo>
                      <a:pt x="811" y="141"/>
                      <a:pt x="812" y="141"/>
                      <a:pt x="814" y="141"/>
                    </a:cubicBezTo>
                    <a:lnTo>
                      <a:pt x="836" y="141"/>
                    </a:lnTo>
                    <a:cubicBezTo>
                      <a:pt x="843" y="141"/>
                      <a:pt x="850" y="140"/>
                      <a:pt x="856" y="139"/>
                    </a:cubicBezTo>
                    <a:cubicBezTo>
                      <a:pt x="861" y="137"/>
                      <a:pt x="866" y="134"/>
                      <a:pt x="870" y="131"/>
                    </a:cubicBezTo>
                    <a:cubicBezTo>
                      <a:pt x="874" y="128"/>
                      <a:pt x="877" y="124"/>
                      <a:pt x="879" y="119"/>
                    </a:cubicBezTo>
                    <a:cubicBezTo>
                      <a:pt x="881" y="115"/>
                      <a:pt x="882" y="110"/>
                      <a:pt x="882" y="104"/>
                    </a:cubicBezTo>
                    <a:cubicBezTo>
                      <a:pt x="882" y="100"/>
                      <a:pt x="881" y="96"/>
                      <a:pt x="880" y="92"/>
                    </a:cubicBezTo>
                    <a:cubicBezTo>
                      <a:pt x="879" y="88"/>
                      <a:pt x="877" y="85"/>
                      <a:pt x="874" y="82"/>
                    </a:cubicBezTo>
                    <a:cubicBezTo>
                      <a:pt x="871" y="80"/>
                      <a:pt x="867" y="77"/>
                      <a:pt x="863" y="76"/>
                    </a:cubicBezTo>
                    <a:cubicBezTo>
                      <a:pt x="859" y="74"/>
                      <a:pt x="854" y="73"/>
                      <a:pt x="848" y="73"/>
                    </a:cubicBezTo>
                    <a:cubicBezTo>
                      <a:pt x="841" y="73"/>
                      <a:pt x="835" y="74"/>
                      <a:pt x="829" y="76"/>
                    </a:cubicBezTo>
                    <a:cubicBezTo>
                      <a:pt x="823" y="78"/>
                      <a:pt x="817" y="80"/>
                      <a:pt x="813" y="83"/>
                    </a:cubicBezTo>
                    <a:cubicBezTo>
                      <a:pt x="808" y="85"/>
                      <a:pt x="804" y="87"/>
                      <a:pt x="801" y="90"/>
                    </a:cubicBezTo>
                    <a:cubicBezTo>
                      <a:pt x="797" y="92"/>
                      <a:pt x="795" y="93"/>
                      <a:pt x="794" y="93"/>
                    </a:cubicBezTo>
                    <a:cubicBezTo>
                      <a:pt x="792" y="93"/>
                      <a:pt x="792" y="92"/>
                      <a:pt x="791" y="92"/>
                    </a:cubicBezTo>
                    <a:cubicBezTo>
                      <a:pt x="790" y="92"/>
                      <a:pt x="789" y="91"/>
                      <a:pt x="789" y="89"/>
                    </a:cubicBezTo>
                    <a:cubicBezTo>
                      <a:pt x="788" y="88"/>
                      <a:pt x="788" y="86"/>
                      <a:pt x="788" y="84"/>
                    </a:cubicBezTo>
                    <a:cubicBezTo>
                      <a:pt x="787" y="81"/>
                      <a:pt x="787" y="78"/>
                      <a:pt x="787" y="74"/>
                    </a:cubicBezTo>
                    <a:cubicBezTo>
                      <a:pt x="787" y="71"/>
                      <a:pt x="787" y="68"/>
                      <a:pt x="788" y="66"/>
                    </a:cubicBezTo>
                    <a:cubicBezTo>
                      <a:pt x="788" y="64"/>
                      <a:pt x="788" y="62"/>
                      <a:pt x="788" y="61"/>
                    </a:cubicBezTo>
                    <a:cubicBezTo>
                      <a:pt x="789" y="60"/>
                      <a:pt x="789" y="58"/>
                      <a:pt x="790" y="57"/>
                    </a:cubicBezTo>
                    <a:cubicBezTo>
                      <a:pt x="790" y="56"/>
                      <a:pt x="791" y="55"/>
                      <a:pt x="793" y="54"/>
                    </a:cubicBezTo>
                    <a:cubicBezTo>
                      <a:pt x="794" y="53"/>
                      <a:pt x="796" y="51"/>
                      <a:pt x="800" y="48"/>
                    </a:cubicBezTo>
                    <a:cubicBezTo>
                      <a:pt x="804" y="46"/>
                      <a:pt x="809" y="44"/>
                      <a:pt x="816" y="41"/>
                    </a:cubicBezTo>
                    <a:cubicBezTo>
                      <a:pt x="822" y="39"/>
                      <a:pt x="829" y="37"/>
                      <a:pt x="836" y="35"/>
                    </a:cubicBezTo>
                    <a:cubicBezTo>
                      <a:pt x="844" y="34"/>
                      <a:pt x="853" y="33"/>
                      <a:pt x="862" y="33"/>
                    </a:cubicBezTo>
                    <a:cubicBezTo>
                      <a:pt x="874" y="33"/>
                      <a:pt x="885" y="34"/>
                      <a:pt x="894" y="37"/>
                    </a:cubicBezTo>
                    <a:cubicBezTo>
                      <a:pt x="904" y="40"/>
                      <a:pt x="912" y="44"/>
                      <a:pt x="918" y="49"/>
                    </a:cubicBezTo>
                    <a:cubicBezTo>
                      <a:pt x="924" y="55"/>
                      <a:pt x="929" y="61"/>
                      <a:pt x="933" y="69"/>
                    </a:cubicBezTo>
                    <a:cubicBezTo>
                      <a:pt x="936" y="77"/>
                      <a:pt x="937" y="86"/>
                      <a:pt x="937" y="96"/>
                    </a:cubicBezTo>
                    <a:cubicBezTo>
                      <a:pt x="937" y="103"/>
                      <a:pt x="936" y="110"/>
                      <a:pt x="935" y="117"/>
                    </a:cubicBezTo>
                    <a:cubicBezTo>
                      <a:pt x="933" y="123"/>
                      <a:pt x="930" y="129"/>
                      <a:pt x="926" y="134"/>
                    </a:cubicBezTo>
                    <a:cubicBezTo>
                      <a:pt x="922" y="140"/>
                      <a:pt x="918" y="144"/>
                      <a:pt x="912" y="148"/>
                    </a:cubicBezTo>
                    <a:cubicBezTo>
                      <a:pt x="906" y="151"/>
                      <a:pt x="900" y="154"/>
                      <a:pt x="893" y="156"/>
                    </a:cubicBezTo>
                    <a:lnTo>
                      <a:pt x="893" y="156"/>
                    </a:lnTo>
                    <a:cubicBezTo>
                      <a:pt x="901" y="157"/>
                      <a:pt x="909" y="159"/>
                      <a:pt x="916" y="163"/>
                    </a:cubicBezTo>
                    <a:cubicBezTo>
                      <a:pt x="923" y="166"/>
                      <a:pt x="929" y="171"/>
                      <a:pt x="934" y="176"/>
                    </a:cubicBezTo>
                    <a:cubicBezTo>
                      <a:pt x="939" y="181"/>
                      <a:pt x="942" y="187"/>
                      <a:pt x="945" y="193"/>
                    </a:cubicBezTo>
                    <a:cubicBezTo>
                      <a:pt x="948" y="200"/>
                      <a:pt x="949" y="207"/>
                      <a:pt x="949" y="214"/>
                    </a:cubicBezTo>
                    <a:close/>
                    <a:moveTo>
                      <a:pt x="1148" y="268"/>
                    </a:moveTo>
                    <a:cubicBezTo>
                      <a:pt x="1148" y="272"/>
                      <a:pt x="1148" y="275"/>
                      <a:pt x="1148" y="277"/>
                    </a:cubicBezTo>
                    <a:cubicBezTo>
                      <a:pt x="1147" y="280"/>
                      <a:pt x="1147" y="282"/>
                      <a:pt x="1146" y="283"/>
                    </a:cubicBezTo>
                    <a:cubicBezTo>
                      <a:pt x="1145" y="285"/>
                      <a:pt x="1145" y="286"/>
                      <a:pt x="1144" y="286"/>
                    </a:cubicBezTo>
                    <a:cubicBezTo>
                      <a:pt x="1143" y="287"/>
                      <a:pt x="1142" y="287"/>
                      <a:pt x="1140" y="287"/>
                    </a:cubicBezTo>
                    <a:lnTo>
                      <a:pt x="1003" y="287"/>
                    </a:lnTo>
                    <a:cubicBezTo>
                      <a:pt x="1002" y="287"/>
                      <a:pt x="1001" y="287"/>
                      <a:pt x="1000" y="286"/>
                    </a:cubicBezTo>
                    <a:cubicBezTo>
                      <a:pt x="999" y="286"/>
                      <a:pt x="998" y="285"/>
                      <a:pt x="997" y="283"/>
                    </a:cubicBezTo>
                    <a:cubicBezTo>
                      <a:pt x="997" y="282"/>
                      <a:pt x="996" y="280"/>
                      <a:pt x="996" y="277"/>
                    </a:cubicBezTo>
                    <a:cubicBezTo>
                      <a:pt x="995" y="275"/>
                      <a:pt x="995" y="272"/>
                      <a:pt x="995" y="268"/>
                    </a:cubicBezTo>
                    <a:cubicBezTo>
                      <a:pt x="995" y="264"/>
                      <a:pt x="995" y="261"/>
                      <a:pt x="996" y="259"/>
                    </a:cubicBezTo>
                    <a:cubicBezTo>
                      <a:pt x="996" y="256"/>
                      <a:pt x="996" y="254"/>
                      <a:pt x="997" y="253"/>
                    </a:cubicBezTo>
                    <a:cubicBezTo>
                      <a:pt x="998" y="251"/>
                      <a:pt x="999" y="250"/>
                      <a:pt x="999" y="249"/>
                    </a:cubicBezTo>
                    <a:cubicBezTo>
                      <a:pt x="1000" y="249"/>
                      <a:pt x="1001" y="248"/>
                      <a:pt x="1003" y="248"/>
                    </a:cubicBezTo>
                    <a:lnTo>
                      <a:pt x="1049" y="248"/>
                    </a:lnTo>
                    <a:lnTo>
                      <a:pt x="1049" y="85"/>
                    </a:lnTo>
                    <a:lnTo>
                      <a:pt x="1009" y="108"/>
                    </a:lnTo>
                    <a:cubicBezTo>
                      <a:pt x="1006" y="109"/>
                      <a:pt x="1004" y="110"/>
                      <a:pt x="1002" y="110"/>
                    </a:cubicBezTo>
                    <a:cubicBezTo>
                      <a:pt x="1000" y="111"/>
                      <a:pt x="998" y="110"/>
                      <a:pt x="997" y="109"/>
                    </a:cubicBezTo>
                    <a:cubicBezTo>
                      <a:pt x="996" y="108"/>
                      <a:pt x="995" y="106"/>
                      <a:pt x="995" y="103"/>
                    </a:cubicBezTo>
                    <a:cubicBezTo>
                      <a:pt x="995" y="101"/>
                      <a:pt x="994" y="97"/>
                      <a:pt x="994" y="92"/>
                    </a:cubicBezTo>
                    <a:cubicBezTo>
                      <a:pt x="994" y="89"/>
                      <a:pt x="995" y="86"/>
                      <a:pt x="995" y="84"/>
                    </a:cubicBezTo>
                    <a:cubicBezTo>
                      <a:pt x="995" y="82"/>
                      <a:pt x="995" y="81"/>
                      <a:pt x="996" y="79"/>
                    </a:cubicBezTo>
                    <a:cubicBezTo>
                      <a:pt x="996" y="78"/>
                      <a:pt x="997" y="77"/>
                      <a:pt x="998" y="76"/>
                    </a:cubicBezTo>
                    <a:cubicBezTo>
                      <a:pt x="999" y="75"/>
                      <a:pt x="1000" y="74"/>
                      <a:pt x="1001" y="73"/>
                    </a:cubicBezTo>
                    <a:lnTo>
                      <a:pt x="1055" y="38"/>
                    </a:lnTo>
                    <a:cubicBezTo>
                      <a:pt x="1056" y="38"/>
                      <a:pt x="1057" y="37"/>
                      <a:pt x="1058" y="37"/>
                    </a:cubicBezTo>
                    <a:cubicBezTo>
                      <a:pt x="1059" y="37"/>
                      <a:pt x="1060" y="36"/>
                      <a:pt x="1061" y="36"/>
                    </a:cubicBezTo>
                    <a:cubicBezTo>
                      <a:pt x="1063" y="36"/>
                      <a:pt x="1065" y="36"/>
                      <a:pt x="1067" y="36"/>
                    </a:cubicBezTo>
                    <a:cubicBezTo>
                      <a:pt x="1070" y="36"/>
                      <a:pt x="1073" y="36"/>
                      <a:pt x="1077" y="36"/>
                    </a:cubicBezTo>
                    <a:cubicBezTo>
                      <a:pt x="1082" y="36"/>
                      <a:pt x="1086" y="36"/>
                      <a:pt x="1089" y="36"/>
                    </a:cubicBezTo>
                    <a:cubicBezTo>
                      <a:pt x="1092" y="36"/>
                      <a:pt x="1094" y="36"/>
                      <a:pt x="1096" y="37"/>
                    </a:cubicBezTo>
                    <a:cubicBezTo>
                      <a:pt x="1097" y="37"/>
                      <a:pt x="1098" y="38"/>
                      <a:pt x="1099" y="39"/>
                    </a:cubicBezTo>
                    <a:cubicBezTo>
                      <a:pt x="1099" y="39"/>
                      <a:pt x="1100" y="40"/>
                      <a:pt x="1100" y="42"/>
                    </a:cubicBezTo>
                    <a:lnTo>
                      <a:pt x="1100" y="248"/>
                    </a:lnTo>
                    <a:lnTo>
                      <a:pt x="1140" y="248"/>
                    </a:lnTo>
                    <a:cubicBezTo>
                      <a:pt x="1142" y="248"/>
                      <a:pt x="1143" y="249"/>
                      <a:pt x="1144" y="249"/>
                    </a:cubicBezTo>
                    <a:cubicBezTo>
                      <a:pt x="1145" y="250"/>
                      <a:pt x="1146" y="251"/>
                      <a:pt x="1146" y="253"/>
                    </a:cubicBezTo>
                    <a:cubicBezTo>
                      <a:pt x="1147" y="254"/>
                      <a:pt x="1147" y="256"/>
                      <a:pt x="1148" y="259"/>
                    </a:cubicBezTo>
                    <a:cubicBezTo>
                      <a:pt x="1148" y="261"/>
                      <a:pt x="1148" y="264"/>
                      <a:pt x="1148" y="268"/>
                    </a:cubicBezTo>
                    <a:close/>
                  </a:path>
                </a:pathLst>
              </a:custGeom>
              <a:solidFill>
                <a:srgbClr val="4C4C4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0" name="Freeform 1212"/>
              <p:cNvSpPr>
                <a:spLocks noEditPoints="1"/>
              </p:cNvSpPr>
              <p:nvPr/>
            </p:nvSpPr>
            <p:spPr bwMode="auto">
              <a:xfrm>
                <a:off x="5865" y="1691"/>
                <a:ext cx="346" cy="56"/>
              </a:xfrm>
              <a:custGeom>
                <a:avLst/>
                <a:gdLst/>
                <a:ahLst/>
                <a:cxnLst>
                  <a:cxn ang="0">
                    <a:pos x="73" y="36"/>
                  </a:cxn>
                  <a:cxn ang="0">
                    <a:pos x="66" y="173"/>
                  </a:cxn>
                  <a:cxn ang="0">
                    <a:pos x="115" y="170"/>
                  </a:cxn>
                  <a:cxn ang="0">
                    <a:pos x="16" y="177"/>
                  </a:cxn>
                  <a:cxn ang="0">
                    <a:pos x="115" y="13"/>
                  </a:cxn>
                  <a:cxn ang="0">
                    <a:pos x="222" y="190"/>
                  </a:cxn>
                  <a:cxn ang="0">
                    <a:pos x="147" y="242"/>
                  </a:cxn>
                  <a:cxn ang="0">
                    <a:pos x="181" y="60"/>
                  </a:cxn>
                  <a:cxn ang="0">
                    <a:pos x="246" y="62"/>
                  </a:cxn>
                  <a:cxn ang="0">
                    <a:pos x="208" y="82"/>
                  </a:cxn>
                  <a:cxn ang="0">
                    <a:pos x="232" y="149"/>
                  </a:cxn>
                  <a:cxn ang="0">
                    <a:pos x="307" y="192"/>
                  </a:cxn>
                  <a:cxn ang="0">
                    <a:pos x="293" y="164"/>
                  </a:cxn>
                  <a:cxn ang="0">
                    <a:pos x="566" y="192"/>
                  </a:cxn>
                  <a:cxn ang="0">
                    <a:pos x="565" y="78"/>
                  </a:cxn>
                  <a:cxn ang="0">
                    <a:pos x="498" y="192"/>
                  </a:cxn>
                  <a:cxn ang="0">
                    <a:pos x="469" y="86"/>
                  </a:cxn>
                  <a:cxn ang="0">
                    <a:pos x="431" y="192"/>
                  </a:cxn>
                  <a:cxn ang="0">
                    <a:pos x="462" y="61"/>
                  </a:cxn>
                  <a:cxn ang="0">
                    <a:pos x="498" y="155"/>
                  </a:cxn>
                  <a:cxn ang="0">
                    <a:pos x="554" y="64"/>
                  </a:cxn>
                  <a:cxn ang="0">
                    <a:pos x="712" y="120"/>
                  </a:cxn>
                  <a:cxn ang="0">
                    <a:pos x="693" y="172"/>
                  </a:cxn>
                  <a:cxn ang="0">
                    <a:pos x="699" y="188"/>
                  </a:cxn>
                  <a:cxn ang="0">
                    <a:pos x="620" y="109"/>
                  </a:cxn>
                  <a:cxn ang="0">
                    <a:pos x="707" y="92"/>
                  </a:cxn>
                  <a:cxn ang="0">
                    <a:pos x="696" y="107"/>
                  </a:cxn>
                  <a:cxn ang="0">
                    <a:pos x="951" y="62"/>
                  </a:cxn>
                  <a:cxn ang="0">
                    <a:pos x="937" y="77"/>
                  </a:cxn>
                  <a:cxn ang="0">
                    <a:pos x="909" y="173"/>
                  </a:cxn>
                  <a:cxn ang="0">
                    <a:pos x="931" y="183"/>
                  </a:cxn>
                  <a:cxn ang="0">
                    <a:pos x="883" y="169"/>
                  </a:cxn>
                  <a:cxn ang="0">
                    <a:pos x="830" y="192"/>
                  </a:cxn>
                  <a:cxn ang="0">
                    <a:pos x="769" y="189"/>
                  </a:cxn>
                  <a:cxn ang="0">
                    <a:pos x="740" y="172"/>
                  </a:cxn>
                  <a:cxn ang="0">
                    <a:pos x="782" y="119"/>
                  </a:cxn>
                  <a:cxn ang="0">
                    <a:pos x="757" y="81"/>
                  </a:cxn>
                  <a:cxn ang="0">
                    <a:pos x="789" y="61"/>
                  </a:cxn>
                  <a:cxn ang="0">
                    <a:pos x="848" y="61"/>
                  </a:cxn>
                  <a:cxn ang="0">
                    <a:pos x="1090" y="73"/>
                  </a:cxn>
                  <a:cxn ang="0">
                    <a:pos x="988" y="191"/>
                  </a:cxn>
                  <a:cxn ang="0">
                    <a:pos x="1032" y="58"/>
                  </a:cxn>
                  <a:cxn ang="0">
                    <a:pos x="1043" y="24"/>
                  </a:cxn>
                  <a:cxn ang="0">
                    <a:pos x="1018" y="1"/>
                  </a:cxn>
                  <a:cxn ang="0">
                    <a:pos x="1032" y="78"/>
                  </a:cxn>
                  <a:cxn ang="0">
                    <a:pos x="1026" y="172"/>
                  </a:cxn>
                  <a:cxn ang="0">
                    <a:pos x="1218" y="95"/>
                  </a:cxn>
                  <a:cxn ang="0">
                    <a:pos x="1109" y="241"/>
                  </a:cxn>
                  <a:cxn ang="0">
                    <a:pos x="1121" y="61"/>
                  </a:cxn>
                  <a:cxn ang="0">
                    <a:pos x="1173" y="141"/>
                  </a:cxn>
                  <a:cxn ang="0">
                    <a:pos x="1229" y="63"/>
                  </a:cxn>
                  <a:cxn ang="0">
                    <a:pos x="1320" y="188"/>
                  </a:cxn>
                  <a:cxn ang="0">
                    <a:pos x="1238" y="191"/>
                  </a:cxn>
                  <a:cxn ang="0">
                    <a:pos x="1282" y="61"/>
                  </a:cxn>
                  <a:cxn ang="0">
                    <a:pos x="1357" y="60"/>
                  </a:cxn>
                  <a:cxn ang="0">
                    <a:pos x="1472" y="192"/>
                  </a:cxn>
                  <a:cxn ang="0">
                    <a:pos x="1406" y="190"/>
                  </a:cxn>
                  <a:cxn ang="0">
                    <a:pos x="1453" y="58"/>
                  </a:cxn>
                  <a:cxn ang="0">
                    <a:pos x="1513" y="64"/>
                  </a:cxn>
                  <a:cxn ang="0">
                    <a:pos x="1412" y="134"/>
                  </a:cxn>
                  <a:cxn ang="0">
                    <a:pos x="1479" y="119"/>
                  </a:cxn>
                </a:cxnLst>
                <a:rect l="0" t="0" r="r" b="b"/>
                <a:pathLst>
                  <a:path w="1513" h="242">
                    <a:moveTo>
                      <a:pt x="142" y="32"/>
                    </a:moveTo>
                    <a:cubicBezTo>
                      <a:pt x="142" y="33"/>
                      <a:pt x="141" y="36"/>
                      <a:pt x="141" y="39"/>
                    </a:cubicBezTo>
                    <a:cubicBezTo>
                      <a:pt x="140" y="42"/>
                      <a:pt x="139" y="44"/>
                      <a:pt x="138" y="45"/>
                    </a:cubicBezTo>
                    <a:cubicBezTo>
                      <a:pt x="137" y="47"/>
                      <a:pt x="136" y="48"/>
                      <a:pt x="135" y="48"/>
                    </a:cubicBezTo>
                    <a:cubicBezTo>
                      <a:pt x="134" y="48"/>
                      <a:pt x="132" y="47"/>
                      <a:pt x="130" y="45"/>
                    </a:cubicBezTo>
                    <a:cubicBezTo>
                      <a:pt x="129" y="44"/>
                      <a:pt x="126" y="42"/>
                      <a:pt x="123" y="40"/>
                    </a:cubicBezTo>
                    <a:cubicBezTo>
                      <a:pt x="120" y="38"/>
                      <a:pt x="117" y="36"/>
                      <a:pt x="112" y="34"/>
                    </a:cubicBezTo>
                    <a:cubicBezTo>
                      <a:pt x="107" y="33"/>
                      <a:pt x="101" y="32"/>
                      <a:pt x="94" y="32"/>
                    </a:cubicBezTo>
                    <a:cubicBezTo>
                      <a:pt x="87" y="32"/>
                      <a:pt x="80" y="33"/>
                      <a:pt x="73" y="36"/>
                    </a:cubicBezTo>
                    <a:cubicBezTo>
                      <a:pt x="67" y="39"/>
                      <a:pt x="61" y="43"/>
                      <a:pt x="56" y="48"/>
                    </a:cubicBezTo>
                    <a:cubicBezTo>
                      <a:pt x="51" y="53"/>
                      <a:pt x="47" y="58"/>
                      <a:pt x="43" y="65"/>
                    </a:cubicBezTo>
                    <a:cubicBezTo>
                      <a:pt x="39" y="71"/>
                      <a:pt x="36" y="78"/>
                      <a:pt x="33" y="85"/>
                    </a:cubicBezTo>
                    <a:cubicBezTo>
                      <a:pt x="31" y="92"/>
                      <a:pt x="29" y="99"/>
                      <a:pt x="28" y="106"/>
                    </a:cubicBezTo>
                    <a:cubicBezTo>
                      <a:pt x="26" y="113"/>
                      <a:pt x="26" y="120"/>
                      <a:pt x="26" y="127"/>
                    </a:cubicBezTo>
                    <a:cubicBezTo>
                      <a:pt x="26" y="134"/>
                      <a:pt x="26" y="141"/>
                      <a:pt x="28" y="146"/>
                    </a:cubicBezTo>
                    <a:cubicBezTo>
                      <a:pt x="30" y="152"/>
                      <a:pt x="33" y="157"/>
                      <a:pt x="36" y="161"/>
                    </a:cubicBezTo>
                    <a:cubicBezTo>
                      <a:pt x="40" y="165"/>
                      <a:pt x="44" y="168"/>
                      <a:pt x="49" y="170"/>
                    </a:cubicBezTo>
                    <a:cubicBezTo>
                      <a:pt x="54" y="172"/>
                      <a:pt x="60" y="173"/>
                      <a:pt x="66" y="173"/>
                    </a:cubicBezTo>
                    <a:cubicBezTo>
                      <a:pt x="74" y="173"/>
                      <a:pt x="80" y="172"/>
                      <a:pt x="85" y="170"/>
                    </a:cubicBezTo>
                    <a:cubicBezTo>
                      <a:pt x="90" y="169"/>
                      <a:pt x="95" y="167"/>
                      <a:pt x="98" y="165"/>
                    </a:cubicBezTo>
                    <a:cubicBezTo>
                      <a:pt x="102" y="163"/>
                      <a:pt x="105" y="161"/>
                      <a:pt x="108" y="160"/>
                    </a:cubicBezTo>
                    <a:cubicBezTo>
                      <a:pt x="110" y="158"/>
                      <a:pt x="112" y="157"/>
                      <a:pt x="114" y="157"/>
                    </a:cubicBezTo>
                    <a:cubicBezTo>
                      <a:pt x="115" y="157"/>
                      <a:pt x="115" y="158"/>
                      <a:pt x="116" y="158"/>
                    </a:cubicBezTo>
                    <a:cubicBezTo>
                      <a:pt x="116" y="159"/>
                      <a:pt x="117" y="160"/>
                      <a:pt x="117" y="162"/>
                    </a:cubicBezTo>
                    <a:cubicBezTo>
                      <a:pt x="117" y="162"/>
                      <a:pt x="116" y="163"/>
                      <a:pt x="116" y="164"/>
                    </a:cubicBezTo>
                    <a:cubicBezTo>
                      <a:pt x="116" y="165"/>
                      <a:pt x="116" y="166"/>
                      <a:pt x="116" y="167"/>
                    </a:cubicBezTo>
                    <a:cubicBezTo>
                      <a:pt x="116" y="168"/>
                      <a:pt x="115" y="169"/>
                      <a:pt x="115" y="170"/>
                    </a:cubicBezTo>
                    <a:cubicBezTo>
                      <a:pt x="115" y="171"/>
                      <a:pt x="115" y="172"/>
                      <a:pt x="114" y="173"/>
                    </a:cubicBezTo>
                    <a:cubicBezTo>
                      <a:pt x="114" y="174"/>
                      <a:pt x="114" y="175"/>
                      <a:pt x="113" y="176"/>
                    </a:cubicBezTo>
                    <a:cubicBezTo>
                      <a:pt x="113" y="177"/>
                      <a:pt x="112" y="178"/>
                      <a:pt x="111" y="179"/>
                    </a:cubicBezTo>
                    <a:cubicBezTo>
                      <a:pt x="110" y="180"/>
                      <a:pt x="108" y="181"/>
                      <a:pt x="105" y="183"/>
                    </a:cubicBezTo>
                    <a:cubicBezTo>
                      <a:pt x="102" y="185"/>
                      <a:pt x="98" y="186"/>
                      <a:pt x="94" y="188"/>
                    </a:cubicBezTo>
                    <a:cubicBezTo>
                      <a:pt x="89" y="190"/>
                      <a:pt x="84" y="191"/>
                      <a:pt x="79" y="192"/>
                    </a:cubicBezTo>
                    <a:cubicBezTo>
                      <a:pt x="73" y="193"/>
                      <a:pt x="67" y="194"/>
                      <a:pt x="61" y="194"/>
                    </a:cubicBezTo>
                    <a:cubicBezTo>
                      <a:pt x="52" y="194"/>
                      <a:pt x="43" y="192"/>
                      <a:pt x="36" y="190"/>
                    </a:cubicBezTo>
                    <a:cubicBezTo>
                      <a:pt x="28" y="187"/>
                      <a:pt x="22" y="183"/>
                      <a:pt x="16" y="177"/>
                    </a:cubicBezTo>
                    <a:cubicBezTo>
                      <a:pt x="11" y="172"/>
                      <a:pt x="7" y="165"/>
                      <a:pt x="4" y="157"/>
                    </a:cubicBezTo>
                    <a:cubicBezTo>
                      <a:pt x="1" y="149"/>
                      <a:pt x="0" y="139"/>
                      <a:pt x="0" y="129"/>
                    </a:cubicBezTo>
                    <a:cubicBezTo>
                      <a:pt x="0" y="120"/>
                      <a:pt x="1" y="111"/>
                      <a:pt x="3" y="102"/>
                    </a:cubicBezTo>
                    <a:cubicBezTo>
                      <a:pt x="4" y="93"/>
                      <a:pt x="7" y="84"/>
                      <a:pt x="11" y="75"/>
                    </a:cubicBezTo>
                    <a:cubicBezTo>
                      <a:pt x="14" y="66"/>
                      <a:pt x="19" y="58"/>
                      <a:pt x="24" y="50"/>
                    </a:cubicBezTo>
                    <a:cubicBezTo>
                      <a:pt x="29" y="42"/>
                      <a:pt x="36" y="36"/>
                      <a:pt x="43" y="30"/>
                    </a:cubicBezTo>
                    <a:cubicBezTo>
                      <a:pt x="50" y="24"/>
                      <a:pt x="58" y="19"/>
                      <a:pt x="67" y="16"/>
                    </a:cubicBezTo>
                    <a:cubicBezTo>
                      <a:pt x="76" y="13"/>
                      <a:pt x="86" y="11"/>
                      <a:pt x="96" y="11"/>
                    </a:cubicBezTo>
                    <a:cubicBezTo>
                      <a:pt x="103" y="11"/>
                      <a:pt x="109" y="12"/>
                      <a:pt x="115" y="13"/>
                    </a:cubicBezTo>
                    <a:cubicBezTo>
                      <a:pt x="121" y="15"/>
                      <a:pt x="126" y="17"/>
                      <a:pt x="130" y="19"/>
                    </a:cubicBezTo>
                    <a:cubicBezTo>
                      <a:pt x="134" y="21"/>
                      <a:pt x="137" y="23"/>
                      <a:pt x="139" y="25"/>
                    </a:cubicBezTo>
                    <a:cubicBezTo>
                      <a:pt x="141" y="27"/>
                      <a:pt x="142" y="29"/>
                      <a:pt x="142" y="32"/>
                    </a:cubicBezTo>
                    <a:close/>
                    <a:moveTo>
                      <a:pt x="266" y="103"/>
                    </a:moveTo>
                    <a:cubicBezTo>
                      <a:pt x="266" y="108"/>
                      <a:pt x="265" y="114"/>
                      <a:pt x="264" y="121"/>
                    </a:cubicBezTo>
                    <a:cubicBezTo>
                      <a:pt x="263" y="128"/>
                      <a:pt x="262" y="134"/>
                      <a:pt x="260" y="141"/>
                    </a:cubicBezTo>
                    <a:cubicBezTo>
                      <a:pt x="257" y="148"/>
                      <a:pt x="255" y="154"/>
                      <a:pt x="251" y="161"/>
                    </a:cubicBezTo>
                    <a:cubicBezTo>
                      <a:pt x="248" y="167"/>
                      <a:pt x="243" y="173"/>
                      <a:pt x="239" y="178"/>
                    </a:cubicBezTo>
                    <a:cubicBezTo>
                      <a:pt x="234" y="183"/>
                      <a:pt x="228" y="187"/>
                      <a:pt x="222" y="190"/>
                    </a:cubicBezTo>
                    <a:cubicBezTo>
                      <a:pt x="215" y="193"/>
                      <a:pt x="208" y="194"/>
                      <a:pt x="200" y="194"/>
                    </a:cubicBezTo>
                    <a:cubicBezTo>
                      <a:pt x="196" y="194"/>
                      <a:pt x="192" y="194"/>
                      <a:pt x="189" y="193"/>
                    </a:cubicBezTo>
                    <a:cubicBezTo>
                      <a:pt x="185" y="192"/>
                      <a:pt x="182" y="191"/>
                      <a:pt x="179" y="190"/>
                    </a:cubicBezTo>
                    <a:cubicBezTo>
                      <a:pt x="177" y="188"/>
                      <a:pt x="174" y="186"/>
                      <a:pt x="172" y="184"/>
                    </a:cubicBezTo>
                    <a:cubicBezTo>
                      <a:pt x="169" y="182"/>
                      <a:pt x="167" y="180"/>
                      <a:pt x="165" y="178"/>
                    </a:cubicBezTo>
                    <a:lnTo>
                      <a:pt x="153" y="237"/>
                    </a:lnTo>
                    <a:cubicBezTo>
                      <a:pt x="153" y="238"/>
                      <a:pt x="153" y="239"/>
                      <a:pt x="152" y="239"/>
                    </a:cubicBezTo>
                    <a:cubicBezTo>
                      <a:pt x="152" y="240"/>
                      <a:pt x="151" y="240"/>
                      <a:pt x="150" y="241"/>
                    </a:cubicBezTo>
                    <a:cubicBezTo>
                      <a:pt x="149" y="241"/>
                      <a:pt x="148" y="241"/>
                      <a:pt x="147" y="242"/>
                    </a:cubicBezTo>
                    <a:cubicBezTo>
                      <a:pt x="145" y="242"/>
                      <a:pt x="143" y="242"/>
                      <a:pt x="141" y="242"/>
                    </a:cubicBezTo>
                    <a:cubicBezTo>
                      <a:pt x="139" y="242"/>
                      <a:pt x="137" y="242"/>
                      <a:pt x="136" y="242"/>
                    </a:cubicBezTo>
                    <a:cubicBezTo>
                      <a:pt x="134" y="241"/>
                      <a:pt x="133" y="241"/>
                      <a:pt x="132" y="241"/>
                    </a:cubicBezTo>
                    <a:cubicBezTo>
                      <a:pt x="131" y="240"/>
                      <a:pt x="131" y="240"/>
                      <a:pt x="131" y="239"/>
                    </a:cubicBezTo>
                    <a:cubicBezTo>
                      <a:pt x="130" y="239"/>
                      <a:pt x="130" y="238"/>
                      <a:pt x="130" y="237"/>
                    </a:cubicBezTo>
                    <a:lnTo>
                      <a:pt x="165" y="64"/>
                    </a:lnTo>
                    <a:cubicBezTo>
                      <a:pt x="166" y="63"/>
                      <a:pt x="166" y="61"/>
                      <a:pt x="168" y="61"/>
                    </a:cubicBezTo>
                    <a:cubicBezTo>
                      <a:pt x="170" y="60"/>
                      <a:pt x="172" y="60"/>
                      <a:pt x="176" y="60"/>
                    </a:cubicBezTo>
                    <a:cubicBezTo>
                      <a:pt x="178" y="60"/>
                      <a:pt x="180" y="60"/>
                      <a:pt x="181" y="60"/>
                    </a:cubicBezTo>
                    <a:cubicBezTo>
                      <a:pt x="182" y="60"/>
                      <a:pt x="183" y="60"/>
                      <a:pt x="184" y="61"/>
                    </a:cubicBezTo>
                    <a:cubicBezTo>
                      <a:pt x="185" y="61"/>
                      <a:pt x="185" y="62"/>
                      <a:pt x="185" y="62"/>
                    </a:cubicBezTo>
                    <a:cubicBezTo>
                      <a:pt x="185" y="63"/>
                      <a:pt x="185" y="63"/>
                      <a:pt x="185" y="64"/>
                    </a:cubicBezTo>
                    <a:lnTo>
                      <a:pt x="181" y="88"/>
                    </a:lnTo>
                    <a:cubicBezTo>
                      <a:pt x="182" y="85"/>
                      <a:pt x="184" y="81"/>
                      <a:pt x="187" y="78"/>
                    </a:cubicBezTo>
                    <a:cubicBezTo>
                      <a:pt x="190" y="74"/>
                      <a:pt x="194" y="71"/>
                      <a:pt x="198" y="68"/>
                    </a:cubicBezTo>
                    <a:cubicBezTo>
                      <a:pt x="203" y="65"/>
                      <a:pt x="207" y="63"/>
                      <a:pt x="213" y="61"/>
                    </a:cubicBezTo>
                    <a:cubicBezTo>
                      <a:pt x="218" y="59"/>
                      <a:pt x="223" y="58"/>
                      <a:pt x="229" y="58"/>
                    </a:cubicBezTo>
                    <a:cubicBezTo>
                      <a:pt x="236" y="58"/>
                      <a:pt x="241" y="59"/>
                      <a:pt x="246" y="62"/>
                    </a:cubicBezTo>
                    <a:cubicBezTo>
                      <a:pt x="251" y="64"/>
                      <a:pt x="255" y="67"/>
                      <a:pt x="258" y="71"/>
                    </a:cubicBezTo>
                    <a:cubicBezTo>
                      <a:pt x="261" y="75"/>
                      <a:pt x="263" y="80"/>
                      <a:pt x="264" y="85"/>
                    </a:cubicBezTo>
                    <a:cubicBezTo>
                      <a:pt x="265" y="91"/>
                      <a:pt x="266" y="97"/>
                      <a:pt x="266" y="103"/>
                    </a:cubicBezTo>
                    <a:close/>
                    <a:moveTo>
                      <a:pt x="242" y="104"/>
                    </a:moveTo>
                    <a:cubicBezTo>
                      <a:pt x="242" y="100"/>
                      <a:pt x="242" y="97"/>
                      <a:pt x="241" y="93"/>
                    </a:cubicBezTo>
                    <a:cubicBezTo>
                      <a:pt x="240" y="90"/>
                      <a:pt x="239" y="87"/>
                      <a:pt x="238" y="85"/>
                    </a:cubicBezTo>
                    <a:cubicBezTo>
                      <a:pt x="236" y="83"/>
                      <a:pt x="234" y="81"/>
                      <a:pt x="232" y="79"/>
                    </a:cubicBezTo>
                    <a:cubicBezTo>
                      <a:pt x="229" y="78"/>
                      <a:pt x="226" y="78"/>
                      <a:pt x="223" y="78"/>
                    </a:cubicBezTo>
                    <a:cubicBezTo>
                      <a:pt x="218" y="78"/>
                      <a:pt x="213" y="79"/>
                      <a:pt x="208" y="82"/>
                    </a:cubicBezTo>
                    <a:cubicBezTo>
                      <a:pt x="202" y="84"/>
                      <a:pt x="198" y="88"/>
                      <a:pt x="193" y="93"/>
                    </a:cubicBezTo>
                    <a:cubicBezTo>
                      <a:pt x="189" y="98"/>
                      <a:pt x="185" y="104"/>
                      <a:pt x="181" y="111"/>
                    </a:cubicBezTo>
                    <a:cubicBezTo>
                      <a:pt x="178" y="118"/>
                      <a:pt x="176" y="125"/>
                      <a:pt x="174" y="133"/>
                    </a:cubicBezTo>
                    <a:lnTo>
                      <a:pt x="169" y="156"/>
                    </a:lnTo>
                    <a:cubicBezTo>
                      <a:pt x="174" y="162"/>
                      <a:pt x="178" y="167"/>
                      <a:pt x="183" y="170"/>
                    </a:cubicBezTo>
                    <a:cubicBezTo>
                      <a:pt x="188" y="173"/>
                      <a:pt x="194" y="175"/>
                      <a:pt x="200" y="175"/>
                    </a:cubicBezTo>
                    <a:cubicBezTo>
                      <a:pt x="205" y="175"/>
                      <a:pt x="209" y="174"/>
                      <a:pt x="213" y="171"/>
                    </a:cubicBezTo>
                    <a:cubicBezTo>
                      <a:pt x="217" y="169"/>
                      <a:pt x="221" y="166"/>
                      <a:pt x="224" y="162"/>
                    </a:cubicBezTo>
                    <a:cubicBezTo>
                      <a:pt x="227" y="158"/>
                      <a:pt x="230" y="154"/>
                      <a:pt x="232" y="149"/>
                    </a:cubicBezTo>
                    <a:cubicBezTo>
                      <a:pt x="234" y="144"/>
                      <a:pt x="236" y="139"/>
                      <a:pt x="238" y="134"/>
                    </a:cubicBezTo>
                    <a:cubicBezTo>
                      <a:pt x="239" y="129"/>
                      <a:pt x="240" y="123"/>
                      <a:pt x="241" y="118"/>
                    </a:cubicBezTo>
                    <a:cubicBezTo>
                      <a:pt x="242" y="113"/>
                      <a:pt x="242" y="108"/>
                      <a:pt x="242" y="104"/>
                    </a:cubicBezTo>
                    <a:close/>
                    <a:moveTo>
                      <a:pt x="318" y="171"/>
                    </a:moveTo>
                    <a:cubicBezTo>
                      <a:pt x="318" y="172"/>
                      <a:pt x="317" y="173"/>
                      <a:pt x="317" y="175"/>
                    </a:cubicBezTo>
                    <a:cubicBezTo>
                      <a:pt x="317" y="177"/>
                      <a:pt x="317" y="179"/>
                      <a:pt x="316" y="180"/>
                    </a:cubicBezTo>
                    <a:cubicBezTo>
                      <a:pt x="316" y="182"/>
                      <a:pt x="315" y="184"/>
                      <a:pt x="314" y="186"/>
                    </a:cubicBezTo>
                    <a:cubicBezTo>
                      <a:pt x="314" y="187"/>
                      <a:pt x="313" y="188"/>
                      <a:pt x="312" y="190"/>
                    </a:cubicBezTo>
                    <a:cubicBezTo>
                      <a:pt x="311" y="191"/>
                      <a:pt x="309" y="191"/>
                      <a:pt x="307" y="192"/>
                    </a:cubicBezTo>
                    <a:cubicBezTo>
                      <a:pt x="305" y="193"/>
                      <a:pt x="303" y="193"/>
                      <a:pt x="299" y="193"/>
                    </a:cubicBezTo>
                    <a:cubicBezTo>
                      <a:pt x="297" y="193"/>
                      <a:pt x="295" y="193"/>
                      <a:pt x="293" y="192"/>
                    </a:cubicBezTo>
                    <a:cubicBezTo>
                      <a:pt x="291" y="192"/>
                      <a:pt x="290" y="191"/>
                      <a:pt x="289" y="190"/>
                    </a:cubicBezTo>
                    <a:cubicBezTo>
                      <a:pt x="288" y="190"/>
                      <a:pt x="288" y="189"/>
                      <a:pt x="287" y="187"/>
                    </a:cubicBezTo>
                    <a:cubicBezTo>
                      <a:pt x="287" y="186"/>
                      <a:pt x="287" y="185"/>
                      <a:pt x="287" y="183"/>
                    </a:cubicBezTo>
                    <a:cubicBezTo>
                      <a:pt x="287" y="182"/>
                      <a:pt x="287" y="180"/>
                      <a:pt x="287" y="178"/>
                    </a:cubicBezTo>
                    <a:cubicBezTo>
                      <a:pt x="287" y="176"/>
                      <a:pt x="288" y="175"/>
                      <a:pt x="288" y="173"/>
                    </a:cubicBezTo>
                    <a:cubicBezTo>
                      <a:pt x="289" y="171"/>
                      <a:pt x="289" y="170"/>
                      <a:pt x="290" y="168"/>
                    </a:cubicBezTo>
                    <a:cubicBezTo>
                      <a:pt x="291" y="166"/>
                      <a:pt x="292" y="165"/>
                      <a:pt x="293" y="164"/>
                    </a:cubicBezTo>
                    <a:cubicBezTo>
                      <a:pt x="294" y="163"/>
                      <a:pt x="295" y="162"/>
                      <a:pt x="297" y="162"/>
                    </a:cubicBezTo>
                    <a:cubicBezTo>
                      <a:pt x="299" y="161"/>
                      <a:pt x="302" y="161"/>
                      <a:pt x="305" y="161"/>
                    </a:cubicBezTo>
                    <a:cubicBezTo>
                      <a:pt x="308" y="161"/>
                      <a:pt x="310" y="161"/>
                      <a:pt x="311" y="161"/>
                    </a:cubicBezTo>
                    <a:cubicBezTo>
                      <a:pt x="313" y="162"/>
                      <a:pt x="314" y="163"/>
                      <a:pt x="315" y="163"/>
                    </a:cubicBezTo>
                    <a:cubicBezTo>
                      <a:pt x="316" y="164"/>
                      <a:pt x="317" y="165"/>
                      <a:pt x="317" y="167"/>
                    </a:cubicBezTo>
                    <a:cubicBezTo>
                      <a:pt x="317" y="168"/>
                      <a:pt x="318" y="169"/>
                      <a:pt x="318" y="171"/>
                    </a:cubicBezTo>
                    <a:close/>
                    <a:moveTo>
                      <a:pt x="577" y="187"/>
                    </a:moveTo>
                    <a:cubicBezTo>
                      <a:pt x="577" y="189"/>
                      <a:pt x="576" y="190"/>
                      <a:pt x="575" y="191"/>
                    </a:cubicBezTo>
                    <a:cubicBezTo>
                      <a:pt x="573" y="192"/>
                      <a:pt x="570" y="192"/>
                      <a:pt x="566" y="192"/>
                    </a:cubicBezTo>
                    <a:cubicBezTo>
                      <a:pt x="564" y="192"/>
                      <a:pt x="562" y="192"/>
                      <a:pt x="560" y="192"/>
                    </a:cubicBezTo>
                    <a:cubicBezTo>
                      <a:pt x="559" y="192"/>
                      <a:pt x="558" y="192"/>
                      <a:pt x="557" y="192"/>
                    </a:cubicBezTo>
                    <a:cubicBezTo>
                      <a:pt x="556" y="191"/>
                      <a:pt x="556" y="191"/>
                      <a:pt x="555" y="191"/>
                    </a:cubicBezTo>
                    <a:cubicBezTo>
                      <a:pt x="555" y="190"/>
                      <a:pt x="555" y="189"/>
                      <a:pt x="555" y="189"/>
                    </a:cubicBezTo>
                    <a:lnTo>
                      <a:pt x="561" y="116"/>
                    </a:lnTo>
                    <a:cubicBezTo>
                      <a:pt x="561" y="114"/>
                      <a:pt x="561" y="112"/>
                      <a:pt x="561" y="109"/>
                    </a:cubicBezTo>
                    <a:cubicBezTo>
                      <a:pt x="562" y="106"/>
                      <a:pt x="562" y="103"/>
                      <a:pt x="562" y="99"/>
                    </a:cubicBezTo>
                    <a:cubicBezTo>
                      <a:pt x="563" y="96"/>
                      <a:pt x="563" y="92"/>
                      <a:pt x="564" y="88"/>
                    </a:cubicBezTo>
                    <a:cubicBezTo>
                      <a:pt x="564" y="85"/>
                      <a:pt x="565" y="81"/>
                      <a:pt x="565" y="78"/>
                    </a:cubicBezTo>
                    <a:lnTo>
                      <a:pt x="565" y="78"/>
                    </a:lnTo>
                    <a:cubicBezTo>
                      <a:pt x="563" y="81"/>
                      <a:pt x="562" y="84"/>
                      <a:pt x="560" y="87"/>
                    </a:cubicBezTo>
                    <a:cubicBezTo>
                      <a:pt x="559" y="90"/>
                      <a:pt x="557" y="93"/>
                      <a:pt x="556" y="96"/>
                    </a:cubicBezTo>
                    <a:cubicBezTo>
                      <a:pt x="554" y="99"/>
                      <a:pt x="552" y="102"/>
                      <a:pt x="551" y="105"/>
                    </a:cubicBezTo>
                    <a:cubicBezTo>
                      <a:pt x="549" y="108"/>
                      <a:pt x="548" y="111"/>
                      <a:pt x="546" y="113"/>
                    </a:cubicBezTo>
                    <a:lnTo>
                      <a:pt x="506" y="187"/>
                    </a:lnTo>
                    <a:cubicBezTo>
                      <a:pt x="505" y="188"/>
                      <a:pt x="505" y="189"/>
                      <a:pt x="504" y="189"/>
                    </a:cubicBezTo>
                    <a:cubicBezTo>
                      <a:pt x="504" y="190"/>
                      <a:pt x="503" y="191"/>
                      <a:pt x="502" y="191"/>
                    </a:cubicBezTo>
                    <a:cubicBezTo>
                      <a:pt x="501" y="192"/>
                      <a:pt x="500" y="192"/>
                      <a:pt x="498" y="192"/>
                    </a:cubicBezTo>
                    <a:cubicBezTo>
                      <a:pt x="497" y="192"/>
                      <a:pt x="495" y="192"/>
                      <a:pt x="493" y="192"/>
                    </a:cubicBezTo>
                    <a:cubicBezTo>
                      <a:pt x="491" y="192"/>
                      <a:pt x="490" y="192"/>
                      <a:pt x="488" y="192"/>
                    </a:cubicBezTo>
                    <a:cubicBezTo>
                      <a:pt x="487" y="192"/>
                      <a:pt x="486" y="192"/>
                      <a:pt x="485" y="191"/>
                    </a:cubicBezTo>
                    <a:cubicBezTo>
                      <a:pt x="485" y="191"/>
                      <a:pt x="484" y="190"/>
                      <a:pt x="484" y="190"/>
                    </a:cubicBezTo>
                    <a:cubicBezTo>
                      <a:pt x="483" y="189"/>
                      <a:pt x="483" y="188"/>
                      <a:pt x="483" y="187"/>
                    </a:cubicBezTo>
                    <a:lnTo>
                      <a:pt x="472" y="113"/>
                    </a:lnTo>
                    <a:cubicBezTo>
                      <a:pt x="472" y="110"/>
                      <a:pt x="471" y="107"/>
                      <a:pt x="471" y="104"/>
                    </a:cubicBezTo>
                    <a:cubicBezTo>
                      <a:pt x="471" y="101"/>
                      <a:pt x="470" y="98"/>
                      <a:pt x="470" y="95"/>
                    </a:cubicBezTo>
                    <a:cubicBezTo>
                      <a:pt x="470" y="92"/>
                      <a:pt x="469" y="89"/>
                      <a:pt x="469" y="86"/>
                    </a:cubicBezTo>
                    <a:cubicBezTo>
                      <a:pt x="469" y="83"/>
                      <a:pt x="469" y="81"/>
                      <a:pt x="468" y="78"/>
                    </a:cubicBezTo>
                    <a:lnTo>
                      <a:pt x="468" y="78"/>
                    </a:lnTo>
                    <a:cubicBezTo>
                      <a:pt x="467" y="81"/>
                      <a:pt x="467" y="84"/>
                      <a:pt x="466" y="87"/>
                    </a:cubicBezTo>
                    <a:cubicBezTo>
                      <a:pt x="465" y="91"/>
                      <a:pt x="464" y="94"/>
                      <a:pt x="463" y="97"/>
                    </a:cubicBezTo>
                    <a:cubicBezTo>
                      <a:pt x="462" y="100"/>
                      <a:pt x="461" y="104"/>
                      <a:pt x="460" y="107"/>
                    </a:cubicBezTo>
                    <a:cubicBezTo>
                      <a:pt x="459" y="110"/>
                      <a:pt x="458" y="113"/>
                      <a:pt x="457" y="116"/>
                    </a:cubicBezTo>
                    <a:lnTo>
                      <a:pt x="435" y="187"/>
                    </a:lnTo>
                    <a:cubicBezTo>
                      <a:pt x="434" y="188"/>
                      <a:pt x="434" y="189"/>
                      <a:pt x="433" y="190"/>
                    </a:cubicBezTo>
                    <a:cubicBezTo>
                      <a:pt x="433" y="191"/>
                      <a:pt x="432" y="191"/>
                      <a:pt x="431" y="192"/>
                    </a:cubicBezTo>
                    <a:cubicBezTo>
                      <a:pt x="430" y="192"/>
                      <a:pt x="429" y="192"/>
                      <a:pt x="427" y="192"/>
                    </a:cubicBezTo>
                    <a:cubicBezTo>
                      <a:pt x="426" y="192"/>
                      <a:pt x="424" y="192"/>
                      <a:pt x="422" y="192"/>
                    </a:cubicBezTo>
                    <a:cubicBezTo>
                      <a:pt x="419" y="192"/>
                      <a:pt x="417" y="192"/>
                      <a:pt x="416" y="192"/>
                    </a:cubicBezTo>
                    <a:cubicBezTo>
                      <a:pt x="415" y="192"/>
                      <a:pt x="414" y="192"/>
                      <a:pt x="413" y="191"/>
                    </a:cubicBezTo>
                    <a:cubicBezTo>
                      <a:pt x="413" y="191"/>
                      <a:pt x="412" y="190"/>
                      <a:pt x="412" y="189"/>
                    </a:cubicBezTo>
                    <a:cubicBezTo>
                      <a:pt x="412" y="189"/>
                      <a:pt x="413" y="188"/>
                      <a:pt x="413" y="187"/>
                    </a:cubicBezTo>
                    <a:lnTo>
                      <a:pt x="450" y="70"/>
                    </a:lnTo>
                    <a:cubicBezTo>
                      <a:pt x="451" y="67"/>
                      <a:pt x="453" y="64"/>
                      <a:pt x="455" y="63"/>
                    </a:cubicBezTo>
                    <a:cubicBezTo>
                      <a:pt x="456" y="61"/>
                      <a:pt x="459" y="61"/>
                      <a:pt x="462" y="61"/>
                    </a:cubicBezTo>
                    <a:lnTo>
                      <a:pt x="472" y="61"/>
                    </a:lnTo>
                    <a:cubicBezTo>
                      <a:pt x="475" y="61"/>
                      <a:pt x="477" y="61"/>
                      <a:pt x="479" y="61"/>
                    </a:cubicBezTo>
                    <a:cubicBezTo>
                      <a:pt x="480" y="62"/>
                      <a:pt x="482" y="62"/>
                      <a:pt x="483" y="63"/>
                    </a:cubicBezTo>
                    <a:cubicBezTo>
                      <a:pt x="484" y="64"/>
                      <a:pt x="485" y="66"/>
                      <a:pt x="486" y="67"/>
                    </a:cubicBezTo>
                    <a:cubicBezTo>
                      <a:pt x="486" y="69"/>
                      <a:pt x="487" y="71"/>
                      <a:pt x="487" y="74"/>
                    </a:cubicBezTo>
                    <a:lnTo>
                      <a:pt x="495" y="127"/>
                    </a:lnTo>
                    <a:cubicBezTo>
                      <a:pt x="495" y="130"/>
                      <a:pt x="496" y="133"/>
                      <a:pt x="496" y="136"/>
                    </a:cubicBezTo>
                    <a:cubicBezTo>
                      <a:pt x="496" y="140"/>
                      <a:pt x="497" y="143"/>
                      <a:pt x="497" y="146"/>
                    </a:cubicBezTo>
                    <a:cubicBezTo>
                      <a:pt x="497" y="149"/>
                      <a:pt x="498" y="152"/>
                      <a:pt x="498" y="155"/>
                    </a:cubicBezTo>
                    <a:cubicBezTo>
                      <a:pt x="498" y="158"/>
                      <a:pt x="498" y="161"/>
                      <a:pt x="499" y="164"/>
                    </a:cubicBezTo>
                    <a:lnTo>
                      <a:pt x="499" y="164"/>
                    </a:lnTo>
                    <a:cubicBezTo>
                      <a:pt x="500" y="161"/>
                      <a:pt x="502" y="158"/>
                      <a:pt x="503" y="155"/>
                    </a:cubicBezTo>
                    <a:cubicBezTo>
                      <a:pt x="505" y="152"/>
                      <a:pt x="507" y="148"/>
                      <a:pt x="508" y="145"/>
                    </a:cubicBezTo>
                    <a:cubicBezTo>
                      <a:pt x="510" y="142"/>
                      <a:pt x="511" y="139"/>
                      <a:pt x="513" y="136"/>
                    </a:cubicBezTo>
                    <a:cubicBezTo>
                      <a:pt x="515" y="132"/>
                      <a:pt x="516" y="129"/>
                      <a:pt x="518" y="126"/>
                    </a:cubicBezTo>
                    <a:lnTo>
                      <a:pt x="547" y="74"/>
                    </a:lnTo>
                    <a:cubicBezTo>
                      <a:pt x="548" y="71"/>
                      <a:pt x="549" y="70"/>
                      <a:pt x="550" y="68"/>
                    </a:cubicBezTo>
                    <a:cubicBezTo>
                      <a:pt x="551" y="66"/>
                      <a:pt x="553" y="65"/>
                      <a:pt x="554" y="64"/>
                    </a:cubicBezTo>
                    <a:cubicBezTo>
                      <a:pt x="556" y="63"/>
                      <a:pt x="558" y="62"/>
                      <a:pt x="559" y="61"/>
                    </a:cubicBezTo>
                    <a:cubicBezTo>
                      <a:pt x="561" y="61"/>
                      <a:pt x="564" y="61"/>
                      <a:pt x="566" y="61"/>
                    </a:cubicBezTo>
                    <a:lnTo>
                      <a:pt x="578" y="61"/>
                    </a:lnTo>
                    <a:cubicBezTo>
                      <a:pt x="581" y="61"/>
                      <a:pt x="584" y="61"/>
                      <a:pt x="585" y="63"/>
                    </a:cubicBezTo>
                    <a:cubicBezTo>
                      <a:pt x="587" y="64"/>
                      <a:pt x="587" y="66"/>
                      <a:pt x="587" y="69"/>
                    </a:cubicBezTo>
                    <a:lnTo>
                      <a:pt x="577" y="187"/>
                    </a:lnTo>
                    <a:close/>
                    <a:moveTo>
                      <a:pt x="730" y="89"/>
                    </a:moveTo>
                    <a:cubicBezTo>
                      <a:pt x="730" y="96"/>
                      <a:pt x="728" y="102"/>
                      <a:pt x="725" y="107"/>
                    </a:cubicBezTo>
                    <a:cubicBezTo>
                      <a:pt x="723" y="112"/>
                      <a:pt x="718" y="116"/>
                      <a:pt x="712" y="120"/>
                    </a:cubicBezTo>
                    <a:cubicBezTo>
                      <a:pt x="705" y="123"/>
                      <a:pt x="697" y="126"/>
                      <a:pt x="688" y="128"/>
                    </a:cubicBezTo>
                    <a:cubicBezTo>
                      <a:pt x="678" y="130"/>
                      <a:pt x="666" y="131"/>
                      <a:pt x="653" y="131"/>
                    </a:cubicBezTo>
                    <a:lnTo>
                      <a:pt x="638" y="131"/>
                    </a:lnTo>
                    <a:cubicBezTo>
                      <a:pt x="637" y="134"/>
                      <a:pt x="637" y="137"/>
                      <a:pt x="637" y="140"/>
                    </a:cubicBezTo>
                    <a:cubicBezTo>
                      <a:pt x="637" y="142"/>
                      <a:pt x="636" y="145"/>
                      <a:pt x="636" y="147"/>
                    </a:cubicBezTo>
                    <a:cubicBezTo>
                      <a:pt x="636" y="157"/>
                      <a:pt x="639" y="164"/>
                      <a:pt x="643" y="169"/>
                    </a:cubicBezTo>
                    <a:cubicBezTo>
                      <a:pt x="648" y="173"/>
                      <a:pt x="655" y="176"/>
                      <a:pt x="665" y="176"/>
                    </a:cubicBezTo>
                    <a:cubicBezTo>
                      <a:pt x="671" y="176"/>
                      <a:pt x="677" y="175"/>
                      <a:pt x="681" y="175"/>
                    </a:cubicBezTo>
                    <a:cubicBezTo>
                      <a:pt x="686" y="174"/>
                      <a:pt x="690" y="173"/>
                      <a:pt x="693" y="172"/>
                    </a:cubicBezTo>
                    <a:cubicBezTo>
                      <a:pt x="697" y="171"/>
                      <a:pt x="700" y="170"/>
                      <a:pt x="702" y="169"/>
                    </a:cubicBezTo>
                    <a:cubicBezTo>
                      <a:pt x="704" y="168"/>
                      <a:pt x="706" y="168"/>
                      <a:pt x="706" y="168"/>
                    </a:cubicBezTo>
                    <a:cubicBezTo>
                      <a:pt x="707" y="168"/>
                      <a:pt x="708" y="168"/>
                      <a:pt x="708" y="169"/>
                    </a:cubicBezTo>
                    <a:cubicBezTo>
                      <a:pt x="709" y="169"/>
                      <a:pt x="709" y="170"/>
                      <a:pt x="709" y="171"/>
                    </a:cubicBezTo>
                    <a:cubicBezTo>
                      <a:pt x="709" y="172"/>
                      <a:pt x="709" y="173"/>
                      <a:pt x="709" y="174"/>
                    </a:cubicBezTo>
                    <a:cubicBezTo>
                      <a:pt x="709" y="176"/>
                      <a:pt x="708" y="177"/>
                      <a:pt x="708" y="178"/>
                    </a:cubicBezTo>
                    <a:cubicBezTo>
                      <a:pt x="707" y="180"/>
                      <a:pt x="707" y="181"/>
                      <a:pt x="706" y="182"/>
                    </a:cubicBezTo>
                    <a:cubicBezTo>
                      <a:pt x="706" y="183"/>
                      <a:pt x="705" y="184"/>
                      <a:pt x="704" y="185"/>
                    </a:cubicBezTo>
                    <a:cubicBezTo>
                      <a:pt x="703" y="186"/>
                      <a:pt x="701" y="187"/>
                      <a:pt x="699" y="188"/>
                    </a:cubicBezTo>
                    <a:cubicBezTo>
                      <a:pt x="696" y="189"/>
                      <a:pt x="692" y="190"/>
                      <a:pt x="689" y="191"/>
                    </a:cubicBezTo>
                    <a:cubicBezTo>
                      <a:pt x="685" y="192"/>
                      <a:pt x="680" y="193"/>
                      <a:pt x="676" y="193"/>
                    </a:cubicBezTo>
                    <a:cubicBezTo>
                      <a:pt x="671" y="194"/>
                      <a:pt x="667" y="194"/>
                      <a:pt x="662" y="194"/>
                    </a:cubicBezTo>
                    <a:cubicBezTo>
                      <a:pt x="654" y="194"/>
                      <a:pt x="647" y="193"/>
                      <a:pt x="641" y="191"/>
                    </a:cubicBezTo>
                    <a:cubicBezTo>
                      <a:pt x="634" y="190"/>
                      <a:pt x="629" y="187"/>
                      <a:pt x="625" y="183"/>
                    </a:cubicBezTo>
                    <a:cubicBezTo>
                      <a:pt x="621" y="179"/>
                      <a:pt x="618" y="174"/>
                      <a:pt x="616" y="169"/>
                    </a:cubicBezTo>
                    <a:cubicBezTo>
                      <a:pt x="614" y="163"/>
                      <a:pt x="613" y="156"/>
                      <a:pt x="613" y="149"/>
                    </a:cubicBezTo>
                    <a:cubicBezTo>
                      <a:pt x="613" y="143"/>
                      <a:pt x="614" y="136"/>
                      <a:pt x="615" y="129"/>
                    </a:cubicBezTo>
                    <a:cubicBezTo>
                      <a:pt x="616" y="123"/>
                      <a:pt x="618" y="116"/>
                      <a:pt x="620" y="109"/>
                    </a:cubicBezTo>
                    <a:cubicBezTo>
                      <a:pt x="623" y="102"/>
                      <a:pt x="626" y="96"/>
                      <a:pt x="630" y="90"/>
                    </a:cubicBezTo>
                    <a:cubicBezTo>
                      <a:pt x="634" y="84"/>
                      <a:pt x="639" y="78"/>
                      <a:pt x="644" y="74"/>
                    </a:cubicBezTo>
                    <a:cubicBezTo>
                      <a:pt x="649" y="69"/>
                      <a:pt x="656" y="65"/>
                      <a:pt x="663" y="62"/>
                    </a:cubicBezTo>
                    <a:cubicBezTo>
                      <a:pt x="670" y="59"/>
                      <a:pt x="678" y="58"/>
                      <a:pt x="687" y="58"/>
                    </a:cubicBezTo>
                    <a:cubicBezTo>
                      <a:pt x="695" y="58"/>
                      <a:pt x="701" y="59"/>
                      <a:pt x="707" y="61"/>
                    </a:cubicBezTo>
                    <a:cubicBezTo>
                      <a:pt x="712" y="63"/>
                      <a:pt x="717" y="65"/>
                      <a:pt x="720" y="68"/>
                    </a:cubicBezTo>
                    <a:cubicBezTo>
                      <a:pt x="723" y="71"/>
                      <a:pt x="726" y="75"/>
                      <a:pt x="728" y="78"/>
                    </a:cubicBezTo>
                    <a:cubicBezTo>
                      <a:pt x="729" y="82"/>
                      <a:pt x="730" y="86"/>
                      <a:pt x="730" y="89"/>
                    </a:cubicBezTo>
                    <a:close/>
                    <a:moveTo>
                      <a:pt x="707" y="92"/>
                    </a:moveTo>
                    <a:cubicBezTo>
                      <a:pt x="707" y="87"/>
                      <a:pt x="705" y="83"/>
                      <a:pt x="701" y="80"/>
                    </a:cubicBezTo>
                    <a:cubicBezTo>
                      <a:pt x="697" y="77"/>
                      <a:pt x="692" y="76"/>
                      <a:pt x="685" y="76"/>
                    </a:cubicBezTo>
                    <a:cubicBezTo>
                      <a:pt x="679" y="76"/>
                      <a:pt x="674" y="77"/>
                      <a:pt x="670" y="79"/>
                    </a:cubicBezTo>
                    <a:cubicBezTo>
                      <a:pt x="665" y="81"/>
                      <a:pt x="661" y="84"/>
                      <a:pt x="657" y="87"/>
                    </a:cubicBezTo>
                    <a:cubicBezTo>
                      <a:pt x="654" y="91"/>
                      <a:pt x="651" y="95"/>
                      <a:pt x="648" y="99"/>
                    </a:cubicBezTo>
                    <a:cubicBezTo>
                      <a:pt x="646" y="104"/>
                      <a:pt x="644" y="109"/>
                      <a:pt x="642" y="114"/>
                    </a:cubicBezTo>
                    <a:lnTo>
                      <a:pt x="656" y="114"/>
                    </a:lnTo>
                    <a:cubicBezTo>
                      <a:pt x="666" y="114"/>
                      <a:pt x="674" y="114"/>
                      <a:pt x="680" y="112"/>
                    </a:cubicBezTo>
                    <a:cubicBezTo>
                      <a:pt x="687" y="111"/>
                      <a:pt x="692" y="110"/>
                      <a:pt x="696" y="107"/>
                    </a:cubicBezTo>
                    <a:cubicBezTo>
                      <a:pt x="700" y="105"/>
                      <a:pt x="703" y="103"/>
                      <a:pt x="704" y="100"/>
                    </a:cubicBezTo>
                    <a:cubicBezTo>
                      <a:pt x="706" y="97"/>
                      <a:pt x="707" y="95"/>
                      <a:pt x="707" y="92"/>
                    </a:cubicBezTo>
                    <a:close/>
                    <a:moveTo>
                      <a:pt x="885" y="115"/>
                    </a:moveTo>
                    <a:cubicBezTo>
                      <a:pt x="887" y="108"/>
                      <a:pt x="889" y="101"/>
                      <a:pt x="892" y="94"/>
                    </a:cubicBezTo>
                    <a:cubicBezTo>
                      <a:pt x="895" y="87"/>
                      <a:pt x="899" y="81"/>
                      <a:pt x="903" y="76"/>
                    </a:cubicBezTo>
                    <a:cubicBezTo>
                      <a:pt x="908" y="70"/>
                      <a:pt x="913" y="66"/>
                      <a:pt x="918" y="63"/>
                    </a:cubicBezTo>
                    <a:cubicBezTo>
                      <a:pt x="924" y="60"/>
                      <a:pt x="930" y="58"/>
                      <a:pt x="938" y="58"/>
                    </a:cubicBezTo>
                    <a:cubicBezTo>
                      <a:pt x="941" y="58"/>
                      <a:pt x="943" y="58"/>
                      <a:pt x="946" y="59"/>
                    </a:cubicBezTo>
                    <a:cubicBezTo>
                      <a:pt x="949" y="60"/>
                      <a:pt x="950" y="61"/>
                      <a:pt x="951" y="62"/>
                    </a:cubicBezTo>
                    <a:cubicBezTo>
                      <a:pt x="953" y="63"/>
                      <a:pt x="953" y="65"/>
                      <a:pt x="953" y="66"/>
                    </a:cubicBezTo>
                    <a:cubicBezTo>
                      <a:pt x="953" y="67"/>
                      <a:pt x="953" y="69"/>
                      <a:pt x="952" y="70"/>
                    </a:cubicBezTo>
                    <a:cubicBezTo>
                      <a:pt x="952" y="72"/>
                      <a:pt x="952" y="73"/>
                      <a:pt x="951" y="75"/>
                    </a:cubicBezTo>
                    <a:cubicBezTo>
                      <a:pt x="951" y="76"/>
                      <a:pt x="950" y="78"/>
                      <a:pt x="949" y="79"/>
                    </a:cubicBezTo>
                    <a:cubicBezTo>
                      <a:pt x="948" y="80"/>
                      <a:pt x="947" y="80"/>
                      <a:pt x="947" y="80"/>
                    </a:cubicBezTo>
                    <a:cubicBezTo>
                      <a:pt x="946" y="80"/>
                      <a:pt x="945" y="80"/>
                      <a:pt x="945" y="80"/>
                    </a:cubicBezTo>
                    <a:cubicBezTo>
                      <a:pt x="944" y="79"/>
                      <a:pt x="944" y="79"/>
                      <a:pt x="943" y="79"/>
                    </a:cubicBezTo>
                    <a:cubicBezTo>
                      <a:pt x="942" y="78"/>
                      <a:pt x="941" y="78"/>
                      <a:pt x="940" y="78"/>
                    </a:cubicBezTo>
                    <a:cubicBezTo>
                      <a:pt x="939" y="77"/>
                      <a:pt x="938" y="77"/>
                      <a:pt x="937" y="77"/>
                    </a:cubicBezTo>
                    <a:cubicBezTo>
                      <a:pt x="933" y="77"/>
                      <a:pt x="929" y="78"/>
                      <a:pt x="926" y="81"/>
                    </a:cubicBezTo>
                    <a:cubicBezTo>
                      <a:pt x="923" y="83"/>
                      <a:pt x="920" y="86"/>
                      <a:pt x="918" y="90"/>
                    </a:cubicBezTo>
                    <a:cubicBezTo>
                      <a:pt x="915" y="94"/>
                      <a:pt x="913" y="99"/>
                      <a:pt x="911" y="104"/>
                    </a:cubicBezTo>
                    <a:cubicBezTo>
                      <a:pt x="910" y="109"/>
                      <a:pt x="908" y="114"/>
                      <a:pt x="907" y="119"/>
                    </a:cubicBezTo>
                    <a:cubicBezTo>
                      <a:pt x="906" y="124"/>
                      <a:pt x="905" y="129"/>
                      <a:pt x="905" y="133"/>
                    </a:cubicBezTo>
                    <a:cubicBezTo>
                      <a:pt x="904" y="138"/>
                      <a:pt x="904" y="142"/>
                      <a:pt x="904" y="146"/>
                    </a:cubicBezTo>
                    <a:cubicBezTo>
                      <a:pt x="904" y="150"/>
                      <a:pt x="904" y="154"/>
                      <a:pt x="904" y="158"/>
                    </a:cubicBezTo>
                    <a:cubicBezTo>
                      <a:pt x="904" y="162"/>
                      <a:pt x="905" y="165"/>
                      <a:pt x="906" y="167"/>
                    </a:cubicBezTo>
                    <a:cubicBezTo>
                      <a:pt x="906" y="170"/>
                      <a:pt x="908" y="171"/>
                      <a:pt x="909" y="173"/>
                    </a:cubicBezTo>
                    <a:cubicBezTo>
                      <a:pt x="911" y="174"/>
                      <a:pt x="912" y="175"/>
                      <a:pt x="915" y="175"/>
                    </a:cubicBezTo>
                    <a:cubicBezTo>
                      <a:pt x="917" y="175"/>
                      <a:pt x="919" y="175"/>
                      <a:pt x="920" y="174"/>
                    </a:cubicBezTo>
                    <a:cubicBezTo>
                      <a:pt x="922" y="174"/>
                      <a:pt x="923" y="173"/>
                      <a:pt x="924" y="173"/>
                    </a:cubicBezTo>
                    <a:cubicBezTo>
                      <a:pt x="925" y="173"/>
                      <a:pt x="926" y="172"/>
                      <a:pt x="927" y="172"/>
                    </a:cubicBezTo>
                    <a:cubicBezTo>
                      <a:pt x="928" y="171"/>
                      <a:pt x="929" y="171"/>
                      <a:pt x="929" y="171"/>
                    </a:cubicBezTo>
                    <a:cubicBezTo>
                      <a:pt x="930" y="171"/>
                      <a:pt x="931" y="172"/>
                      <a:pt x="931" y="172"/>
                    </a:cubicBezTo>
                    <a:cubicBezTo>
                      <a:pt x="932" y="173"/>
                      <a:pt x="932" y="174"/>
                      <a:pt x="932" y="175"/>
                    </a:cubicBezTo>
                    <a:cubicBezTo>
                      <a:pt x="932" y="176"/>
                      <a:pt x="932" y="177"/>
                      <a:pt x="931" y="179"/>
                    </a:cubicBezTo>
                    <a:cubicBezTo>
                      <a:pt x="931" y="180"/>
                      <a:pt x="931" y="181"/>
                      <a:pt x="931" y="183"/>
                    </a:cubicBezTo>
                    <a:cubicBezTo>
                      <a:pt x="930" y="184"/>
                      <a:pt x="930" y="186"/>
                      <a:pt x="929" y="187"/>
                    </a:cubicBezTo>
                    <a:cubicBezTo>
                      <a:pt x="928" y="188"/>
                      <a:pt x="928" y="189"/>
                      <a:pt x="927" y="190"/>
                    </a:cubicBezTo>
                    <a:cubicBezTo>
                      <a:pt x="926" y="190"/>
                      <a:pt x="926" y="191"/>
                      <a:pt x="924" y="192"/>
                    </a:cubicBezTo>
                    <a:cubicBezTo>
                      <a:pt x="923" y="192"/>
                      <a:pt x="922" y="193"/>
                      <a:pt x="920" y="193"/>
                    </a:cubicBezTo>
                    <a:cubicBezTo>
                      <a:pt x="919" y="193"/>
                      <a:pt x="917" y="194"/>
                      <a:pt x="915" y="194"/>
                    </a:cubicBezTo>
                    <a:cubicBezTo>
                      <a:pt x="914" y="194"/>
                      <a:pt x="912" y="194"/>
                      <a:pt x="910" y="194"/>
                    </a:cubicBezTo>
                    <a:cubicBezTo>
                      <a:pt x="905" y="194"/>
                      <a:pt x="901" y="193"/>
                      <a:pt x="897" y="191"/>
                    </a:cubicBezTo>
                    <a:cubicBezTo>
                      <a:pt x="893" y="190"/>
                      <a:pt x="890" y="187"/>
                      <a:pt x="888" y="183"/>
                    </a:cubicBezTo>
                    <a:cubicBezTo>
                      <a:pt x="885" y="179"/>
                      <a:pt x="884" y="174"/>
                      <a:pt x="883" y="169"/>
                    </a:cubicBezTo>
                    <a:cubicBezTo>
                      <a:pt x="881" y="163"/>
                      <a:pt x="881" y="157"/>
                      <a:pt x="881" y="149"/>
                    </a:cubicBezTo>
                    <a:cubicBezTo>
                      <a:pt x="881" y="147"/>
                      <a:pt x="881" y="144"/>
                      <a:pt x="881" y="141"/>
                    </a:cubicBezTo>
                    <a:cubicBezTo>
                      <a:pt x="881" y="138"/>
                      <a:pt x="882" y="136"/>
                      <a:pt x="882" y="133"/>
                    </a:cubicBezTo>
                    <a:lnTo>
                      <a:pt x="853" y="133"/>
                    </a:lnTo>
                    <a:lnTo>
                      <a:pt x="842" y="189"/>
                    </a:lnTo>
                    <a:cubicBezTo>
                      <a:pt x="842" y="190"/>
                      <a:pt x="841" y="190"/>
                      <a:pt x="841" y="191"/>
                    </a:cubicBezTo>
                    <a:cubicBezTo>
                      <a:pt x="840" y="191"/>
                      <a:pt x="839" y="191"/>
                      <a:pt x="838" y="192"/>
                    </a:cubicBezTo>
                    <a:cubicBezTo>
                      <a:pt x="837" y="192"/>
                      <a:pt x="836" y="192"/>
                      <a:pt x="835" y="192"/>
                    </a:cubicBezTo>
                    <a:cubicBezTo>
                      <a:pt x="833" y="192"/>
                      <a:pt x="832" y="192"/>
                      <a:pt x="830" y="192"/>
                    </a:cubicBezTo>
                    <a:cubicBezTo>
                      <a:pt x="828" y="192"/>
                      <a:pt x="826" y="192"/>
                      <a:pt x="825" y="192"/>
                    </a:cubicBezTo>
                    <a:cubicBezTo>
                      <a:pt x="823" y="192"/>
                      <a:pt x="822" y="192"/>
                      <a:pt x="821" y="192"/>
                    </a:cubicBezTo>
                    <a:cubicBezTo>
                      <a:pt x="820" y="191"/>
                      <a:pt x="820" y="191"/>
                      <a:pt x="819" y="191"/>
                    </a:cubicBezTo>
                    <a:cubicBezTo>
                      <a:pt x="819" y="190"/>
                      <a:pt x="819" y="190"/>
                      <a:pt x="819" y="189"/>
                    </a:cubicBezTo>
                    <a:lnTo>
                      <a:pt x="831" y="133"/>
                    </a:lnTo>
                    <a:lnTo>
                      <a:pt x="802" y="133"/>
                    </a:lnTo>
                    <a:cubicBezTo>
                      <a:pt x="801" y="140"/>
                      <a:pt x="798" y="148"/>
                      <a:pt x="795" y="155"/>
                    </a:cubicBezTo>
                    <a:cubicBezTo>
                      <a:pt x="793" y="162"/>
                      <a:pt x="789" y="169"/>
                      <a:pt x="785" y="175"/>
                    </a:cubicBezTo>
                    <a:cubicBezTo>
                      <a:pt x="780" y="181"/>
                      <a:pt x="775" y="185"/>
                      <a:pt x="769" y="189"/>
                    </a:cubicBezTo>
                    <a:cubicBezTo>
                      <a:pt x="763" y="192"/>
                      <a:pt x="756" y="194"/>
                      <a:pt x="748" y="194"/>
                    </a:cubicBezTo>
                    <a:cubicBezTo>
                      <a:pt x="746" y="194"/>
                      <a:pt x="743" y="194"/>
                      <a:pt x="740" y="193"/>
                    </a:cubicBezTo>
                    <a:cubicBezTo>
                      <a:pt x="737" y="192"/>
                      <a:pt x="735" y="191"/>
                      <a:pt x="734" y="190"/>
                    </a:cubicBezTo>
                    <a:cubicBezTo>
                      <a:pt x="733" y="189"/>
                      <a:pt x="733" y="189"/>
                      <a:pt x="733" y="188"/>
                    </a:cubicBezTo>
                    <a:cubicBezTo>
                      <a:pt x="733" y="188"/>
                      <a:pt x="733" y="187"/>
                      <a:pt x="733" y="186"/>
                    </a:cubicBezTo>
                    <a:cubicBezTo>
                      <a:pt x="733" y="185"/>
                      <a:pt x="733" y="184"/>
                      <a:pt x="733" y="182"/>
                    </a:cubicBezTo>
                    <a:cubicBezTo>
                      <a:pt x="733" y="180"/>
                      <a:pt x="734" y="179"/>
                      <a:pt x="734" y="177"/>
                    </a:cubicBezTo>
                    <a:cubicBezTo>
                      <a:pt x="735" y="176"/>
                      <a:pt x="736" y="174"/>
                      <a:pt x="737" y="173"/>
                    </a:cubicBezTo>
                    <a:cubicBezTo>
                      <a:pt x="737" y="172"/>
                      <a:pt x="738" y="172"/>
                      <a:pt x="740" y="172"/>
                    </a:cubicBezTo>
                    <a:cubicBezTo>
                      <a:pt x="740" y="172"/>
                      <a:pt x="741" y="172"/>
                      <a:pt x="741" y="172"/>
                    </a:cubicBezTo>
                    <a:cubicBezTo>
                      <a:pt x="742" y="173"/>
                      <a:pt x="743" y="173"/>
                      <a:pt x="743" y="173"/>
                    </a:cubicBezTo>
                    <a:cubicBezTo>
                      <a:pt x="744" y="174"/>
                      <a:pt x="745" y="174"/>
                      <a:pt x="746" y="174"/>
                    </a:cubicBezTo>
                    <a:cubicBezTo>
                      <a:pt x="747" y="175"/>
                      <a:pt x="748" y="175"/>
                      <a:pt x="750" y="175"/>
                    </a:cubicBezTo>
                    <a:cubicBezTo>
                      <a:pt x="754" y="175"/>
                      <a:pt x="757" y="174"/>
                      <a:pt x="760" y="171"/>
                    </a:cubicBezTo>
                    <a:cubicBezTo>
                      <a:pt x="763" y="169"/>
                      <a:pt x="766" y="166"/>
                      <a:pt x="769" y="162"/>
                    </a:cubicBezTo>
                    <a:cubicBezTo>
                      <a:pt x="771" y="158"/>
                      <a:pt x="773" y="153"/>
                      <a:pt x="775" y="148"/>
                    </a:cubicBezTo>
                    <a:cubicBezTo>
                      <a:pt x="777" y="143"/>
                      <a:pt x="778" y="138"/>
                      <a:pt x="779" y="133"/>
                    </a:cubicBezTo>
                    <a:cubicBezTo>
                      <a:pt x="780" y="128"/>
                      <a:pt x="781" y="123"/>
                      <a:pt x="782" y="119"/>
                    </a:cubicBezTo>
                    <a:cubicBezTo>
                      <a:pt x="782" y="114"/>
                      <a:pt x="783" y="110"/>
                      <a:pt x="783" y="106"/>
                    </a:cubicBezTo>
                    <a:cubicBezTo>
                      <a:pt x="783" y="100"/>
                      <a:pt x="782" y="96"/>
                      <a:pt x="782" y="92"/>
                    </a:cubicBezTo>
                    <a:cubicBezTo>
                      <a:pt x="781" y="88"/>
                      <a:pt x="781" y="85"/>
                      <a:pt x="780" y="83"/>
                    </a:cubicBezTo>
                    <a:cubicBezTo>
                      <a:pt x="779" y="81"/>
                      <a:pt x="778" y="79"/>
                      <a:pt x="776" y="78"/>
                    </a:cubicBezTo>
                    <a:cubicBezTo>
                      <a:pt x="775" y="78"/>
                      <a:pt x="773" y="77"/>
                      <a:pt x="772" y="77"/>
                    </a:cubicBezTo>
                    <a:cubicBezTo>
                      <a:pt x="770" y="77"/>
                      <a:pt x="768" y="77"/>
                      <a:pt x="767" y="78"/>
                    </a:cubicBezTo>
                    <a:cubicBezTo>
                      <a:pt x="765" y="78"/>
                      <a:pt x="764" y="78"/>
                      <a:pt x="763" y="79"/>
                    </a:cubicBezTo>
                    <a:cubicBezTo>
                      <a:pt x="762" y="79"/>
                      <a:pt x="761" y="80"/>
                      <a:pt x="760" y="80"/>
                    </a:cubicBezTo>
                    <a:cubicBezTo>
                      <a:pt x="759" y="80"/>
                      <a:pt x="758" y="81"/>
                      <a:pt x="757" y="81"/>
                    </a:cubicBezTo>
                    <a:cubicBezTo>
                      <a:pt x="757" y="81"/>
                      <a:pt x="756" y="80"/>
                      <a:pt x="756" y="80"/>
                    </a:cubicBezTo>
                    <a:cubicBezTo>
                      <a:pt x="755" y="79"/>
                      <a:pt x="755" y="78"/>
                      <a:pt x="755" y="77"/>
                    </a:cubicBezTo>
                    <a:cubicBezTo>
                      <a:pt x="755" y="76"/>
                      <a:pt x="755" y="75"/>
                      <a:pt x="755" y="73"/>
                    </a:cubicBezTo>
                    <a:cubicBezTo>
                      <a:pt x="755" y="72"/>
                      <a:pt x="756" y="71"/>
                      <a:pt x="756" y="69"/>
                    </a:cubicBezTo>
                    <a:cubicBezTo>
                      <a:pt x="756" y="68"/>
                      <a:pt x="757" y="67"/>
                      <a:pt x="758" y="66"/>
                    </a:cubicBezTo>
                    <a:cubicBezTo>
                      <a:pt x="758" y="64"/>
                      <a:pt x="759" y="63"/>
                      <a:pt x="760" y="63"/>
                    </a:cubicBezTo>
                    <a:cubicBezTo>
                      <a:pt x="761" y="62"/>
                      <a:pt x="763" y="61"/>
                      <a:pt x="765" y="60"/>
                    </a:cubicBezTo>
                    <a:cubicBezTo>
                      <a:pt x="768" y="59"/>
                      <a:pt x="772" y="58"/>
                      <a:pt x="776" y="58"/>
                    </a:cubicBezTo>
                    <a:cubicBezTo>
                      <a:pt x="781" y="58"/>
                      <a:pt x="785" y="59"/>
                      <a:pt x="789" y="61"/>
                    </a:cubicBezTo>
                    <a:cubicBezTo>
                      <a:pt x="793" y="62"/>
                      <a:pt x="796" y="65"/>
                      <a:pt x="798" y="68"/>
                    </a:cubicBezTo>
                    <a:cubicBezTo>
                      <a:pt x="800" y="72"/>
                      <a:pt x="802" y="77"/>
                      <a:pt x="803" y="83"/>
                    </a:cubicBezTo>
                    <a:cubicBezTo>
                      <a:pt x="805" y="89"/>
                      <a:pt x="805" y="96"/>
                      <a:pt x="805" y="104"/>
                    </a:cubicBezTo>
                    <a:cubicBezTo>
                      <a:pt x="805" y="106"/>
                      <a:pt x="805" y="107"/>
                      <a:pt x="805" y="109"/>
                    </a:cubicBezTo>
                    <a:cubicBezTo>
                      <a:pt x="805" y="111"/>
                      <a:pt x="805" y="113"/>
                      <a:pt x="805" y="115"/>
                    </a:cubicBezTo>
                    <a:lnTo>
                      <a:pt x="834" y="115"/>
                    </a:lnTo>
                    <a:lnTo>
                      <a:pt x="844" y="63"/>
                    </a:lnTo>
                    <a:cubicBezTo>
                      <a:pt x="844" y="62"/>
                      <a:pt x="845" y="62"/>
                      <a:pt x="845" y="62"/>
                    </a:cubicBezTo>
                    <a:cubicBezTo>
                      <a:pt x="846" y="61"/>
                      <a:pt x="846" y="61"/>
                      <a:pt x="848" y="61"/>
                    </a:cubicBezTo>
                    <a:cubicBezTo>
                      <a:pt x="849" y="60"/>
                      <a:pt x="850" y="60"/>
                      <a:pt x="851" y="60"/>
                    </a:cubicBezTo>
                    <a:cubicBezTo>
                      <a:pt x="853" y="60"/>
                      <a:pt x="854" y="60"/>
                      <a:pt x="856" y="60"/>
                    </a:cubicBezTo>
                    <a:cubicBezTo>
                      <a:pt x="858" y="60"/>
                      <a:pt x="860" y="60"/>
                      <a:pt x="861" y="60"/>
                    </a:cubicBezTo>
                    <a:cubicBezTo>
                      <a:pt x="863" y="60"/>
                      <a:pt x="864" y="60"/>
                      <a:pt x="865" y="61"/>
                    </a:cubicBezTo>
                    <a:cubicBezTo>
                      <a:pt x="866" y="61"/>
                      <a:pt x="866" y="61"/>
                      <a:pt x="867" y="62"/>
                    </a:cubicBezTo>
                    <a:cubicBezTo>
                      <a:pt x="867" y="62"/>
                      <a:pt x="867" y="62"/>
                      <a:pt x="867" y="63"/>
                    </a:cubicBezTo>
                    <a:lnTo>
                      <a:pt x="857" y="115"/>
                    </a:lnTo>
                    <a:lnTo>
                      <a:pt x="885" y="115"/>
                    </a:lnTo>
                    <a:close/>
                    <a:moveTo>
                      <a:pt x="1090" y="73"/>
                    </a:moveTo>
                    <a:cubicBezTo>
                      <a:pt x="1090" y="76"/>
                      <a:pt x="1090" y="80"/>
                      <a:pt x="1090" y="85"/>
                    </a:cubicBezTo>
                    <a:cubicBezTo>
                      <a:pt x="1090" y="90"/>
                      <a:pt x="1089" y="96"/>
                      <a:pt x="1088" y="102"/>
                    </a:cubicBezTo>
                    <a:cubicBezTo>
                      <a:pt x="1087" y="109"/>
                      <a:pt x="1086" y="115"/>
                      <a:pt x="1084" y="122"/>
                    </a:cubicBezTo>
                    <a:cubicBezTo>
                      <a:pt x="1082" y="129"/>
                      <a:pt x="1080" y="136"/>
                      <a:pt x="1077" y="143"/>
                    </a:cubicBezTo>
                    <a:cubicBezTo>
                      <a:pt x="1074" y="150"/>
                      <a:pt x="1071" y="156"/>
                      <a:pt x="1067" y="163"/>
                    </a:cubicBezTo>
                    <a:cubicBezTo>
                      <a:pt x="1063" y="169"/>
                      <a:pt x="1058" y="174"/>
                      <a:pt x="1053" y="179"/>
                    </a:cubicBezTo>
                    <a:cubicBezTo>
                      <a:pt x="1047" y="184"/>
                      <a:pt x="1041" y="187"/>
                      <a:pt x="1033" y="190"/>
                    </a:cubicBezTo>
                    <a:cubicBezTo>
                      <a:pt x="1026" y="193"/>
                      <a:pt x="1018" y="194"/>
                      <a:pt x="1009" y="194"/>
                    </a:cubicBezTo>
                    <a:cubicBezTo>
                      <a:pt x="1000" y="194"/>
                      <a:pt x="993" y="193"/>
                      <a:pt x="988" y="191"/>
                    </a:cubicBezTo>
                    <a:cubicBezTo>
                      <a:pt x="982" y="189"/>
                      <a:pt x="977" y="185"/>
                      <a:pt x="974" y="181"/>
                    </a:cubicBezTo>
                    <a:cubicBezTo>
                      <a:pt x="970" y="177"/>
                      <a:pt x="968" y="172"/>
                      <a:pt x="966" y="167"/>
                    </a:cubicBezTo>
                    <a:cubicBezTo>
                      <a:pt x="965" y="161"/>
                      <a:pt x="964" y="155"/>
                      <a:pt x="964" y="148"/>
                    </a:cubicBezTo>
                    <a:cubicBezTo>
                      <a:pt x="964" y="142"/>
                      <a:pt x="964" y="136"/>
                      <a:pt x="965" y="129"/>
                    </a:cubicBezTo>
                    <a:cubicBezTo>
                      <a:pt x="967" y="122"/>
                      <a:pt x="968" y="116"/>
                      <a:pt x="971" y="109"/>
                    </a:cubicBezTo>
                    <a:cubicBezTo>
                      <a:pt x="973" y="103"/>
                      <a:pt x="976" y="96"/>
                      <a:pt x="979" y="90"/>
                    </a:cubicBezTo>
                    <a:cubicBezTo>
                      <a:pt x="983" y="84"/>
                      <a:pt x="987" y="79"/>
                      <a:pt x="992" y="74"/>
                    </a:cubicBezTo>
                    <a:cubicBezTo>
                      <a:pt x="997" y="69"/>
                      <a:pt x="1003" y="66"/>
                      <a:pt x="1010" y="63"/>
                    </a:cubicBezTo>
                    <a:cubicBezTo>
                      <a:pt x="1016" y="60"/>
                      <a:pt x="1024" y="58"/>
                      <a:pt x="1032" y="58"/>
                    </a:cubicBezTo>
                    <a:cubicBezTo>
                      <a:pt x="1036" y="58"/>
                      <a:pt x="1041" y="59"/>
                      <a:pt x="1045" y="60"/>
                    </a:cubicBezTo>
                    <a:cubicBezTo>
                      <a:pt x="1049" y="61"/>
                      <a:pt x="1052" y="63"/>
                      <a:pt x="1055" y="65"/>
                    </a:cubicBezTo>
                    <a:cubicBezTo>
                      <a:pt x="1058" y="67"/>
                      <a:pt x="1061" y="69"/>
                      <a:pt x="1063" y="72"/>
                    </a:cubicBezTo>
                    <a:cubicBezTo>
                      <a:pt x="1065" y="75"/>
                      <a:pt x="1067" y="78"/>
                      <a:pt x="1068" y="82"/>
                    </a:cubicBezTo>
                    <a:cubicBezTo>
                      <a:pt x="1068" y="81"/>
                      <a:pt x="1068" y="80"/>
                      <a:pt x="1068" y="78"/>
                    </a:cubicBezTo>
                    <a:cubicBezTo>
                      <a:pt x="1068" y="77"/>
                      <a:pt x="1068" y="76"/>
                      <a:pt x="1068" y="74"/>
                    </a:cubicBezTo>
                    <a:cubicBezTo>
                      <a:pt x="1068" y="66"/>
                      <a:pt x="1067" y="59"/>
                      <a:pt x="1066" y="53"/>
                    </a:cubicBezTo>
                    <a:cubicBezTo>
                      <a:pt x="1064" y="46"/>
                      <a:pt x="1062" y="40"/>
                      <a:pt x="1058" y="36"/>
                    </a:cubicBezTo>
                    <a:cubicBezTo>
                      <a:pt x="1054" y="31"/>
                      <a:pt x="1049" y="27"/>
                      <a:pt x="1043" y="24"/>
                    </a:cubicBezTo>
                    <a:cubicBezTo>
                      <a:pt x="1037" y="21"/>
                      <a:pt x="1029" y="20"/>
                      <a:pt x="1020" y="20"/>
                    </a:cubicBezTo>
                    <a:cubicBezTo>
                      <a:pt x="1018" y="20"/>
                      <a:pt x="1016" y="19"/>
                      <a:pt x="1015" y="19"/>
                    </a:cubicBezTo>
                    <a:cubicBezTo>
                      <a:pt x="1014" y="18"/>
                      <a:pt x="1014" y="17"/>
                      <a:pt x="1014" y="15"/>
                    </a:cubicBezTo>
                    <a:cubicBezTo>
                      <a:pt x="1014" y="15"/>
                      <a:pt x="1014" y="14"/>
                      <a:pt x="1014" y="14"/>
                    </a:cubicBezTo>
                    <a:cubicBezTo>
                      <a:pt x="1014" y="13"/>
                      <a:pt x="1014" y="12"/>
                      <a:pt x="1014" y="11"/>
                    </a:cubicBezTo>
                    <a:cubicBezTo>
                      <a:pt x="1014" y="10"/>
                      <a:pt x="1015" y="9"/>
                      <a:pt x="1015" y="8"/>
                    </a:cubicBezTo>
                    <a:cubicBezTo>
                      <a:pt x="1015" y="7"/>
                      <a:pt x="1015" y="6"/>
                      <a:pt x="1016" y="5"/>
                    </a:cubicBezTo>
                    <a:cubicBezTo>
                      <a:pt x="1016" y="4"/>
                      <a:pt x="1016" y="4"/>
                      <a:pt x="1017" y="3"/>
                    </a:cubicBezTo>
                    <a:cubicBezTo>
                      <a:pt x="1017" y="2"/>
                      <a:pt x="1017" y="2"/>
                      <a:pt x="1018" y="1"/>
                    </a:cubicBezTo>
                    <a:cubicBezTo>
                      <a:pt x="1018" y="1"/>
                      <a:pt x="1019" y="0"/>
                      <a:pt x="1020" y="0"/>
                    </a:cubicBezTo>
                    <a:cubicBezTo>
                      <a:pt x="1021" y="0"/>
                      <a:pt x="1023" y="0"/>
                      <a:pt x="1025" y="0"/>
                    </a:cubicBezTo>
                    <a:cubicBezTo>
                      <a:pt x="1035" y="0"/>
                      <a:pt x="1044" y="1"/>
                      <a:pt x="1052" y="4"/>
                    </a:cubicBezTo>
                    <a:cubicBezTo>
                      <a:pt x="1060" y="6"/>
                      <a:pt x="1067" y="11"/>
                      <a:pt x="1073" y="17"/>
                    </a:cubicBezTo>
                    <a:cubicBezTo>
                      <a:pt x="1078" y="22"/>
                      <a:pt x="1083" y="30"/>
                      <a:pt x="1086" y="39"/>
                    </a:cubicBezTo>
                    <a:cubicBezTo>
                      <a:pt x="1089" y="49"/>
                      <a:pt x="1090" y="60"/>
                      <a:pt x="1090" y="73"/>
                    </a:cubicBezTo>
                    <a:close/>
                    <a:moveTo>
                      <a:pt x="1059" y="116"/>
                    </a:moveTo>
                    <a:cubicBezTo>
                      <a:pt x="1059" y="104"/>
                      <a:pt x="1057" y="95"/>
                      <a:pt x="1052" y="88"/>
                    </a:cubicBezTo>
                    <a:cubicBezTo>
                      <a:pt x="1048" y="81"/>
                      <a:pt x="1041" y="78"/>
                      <a:pt x="1032" y="78"/>
                    </a:cubicBezTo>
                    <a:cubicBezTo>
                      <a:pt x="1026" y="78"/>
                      <a:pt x="1021" y="79"/>
                      <a:pt x="1017" y="81"/>
                    </a:cubicBezTo>
                    <a:cubicBezTo>
                      <a:pt x="1012" y="84"/>
                      <a:pt x="1008" y="87"/>
                      <a:pt x="1005" y="91"/>
                    </a:cubicBezTo>
                    <a:cubicBezTo>
                      <a:pt x="1002" y="95"/>
                      <a:pt x="999" y="99"/>
                      <a:pt x="997" y="104"/>
                    </a:cubicBezTo>
                    <a:cubicBezTo>
                      <a:pt x="995" y="109"/>
                      <a:pt x="993" y="114"/>
                      <a:pt x="991" y="119"/>
                    </a:cubicBezTo>
                    <a:cubicBezTo>
                      <a:pt x="990" y="124"/>
                      <a:pt x="989" y="129"/>
                      <a:pt x="989" y="134"/>
                    </a:cubicBezTo>
                    <a:cubicBezTo>
                      <a:pt x="988" y="138"/>
                      <a:pt x="988" y="142"/>
                      <a:pt x="988" y="145"/>
                    </a:cubicBezTo>
                    <a:cubicBezTo>
                      <a:pt x="988" y="155"/>
                      <a:pt x="990" y="162"/>
                      <a:pt x="993" y="167"/>
                    </a:cubicBezTo>
                    <a:cubicBezTo>
                      <a:pt x="997" y="172"/>
                      <a:pt x="1003" y="175"/>
                      <a:pt x="1011" y="175"/>
                    </a:cubicBezTo>
                    <a:cubicBezTo>
                      <a:pt x="1017" y="175"/>
                      <a:pt x="1022" y="174"/>
                      <a:pt x="1026" y="172"/>
                    </a:cubicBezTo>
                    <a:cubicBezTo>
                      <a:pt x="1031" y="170"/>
                      <a:pt x="1035" y="168"/>
                      <a:pt x="1039" y="164"/>
                    </a:cubicBezTo>
                    <a:cubicBezTo>
                      <a:pt x="1042" y="161"/>
                      <a:pt x="1045" y="158"/>
                      <a:pt x="1048" y="154"/>
                    </a:cubicBezTo>
                    <a:cubicBezTo>
                      <a:pt x="1050" y="150"/>
                      <a:pt x="1053" y="145"/>
                      <a:pt x="1054" y="141"/>
                    </a:cubicBezTo>
                    <a:cubicBezTo>
                      <a:pt x="1056" y="137"/>
                      <a:pt x="1057" y="132"/>
                      <a:pt x="1058" y="128"/>
                    </a:cubicBezTo>
                    <a:cubicBezTo>
                      <a:pt x="1059" y="124"/>
                      <a:pt x="1059" y="120"/>
                      <a:pt x="1059" y="116"/>
                    </a:cubicBezTo>
                    <a:close/>
                    <a:moveTo>
                      <a:pt x="1229" y="63"/>
                    </a:moveTo>
                    <a:cubicBezTo>
                      <a:pt x="1229" y="64"/>
                      <a:pt x="1229" y="65"/>
                      <a:pt x="1229" y="66"/>
                    </a:cubicBezTo>
                    <a:cubicBezTo>
                      <a:pt x="1229" y="67"/>
                      <a:pt x="1229" y="68"/>
                      <a:pt x="1228" y="69"/>
                    </a:cubicBezTo>
                    <a:cubicBezTo>
                      <a:pt x="1225" y="78"/>
                      <a:pt x="1222" y="86"/>
                      <a:pt x="1218" y="95"/>
                    </a:cubicBezTo>
                    <a:cubicBezTo>
                      <a:pt x="1215" y="104"/>
                      <a:pt x="1211" y="114"/>
                      <a:pt x="1206" y="124"/>
                    </a:cubicBezTo>
                    <a:cubicBezTo>
                      <a:pt x="1201" y="134"/>
                      <a:pt x="1195" y="144"/>
                      <a:pt x="1189" y="155"/>
                    </a:cubicBezTo>
                    <a:cubicBezTo>
                      <a:pt x="1183" y="165"/>
                      <a:pt x="1175" y="177"/>
                      <a:pt x="1166" y="189"/>
                    </a:cubicBezTo>
                    <a:lnTo>
                      <a:pt x="1131" y="237"/>
                    </a:lnTo>
                    <a:cubicBezTo>
                      <a:pt x="1130" y="238"/>
                      <a:pt x="1129" y="239"/>
                      <a:pt x="1128" y="239"/>
                    </a:cubicBezTo>
                    <a:cubicBezTo>
                      <a:pt x="1128" y="240"/>
                      <a:pt x="1127" y="240"/>
                      <a:pt x="1125" y="241"/>
                    </a:cubicBezTo>
                    <a:cubicBezTo>
                      <a:pt x="1124" y="241"/>
                      <a:pt x="1123" y="241"/>
                      <a:pt x="1121" y="242"/>
                    </a:cubicBezTo>
                    <a:cubicBezTo>
                      <a:pt x="1119" y="242"/>
                      <a:pt x="1117" y="242"/>
                      <a:pt x="1115" y="242"/>
                    </a:cubicBezTo>
                    <a:cubicBezTo>
                      <a:pt x="1113" y="242"/>
                      <a:pt x="1111" y="242"/>
                      <a:pt x="1109" y="241"/>
                    </a:cubicBezTo>
                    <a:cubicBezTo>
                      <a:pt x="1107" y="241"/>
                      <a:pt x="1106" y="241"/>
                      <a:pt x="1105" y="240"/>
                    </a:cubicBezTo>
                    <a:cubicBezTo>
                      <a:pt x="1104" y="240"/>
                      <a:pt x="1104" y="239"/>
                      <a:pt x="1104" y="238"/>
                    </a:cubicBezTo>
                    <a:cubicBezTo>
                      <a:pt x="1104" y="237"/>
                      <a:pt x="1105" y="236"/>
                      <a:pt x="1106" y="235"/>
                    </a:cubicBezTo>
                    <a:lnTo>
                      <a:pt x="1139" y="192"/>
                    </a:lnTo>
                    <a:lnTo>
                      <a:pt x="1119" y="70"/>
                    </a:lnTo>
                    <a:cubicBezTo>
                      <a:pt x="1119" y="69"/>
                      <a:pt x="1119" y="68"/>
                      <a:pt x="1119" y="67"/>
                    </a:cubicBezTo>
                    <a:cubicBezTo>
                      <a:pt x="1118" y="67"/>
                      <a:pt x="1118" y="66"/>
                      <a:pt x="1118" y="65"/>
                    </a:cubicBezTo>
                    <a:cubicBezTo>
                      <a:pt x="1118" y="64"/>
                      <a:pt x="1119" y="63"/>
                      <a:pt x="1119" y="63"/>
                    </a:cubicBezTo>
                    <a:cubicBezTo>
                      <a:pt x="1119" y="62"/>
                      <a:pt x="1120" y="61"/>
                      <a:pt x="1121" y="61"/>
                    </a:cubicBezTo>
                    <a:cubicBezTo>
                      <a:pt x="1122" y="60"/>
                      <a:pt x="1123" y="60"/>
                      <a:pt x="1124" y="60"/>
                    </a:cubicBezTo>
                    <a:cubicBezTo>
                      <a:pt x="1126" y="60"/>
                      <a:pt x="1128" y="60"/>
                      <a:pt x="1130" y="60"/>
                    </a:cubicBezTo>
                    <a:cubicBezTo>
                      <a:pt x="1132" y="60"/>
                      <a:pt x="1134" y="60"/>
                      <a:pt x="1136" y="60"/>
                    </a:cubicBezTo>
                    <a:cubicBezTo>
                      <a:pt x="1137" y="60"/>
                      <a:pt x="1138" y="60"/>
                      <a:pt x="1139" y="61"/>
                    </a:cubicBezTo>
                    <a:cubicBezTo>
                      <a:pt x="1140" y="61"/>
                      <a:pt x="1140" y="62"/>
                      <a:pt x="1141" y="62"/>
                    </a:cubicBezTo>
                    <a:cubicBezTo>
                      <a:pt x="1141" y="63"/>
                      <a:pt x="1141" y="64"/>
                      <a:pt x="1141" y="65"/>
                    </a:cubicBezTo>
                    <a:lnTo>
                      <a:pt x="1158" y="166"/>
                    </a:lnTo>
                    <a:lnTo>
                      <a:pt x="1158" y="166"/>
                    </a:lnTo>
                    <a:cubicBezTo>
                      <a:pt x="1163" y="158"/>
                      <a:pt x="1169" y="150"/>
                      <a:pt x="1173" y="141"/>
                    </a:cubicBezTo>
                    <a:cubicBezTo>
                      <a:pt x="1178" y="133"/>
                      <a:pt x="1182" y="125"/>
                      <a:pt x="1186" y="116"/>
                    </a:cubicBezTo>
                    <a:cubicBezTo>
                      <a:pt x="1190" y="108"/>
                      <a:pt x="1193" y="99"/>
                      <a:pt x="1197" y="90"/>
                    </a:cubicBezTo>
                    <a:cubicBezTo>
                      <a:pt x="1200" y="82"/>
                      <a:pt x="1203" y="73"/>
                      <a:pt x="1206" y="64"/>
                    </a:cubicBezTo>
                    <a:cubicBezTo>
                      <a:pt x="1206" y="63"/>
                      <a:pt x="1206" y="63"/>
                      <a:pt x="1207" y="62"/>
                    </a:cubicBezTo>
                    <a:cubicBezTo>
                      <a:pt x="1207" y="62"/>
                      <a:pt x="1208" y="61"/>
                      <a:pt x="1209" y="61"/>
                    </a:cubicBezTo>
                    <a:cubicBezTo>
                      <a:pt x="1210" y="60"/>
                      <a:pt x="1211" y="60"/>
                      <a:pt x="1213" y="60"/>
                    </a:cubicBezTo>
                    <a:cubicBezTo>
                      <a:pt x="1215" y="60"/>
                      <a:pt x="1217" y="60"/>
                      <a:pt x="1219" y="60"/>
                    </a:cubicBezTo>
                    <a:cubicBezTo>
                      <a:pt x="1223" y="60"/>
                      <a:pt x="1226" y="60"/>
                      <a:pt x="1227" y="61"/>
                    </a:cubicBezTo>
                    <a:cubicBezTo>
                      <a:pt x="1229" y="61"/>
                      <a:pt x="1229" y="62"/>
                      <a:pt x="1229" y="63"/>
                    </a:cubicBezTo>
                    <a:close/>
                    <a:moveTo>
                      <a:pt x="1343" y="188"/>
                    </a:moveTo>
                    <a:cubicBezTo>
                      <a:pt x="1343" y="189"/>
                      <a:pt x="1343" y="190"/>
                      <a:pt x="1342" y="190"/>
                    </a:cubicBezTo>
                    <a:cubicBezTo>
                      <a:pt x="1342" y="191"/>
                      <a:pt x="1341" y="191"/>
                      <a:pt x="1340" y="191"/>
                    </a:cubicBezTo>
                    <a:cubicBezTo>
                      <a:pt x="1339" y="192"/>
                      <a:pt x="1338" y="192"/>
                      <a:pt x="1336" y="192"/>
                    </a:cubicBezTo>
                    <a:cubicBezTo>
                      <a:pt x="1335" y="192"/>
                      <a:pt x="1333" y="192"/>
                      <a:pt x="1331" y="192"/>
                    </a:cubicBezTo>
                    <a:cubicBezTo>
                      <a:pt x="1328" y="192"/>
                      <a:pt x="1327" y="192"/>
                      <a:pt x="1325" y="192"/>
                    </a:cubicBezTo>
                    <a:cubicBezTo>
                      <a:pt x="1324" y="192"/>
                      <a:pt x="1323" y="192"/>
                      <a:pt x="1322" y="191"/>
                    </a:cubicBezTo>
                    <a:cubicBezTo>
                      <a:pt x="1321" y="191"/>
                      <a:pt x="1321" y="191"/>
                      <a:pt x="1320" y="190"/>
                    </a:cubicBezTo>
                    <a:cubicBezTo>
                      <a:pt x="1320" y="190"/>
                      <a:pt x="1320" y="189"/>
                      <a:pt x="1320" y="188"/>
                    </a:cubicBezTo>
                    <a:lnTo>
                      <a:pt x="1331" y="134"/>
                    </a:lnTo>
                    <a:lnTo>
                      <a:pt x="1270" y="134"/>
                    </a:lnTo>
                    <a:lnTo>
                      <a:pt x="1259" y="188"/>
                    </a:lnTo>
                    <a:cubicBezTo>
                      <a:pt x="1259" y="189"/>
                      <a:pt x="1259" y="190"/>
                      <a:pt x="1258" y="190"/>
                    </a:cubicBezTo>
                    <a:cubicBezTo>
                      <a:pt x="1258" y="191"/>
                      <a:pt x="1257" y="191"/>
                      <a:pt x="1256" y="191"/>
                    </a:cubicBezTo>
                    <a:cubicBezTo>
                      <a:pt x="1255" y="192"/>
                      <a:pt x="1254" y="192"/>
                      <a:pt x="1252" y="192"/>
                    </a:cubicBezTo>
                    <a:cubicBezTo>
                      <a:pt x="1251" y="192"/>
                      <a:pt x="1249" y="192"/>
                      <a:pt x="1247" y="192"/>
                    </a:cubicBezTo>
                    <a:cubicBezTo>
                      <a:pt x="1245" y="192"/>
                      <a:pt x="1243" y="192"/>
                      <a:pt x="1241" y="192"/>
                    </a:cubicBezTo>
                    <a:cubicBezTo>
                      <a:pt x="1240" y="192"/>
                      <a:pt x="1239" y="192"/>
                      <a:pt x="1238" y="191"/>
                    </a:cubicBezTo>
                    <a:cubicBezTo>
                      <a:pt x="1237" y="191"/>
                      <a:pt x="1237" y="191"/>
                      <a:pt x="1236" y="190"/>
                    </a:cubicBezTo>
                    <a:cubicBezTo>
                      <a:pt x="1236" y="190"/>
                      <a:pt x="1236" y="189"/>
                      <a:pt x="1236" y="188"/>
                    </a:cubicBezTo>
                    <a:lnTo>
                      <a:pt x="1261" y="64"/>
                    </a:lnTo>
                    <a:cubicBezTo>
                      <a:pt x="1261" y="63"/>
                      <a:pt x="1261" y="63"/>
                      <a:pt x="1262" y="62"/>
                    </a:cubicBezTo>
                    <a:cubicBezTo>
                      <a:pt x="1262" y="62"/>
                      <a:pt x="1263" y="61"/>
                      <a:pt x="1264" y="61"/>
                    </a:cubicBezTo>
                    <a:cubicBezTo>
                      <a:pt x="1265" y="60"/>
                      <a:pt x="1266" y="60"/>
                      <a:pt x="1268" y="60"/>
                    </a:cubicBezTo>
                    <a:cubicBezTo>
                      <a:pt x="1269" y="60"/>
                      <a:pt x="1271" y="60"/>
                      <a:pt x="1273" y="60"/>
                    </a:cubicBezTo>
                    <a:cubicBezTo>
                      <a:pt x="1275" y="60"/>
                      <a:pt x="1277" y="60"/>
                      <a:pt x="1279" y="60"/>
                    </a:cubicBezTo>
                    <a:cubicBezTo>
                      <a:pt x="1280" y="60"/>
                      <a:pt x="1281" y="60"/>
                      <a:pt x="1282" y="61"/>
                    </a:cubicBezTo>
                    <a:cubicBezTo>
                      <a:pt x="1283" y="61"/>
                      <a:pt x="1283" y="62"/>
                      <a:pt x="1284" y="62"/>
                    </a:cubicBezTo>
                    <a:cubicBezTo>
                      <a:pt x="1284" y="63"/>
                      <a:pt x="1284" y="63"/>
                      <a:pt x="1284" y="64"/>
                    </a:cubicBezTo>
                    <a:lnTo>
                      <a:pt x="1274" y="115"/>
                    </a:lnTo>
                    <a:lnTo>
                      <a:pt x="1335" y="115"/>
                    </a:lnTo>
                    <a:lnTo>
                      <a:pt x="1345" y="64"/>
                    </a:lnTo>
                    <a:cubicBezTo>
                      <a:pt x="1345" y="63"/>
                      <a:pt x="1345" y="63"/>
                      <a:pt x="1346" y="62"/>
                    </a:cubicBezTo>
                    <a:cubicBezTo>
                      <a:pt x="1346" y="62"/>
                      <a:pt x="1347" y="61"/>
                      <a:pt x="1348" y="61"/>
                    </a:cubicBezTo>
                    <a:cubicBezTo>
                      <a:pt x="1349" y="60"/>
                      <a:pt x="1350" y="60"/>
                      <a:pt x="1352" y="60"/>
                    </a:cubicBezTo>
                    <a:cubicBezTo>
                      <a:pt x="1353" y="60"/>
                      <a:pt x="1355" y="60"/>
                      <a:pt x="1357" y="60"/>
                    </a:cubicBezTo>
                    <a:cubicBezTo>
                      <a:pt x="1359" y="60"/>
                      <a:pt x="1361" y="60"/>
                      <a:pt x="1363" y="60"/>
                    </a:cubicBezTo>
                    <a:cubicBezTo>
                      <a:pt x="1364" y="60"/>
                      <a:pt x="1365" y="60"/>
                      <a:pt x="1366" y="61"/>
                    </a:cubicBezTo>
                    <a:cubicBezTo>
                      <a:pt x="1367" y="61"/>
                      <a:pt x="1367" y="62"/>
                      <a:pt x="1367" y="62"/>
                    </a:cubicBezTo>
                    <a:cubicBezTo>
                      <a:pt x="1368" y="63"/>
                      <a:pt x="1368" y="63"/>
                      <a:pt x="1368" y="64"/>
                    </a:cubicBezTo>
                    <a:lnTo>
                      <a:pt x="1343" y="188"/>
                    </a:lnTo>
                    <a:close/>
                    <a:moveTo>
                      <a:pt x="1488" y="188"/>
                    </a:moveTo>
                    <a:cubicBezTo>
                      <a:pt x="1488" y="190"/>
                      <a:pt x="1487" y="191"/>
                      <a:pt x="1485" y="191"/>
                    </a:cubicBezTo>
                    <a:cubicBezTo>
                      <a:pt x="1483" y="192"/>
                      <a:pt x="1481" y="192"/>
                      <a:pt x="1477" y="192"/>
                    </a:cubicBezTo>
                    <a:cubicBezTo>
                      <a:pt x="1475" y="192"/>
                      <a:pt x="1473" y="192"/>
                      <a:pt x="1472" y="192"/>
                    </a:cubicBezTo>
                    <a:cubicBezTo>
                      <a:pt x="1471" y="192"/>
                      <a:pt x="1470" y="192"/>
                      <a:pt x="1469" y="191"/>
                    </a:cubicBezTo>
                    <a:cubicBezTo>
                      <a:pt x="1469" y="191"/>
                      <a:pt x="1468" y="191"/>
                      <a:pt x="1468" y="190"/>
                    </a:cubicBezTo>
                    <a:cubicBezTo>
                      <a:pt x="1467" y="190"/>
                      <a:pt x="1467" y="189"/>
                      <a:pt x="1468" y="188"/>
                    </a:cubicBezTo>
                    <a:lnTo>
                      <a:pt x="1472" y="165"/>
                    </a:lnTo>
                    <a:cubicBezTo>
                      <a:pt x="1471" y="168"/>
                      <a:pt x="1469" y="171"/>
                      <a:pt x="1466" y="174"/>
                    </a:cubicBezTo>
                    <a:cubicBezTo>
                      <a:pt x="1463" y="178"/>
                      <a:pt x="1459" y="181"/>
                      <a:pt x="1455" y="184"/>
                    </a:cubicBezTo>
                    <a:cubicBezTo>
                      <a:pt x="1450" y="187"/>
                      <a:pt x="1446" y="189"/>
                      <a:pt x="1440" y="191"/>
                    </a:cubicBezTo>
                    <a:cubicBezTo>
                      <a:pt x="1435" y="193"/>
                      <a:pt x="1430" y="194"/>
                      <a:pt x="1424" y="194"/>
                    </a:cubicBezTo>
                    <a:cubicBezTo>
                      <a:pt x="1417" y="194"/>
                      <a:pt x="1411" y="193"/>
                      <a:pt x="1406" y="190"/>
                    </a:cubicBezTo>
                    <a:cubicBezTo>
                      <a:pt x="1401" y="188"/>
                      <a:pt x="1398" y="184"/>
                      <a:pt x="1395" y="180"/>
                    </a:cubicBezTo>
                    <a:cubicBezTo>
                      <a:pt x="1392" y="176"/>
                      <a:pt x="1390" y="171"/>
                      <a:pt x="1389" y="166"/>
                    </a:cubicBezTo>
                    <a:cubicBezTo>
                      <a:pt x="1388" y="161"/>
                      <a:pt x="1387" y="155"/>
                      <a:pt x="1387" y="149"/>
                    </a:cubicBezTo>
                    <a:cubicBezTo>
                      <a:pt x="1387" y="144"/>
                      <a:pt x="1388" y="138"/>
                      <a:pt x="1389" y="132"/>
                    </a:cubicBezTo>
                    <a:cubicBezTo>
                      <a:pt x="1390" y="125"/>
                      <a:pt x="1391" y="119"/>
                      <a:pt x="1393" y="112"/>
                    </a:cubicBezTo>
                    <a:cubicBezTo>
                      <a:pt x="1396" y="105"/>
                      <a:pt x="1398" y="99"/>
                      <a:pt x="1402" y="92"/>
                    </a:cubicBezTo>
                    <a:cubicBezTo>
                      <a:pt x="1405" y="86"/>
                      <a:pt x="1409" y="80"/>
                      <a:pt x="1414" y="75"/>
                    </a:cubicBezTo>
                    <a:cubicBezTo>
                      <a:pt x="1419" y="70"/>
                      <a:pt x="1425" y="66"/>
                      <a:pt x="1431" y="63"/>
                    </a:cubicBezTo>
                    <a:cubicBezTo>
                      <a:pt x="1438" y="59"/>
                      <a:pt x="1445" y="58"/>
                      <a:pt x="1453" y="58"/>
                    </a:cubicBezTo>
                    <a:cubicBezTo>
                      <a:pt x="1461" y="58"/>
                      <a:pt x="1468" y="60"/>
                      <a:pt x="1474" y="63"/>
                    </a:cubicBezTo>
                    <a:cubicBezTo>
                      <a:pt x="1480" y="66"/>
                      <a:pt x="1485" y="71"/>
                      <a:pt x="1490" y="77"/>
                    </a:cubicBezTo>
                    <a:lnTo>
                      <a:pt x="1492" y="64"/>
                    </a:lnTo>
                    <a:cubicBezTo>
                      <a:pt x="1493" y="63"/>
                      <a:pt x="1494" y="61"/>
                      <a:pt x="1496" y="61"/>
                    </a:cubicBezTo>
                    <a:cubicBezTo>
                      <a:pt x="1497" y="60"/>
                      <a:pt x="1500" y="60"/>
                      <a:pt x="1504" y="60"/>
                    </a:cubicBezTo>
                    <a:cubicBezTo>
                      <a:pt x="1506" y="60"/>
                      <a:pt x="1507" y="60"/>
                      <a:pt x="1508" y="60"/>
                    </a:cubicBezTo>
                    <a:cubicBezTo>
                      <a:pt x="1510" y="60"/>
                      <a:pt x="1511" y="60"/>
                      <a:pt x="1511" y="61"/>
                    </a:cubicBezTo>
                    <a:cubicBezTo>
                      <a:pt x="1512" y="61"/>
                      <a:pt x="1512" y="62"/>
                      <a:pt x="1513" y="62"/>
                    </a:cubicBezTo>
                    <a:cubicBezTo>
                      <a:pt x="1513" y="63"/>
                      <a:pt x="1513" y="63"/>
                      <a:pt x="1513" y="64"/>
                    </a:cubicBezTo>
                    <a:lnTo>
                      <a:pt x="1488" y="188"/>
                    </a:lnTo>
                    <a:close/>
                    <a:moveTo>
                      <a:pt x="1484" y="97"/>
                    </a:moveTo>
                    <a:cubicBezTo>
                      <a:pt x="1479" y="90"/>
                      <a:pt x="1475" y="85"/>
                      <a:pt x="1470" y="82"/>
                    </a:cubicBezTo>
                    <a:cubicBezTo>
                      <a:pt x="1465" y="79"/>
                      <a:pt x="1459" y="78"/>
                      <a:pt x="1453" y="78"/>
                    </a:cubicBezTo>
                    <a:cubicBezTo>
                      <a:pt x="1448" y="78"/>
                      <a:pt x="1443" y="79"/>
                      <a:pt x="1439" y="81"/>
                    </a:cubicBezTo>
                    <a:cubicBezTo>
                      <a:pt x="1435" y="83"/>
                      <a:pt x="1432" y="86"/>
                      <a:pt x="1429" y="90"/>
                    </a:cubicBezTo>
                    <a:cubicBezTo>
                      <a:pt x="1426" y="94"/>
                      <a:pt x="1423" y="99"/>
                      <a:pt x="1421" y="103"/>
                    </a:cubicBezTo>
                    <a:cubicBezTo>
                      <a:pt x="1419" y="108"/>
                      <a:pt x="1417" y="113"/>
                      <a:pt x="1415" y="119"/>
                    </a:cubicBezTo>
                    <a:cubicBezTo>
                      <a:pt x="1414" y="124"/>
                      <a:pt x="1413" y="129"/>
                      <a:pt x="1412" y="134"/>
                    </a:cubicBezTo>
                    <a:cubicBezTo>
                      <a:pt x="1411" y="139"/>
                      <a:pt x="1411" y="144"/>
                      <a:pt x="1411" y="148"/>
                    </a:cubicBezTo>
                    <a:cubicBezTo>
                      <a:pt x="1411" y="151"/>
                      <a:pt x="1411" y="154"/>
                      <a:pt x="1412" y="157"/>
                    </a:cubicBezTo>
                    <a:cubicBezTo>
                      <a:pt x="1412" y="161"/>
                      <a:pt x="1413" y="163"/>
                      <a:pt x="1415" y="166"/>
                    </a:cubicBezTo>
                    <a:cubicBezTo>
                      <a:pt x="1416" y="169"/>
                      <a:pt x="1418" y="171"/>
                      <a:pt x="1421" y="172"/>
                    </a:cubicBezTo>
                    <a:cubicBezTo>
                      <a:pt x="1423" y="174"/>
                      <a:pt x="1426" y="175"/>
                      <a:pt x="1430" y="175"/>
                    </a:cubicBezTo>
                    <a:cubicBezTo>
                      <a:pt x="1435" y="175"/>
                      <a:pt x="1440" y="173"/>
                      <a:pt x="1445" y="171"/>
                    </a:cubicBezTo>
                    <a:cubicBezTo>
                      <a:pt x="1451" y="168"/>
                      <a:pt x="1455" y="164"/>
                      <a:pt x="1460" y="159"/>
                    </a:cubicBezTo>
                    <a:cubicBezTo>
                      <a:pt x="1464" y="154"/>
                      <a:pt x="1468" y="148"/>
                      <a:pt x="1471" y="141"/>
                    </a:cubicBezTo>
                    <a:cubicBezTo>
                      <a:pt x="1475" y="135"/>
                      <a:pt x="1477" y="127"/>
                      <a:pt x="1479" y="119"/>
                    </a:cubicBezTo>
                    <a:lnTo>
                      <a:pt x="1484" y="97"/>
                    </a:lnTo>
                    <a:close/>
                  </a:path>
                </a:pathLst>
              </a:custGeom>
              <a:solidFill>
                <a:srgbClr val="4C4C4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1" name="Freeform 1213"/>
              <p:cNvSpPr>
                <a:spLocks noEditPoints="1"/>
              </p:cNvSpPr>
              <p:nvPr/>
            </p:nvSpPr>
            <p:spPr bwMode="auto">
              <a:xfrm>
                <a:off x="6213" y="1691"/>
                <a:ext cx="357" cy="56"/>
              </a:xfrm>
              <a:custGeom>
                <a:avLst/>
                <a:gdLst/>
                <a:ahLst/>
                <a:cxnLst>
                  <a:cxn ang="0">
                    <a:pos x="49" y="191"/>
                  </a:cxn>
                  <a:cxn ang="0">
                    <a:pos x="2" y="242"/>
                  </a:cxn>
                  <a:cxn ang="0">
                    <a:pos x="55" y="65"/>
                  </a:cxn>
                  <a:cxn ang="0">
                    <a:pos x="136" y="104"/>
                  </a:cxn>
                  <a:cxn ang="0">
                    <a:pos x="44" y="134"/>
                  </a:cxn>
                  <a:cxn ang="0">
                    <a:pos x="112" y="105"/>
                  </a:cxn>
                  <a:cxn ang="0">
                    <a:pos x="169" y="183"/>
                  </a:cxn>
                  <a:cxn ang="0">
                    <a:pos x="253" y="62"/>
                  </a:cxn>
                  <a:cxn ang="0">
                    <a:pos x="214" y="81"/>
                  </a:cxn>
                  <a:cxn ang="0">
                    <a:pos x="209" y="176"/>
                  </a:cxn>
                  <a:cxn ang="0">
                    <a:pos x="426" y="103"/>
                  </a:cxn>
                  <a:cxn ang="0">
                    <a:pos x="305" y="168"/>
                  </a:cxn>
                  <a:cxn ang="0">
                    <a:pos x="394" y="66"/>
                  </a:cxn>
                  <a:cxn ang="0">
                    <a:pos x="353" y="20"/>
                  </a:cxn>
                  <a:cxn ang="0">
                    <a:pos x="363" y="1"/>
                  </a:cxn>
                  <a:cxn ang="0">
                    <a:pos x="343" y="92"/>
                  </a:cxn>
                  <a:cxn ang="0">
                    <a:pos x="386" y="155"/>
                  </a:cxn>
                  <a:cxn ang="0">
                    <a:pos x="537" y="193"/>
                  </a:cxn>
                  <a:cxn ang="0">
                    <a:pos x="465" y="193"/>
                  </a:cxn>
                  <a:cxn ang="0">
                    <a:pos x="480" y="61"/>
                  </a:cxn>
                  <a:cxn ang="0">
                    <a:pos x="558" y="63"/>
                  </a:cxn>
                  <a:cxn ang="0">
                    <a:pos x="743" y="189"/>
                  </a:cxn>
                  <a:cxn ang="0">
                    <a:pos x="745" y="65"/>
                  </a:cxn>
                  <a:cxn ang="0">
                    <a:pos x="743" y="189"/>
                  </a:cxn>
                  <a:cxn ang="0">
                    <a:pos x="604" y="147"/>
                  </a:cxn>
                  <a:cxn ang="0">
                    <a:pos x="643" y="65"/>
                  </a:cxn>
                  <a:cxn ang="0">
                    <a:pos x="680" y="135"/>
                  </a:cxn>
                  <a:cxn ang="0">
                    <a:pos x="661" y="175"/>
                  </a:cxn>
                  <a:cxn ang="0">
                    <a:pos x="873" y="193"/>
                  </a:cxn>
                  <a:cxn ang="0">
                    <a:pos x="809" y="193"/>
                  </a:cxn>
                  <a:cxn ang="0">
                    <a:pos x="816" y="61"/>
                  </a:cxn>
                  <a:cxn ang="0">
                    <a:pos x="816" y="165"/>
                  </a:cxn>
                  <a:cxn ang="0">
                    <a:pos x="891" y="63"/>
                  </a:cxn>
                  <a:cxn ang="0">
                    <a:pos x="912" y="6"/>
                  </a:cxn>
                  <a:cxn ang="0">
                    <a:pos x="829" y="27"/>
                  </a:cxn>
                  <a:cxn ang="0">
                    <a:pos x="847" y="3"/>
                  </a:cxn>
                  <a:cxn ang="0">
                    <a:pos x="888" y="16"/>
                  </a:cxn>
                  <a:cxn ang="0">
                    <a:pos x="912" y="6"/>
                  </a:cxn>
                  <a:cxn ang="0">
                    <a:pos x="1130" y="21"/>
                  </a:cxn>
                  <a:cxn ang="0">
                    <a:pos x="1050" y="67"/>
                  </a:cxn>
                  <a:cxn ang="0">
                    <a:pos x="1105" y="166"/>
                  </a:cxn>
                  <a:cxn ang="0">
                    <a:pos x="1003" y="110"/>
                  </a:cxn>
                  <a:cxn ang="0">
                    <a:pos x="1140" y="3"/>
                  </a:cxn>
                  <a:cxn ang="0">
                    <a:pos x="1023" y="145"/>
                  </a:cxn>
                  <a:cxn ang="0">
                    <a:pos x="1247" y="189"/>
                  </a:cxn>
                  <a:cxn ang="0">
                    <a:pos x="1214" y="185"/>
                  </a:cxn>
                  <a:cxn ang="0">
                    <a:pos x="1161" y="93"/>
                  </a:cxn>
                  <a:cxn ang="0">
                    <a:pos x="1268" y="61"/>
                  </a:cxn>
                  <a:cxn ang="0">
                    <a:pos x="1188" y="91"/>
                  </a:cxn>
                  <a:cxn ang="0">
                    <a:pos x="1205" y="172"/>
                  </a:cxn>
                  <a:cxn ang="0">
                    <a:pos x="1379" y="193"/>
                  </a:cxn>
                  <a:cxn ang="0">
                    <a:pos x="1337" y="111"/>
                  </a:cxn>
                  <a:cxn ang="0">
                    <a:pos x="1271" y="191"/>
                  </a:cxn>
                  <a:cxn ang="0">
                    <a:pos x="1302" y="154"/>
                  </a:cxn>
                  <a:cxn ang="0">
                    <a:pos x="1415" y="70"/>
                  </a:cxn>
                  <a:cxn ang="0">
                    <a:pos x="1513" y="191"/>
                  </a:cxn>
                  <a:cxn ang="0">
                    <a:pos x="1461" y="175"/>
                  </a:cxn>
                  <a:cxn ang="0">
                    <a:pos x="1417" y="181"/>
                  </a:cxn>
                  <a:cxn ang="0">
                    <a:pos x="1477" y="81"/>
                  </a:cxn>
                </a:cxnLst>
                <a:rect l="0" t="0" r="r" b="b"/>
                <a:pathLst>
                  <a:path w="1560" h="243">
                    <a:moveTo>
                      <a:pt x="136" y="104"/>
                    </a:moveTo>
                    <a:cubicBezTo>
                      <a:pt x="136" y="109"/>
                      <a:pt x="135" y="115"/>
                      <a:pt x="134" y="122"/>
                    </a:cubicBezTo>
                    <a:cubicBezTo>
                      <a:pt x="133" y="129"/>
                      <a:pt x="132" y="135"/>
                      <a:pt x="129" y="142"/>
                    </a:cubicBezTo>
                    <a:cubicBezTo>
                      <a:pt x="127" y="149"/>
                      <a:pt x="124" y="155"/>
                      <a:pt x="121" y="162"/>
                    </a:cubicBezTo>
                    <a:cubicBezTo>
                      <a:pt x="117" y="168"/>
                      <a:pt x="113" y="174"/>
                      <a:pt x="108" y="179"/>
                    </a:cubicBezTo>
                    <a:cubicBezTo>
                      <a:pt x="104" y="184"/>
                      <a:pt x="98" y="188"/>
                      <a:pt x="92" y="191"/>
                    </a:cubicBezTo>
                    <a:cubicBezTo>
                      <a:pt x="85" y="194"/>
                      <a:pt x="78" y="195"/>
                      <a:pt x="70" y="195"/>
                    </a:cubicBezTo>
                    <a:cubicBezTo>
                      <a:pt x="66" y="195"/>
                      <a:pt x="62" y="195"/>
                      <a:pt x="59" y="194"/>
                    </a:cubicBezTo>
                    <a:cubicBezTo>
                      <a:pt x="55" y="193"/>
                      <a:pt x="52" y="192"/>
                      <a:pt x="49" y="191"/>
                    </a:cubicBezTo>
                    <a:cubicBezTo>
                      <a:pt x="46" y="189"/>
                      <a:pt x="44" y="187"/>
                      <a:pt x="41" y="185"/>
                    </a:cubicBezTo>
                    <a:cubicBezTo>
                      <a:pt x="39" y="183"/>
                      <a:pt x="37" y="181"/>
                      <a:pt x="35" y="179"/>
                    </a:cubicBezTo>
                    <a:lnTo>
                      <a:pt x="23" y="238"/>
                    </a:lnTo>
                    <a:cubicBezTo>
                      <a:pt x="23" y="239"/>
                      <a:pt x="23" y="240"/>
                      <a:pt x="22" y="240"/>
                    </a:cubicBezTo>
                    <a:cubicBezTo>
                      <a:pt x="22" y="241"/>
                      <a:pt x="21" y="241"/>
                      <a:pt x="20" y="242"/>
                    </a:cubicBezTo>
                    <a:cubicBezTo>
                      <a:pt x="19" y="242"/>
                      <a:pt x="18" y="242"/>
                      <a:pt x="16" y="243"/>
                    </a:cubicBezTo>
                    <a:cubicBezTo>
                      <a:pt x="15" y="243"/>
                      <a:pt x="13" y="243"/>
                      <a:pt x="11" y="243"/>
                    </a:cubicBezTo>
                    <a:cubicBezTo>
                      <a:pt x="9" y="243"/>
                      <a:pt x="7" y="243"/>
                      <a:pt x="5" y="243"/>
                    </a:cubicBezTo>
                    <a:cubicBezTo>
                      <a:pt x="4" y="242"/>
                      <a:pt x="3" y="242"/>
                      <a:pt x="2" y="242"/>
                    </a:cubicBezTo>
                    <a:cubicBezTo>
                      <a:pt x="1" y="241"/>
                      <a:pt x="1" y="241"/>
                      <a:pt x="0" y="240"/>
                    </a:cubicBezTo>
                    <a:cubicBezTo>
                      <a:pt x="0" y="240"/>
                      <a:pt x="0" y="239"/>
                      <a:pt x="0" y="238"/>
                    </a:cubicBezTo>
                    <a:lnTo>
                      <a:pt x="35" y="65"/>
                    </a:lnTo>
                    <a:cubicBezTo>
                      <a:pt x="35" y="64"/>
                      <a:pt x="36" y="62"/>
                      <a:pt x="38" y="62"/>
                    </a:cubicBezTo>
                    <a:cubicBezTo>
                      <a:pt x="39" y="61"/>
                      <a:pt x="42" y="61"/>
                      <a:pt x="46" y="61"/>
                    </a:cubicBezTo>
                    <a:cubicBezTo>
                      <a:pt x="48" y="61"/>
                      <a:pt x="50" y="61"/>
                      <a:pt x="51" y="61"/>
                    </a:cubicBezTo>
                    <a:cubicBezTo>
                      <a:pt x="52" y="61"/>
                      <a:pt x="53" y="61"/>
                      <a:pt x="54" y="62"/>
                    </a:cubicBezTo>
                    <a:cubicBezTo>
                      <a:pt x="54" y="62"/>
                      <a:pt x="55" y="63"/>
                      <a:pt x="55" y="63"/>
                    </a:cubicBezTo>
                    <a:cubicBezTo>
                      <a:pt x="55" y="64"/>
                      <a:pt x="55" y="64"/>
                      <a:pt x="55" y="65"/>
                    </a:cubicBezTo>
                    <a:lnTo>
                      <a:pt x="51" y="89"/>
                    </a:lnTo>
                    <a:cubicBezTo>
                      <a:pt x="52" y="86"/>
                      <a:pt x="54" y="82"/>
                      <a:pt x="57" y="79"/>
                    </a:cubicBezTo>
                    <a:cubicBezTo>
                      <a:pt x="60" y="75"/>
                      <a:pt x="64" y="72"/>
                      <a:pt x="68" y="69"/>
                    </a:cubicBezTo>
                    <a:cubicBezTo>
                      <a:pt x="72" y="66"/>
                      <a:pt x="77" y="64"/>
                      <a:pt x="82" y="62"/>
                    </a:cubicBezTo>
                    <a:cubicBezTo>
                      <a:pt x="88" y="60"/>
                      <a:pt x="93" y="59"/>
                      <a:pt x="98" y="59"/>
                    </a:cubicBezTo>
                    <a:cubicBezTo>
                      <a:pt x="105" y="59"/>
                      <a:pt x="111" y="60"/>
                      <a:pt x="116" y="63"/>
                    </a:cubicBezTo>
                    <a:cubicBezTo>
                      <a:pt x="121" y="65"/>
                      <a:pt x="124" y="68"/>
                      <a:pt x="127" y="72"/>
                    </a:cubicBezTo>
                    <a:cubicBezTo>
                      <a:pt x="130" y="76"/>
                      <a:pt x="132" y="81"/>
                      <a:pt x="134" y="86"/>
                    </a:cubicBezTo>
                    <a:cubicBezTo>
                      <a:pt x="135" y="92"/>
                      <a:pt x="136" y="98"/>
                      <a:pt x="136" y="104"/>
                    </a:cubicBezTo>
                    <a:close/>
                    <a:moveTo>
                      <a:pt x="112" y="105"/>
                    </a:moveTo>
                    <a:cubicBezTo>
                      <a:pt x="112" y="101"/>
                      <a:pt x="111" y="98"/>
                      <a:pt x="111" y="94"/>
                    </a:cubicBezTo>
                    <a:cubicBezTo>
                      <a:pt x="110" y="91"/>
                      <a:pt x="109" y="88"/>
                      <a:pt x="107" y="86"/>
                    </a:cubicBezTo>
                    <a:cubicBezTo>
                      <a:pt x="106" y="84"/>
                      <a:pt x="104" y="82"/>
                      <a:pt x="102" y="80"/>
                    </a:cubicBezTo>
                    <a:cubicBezTo>
                      <a:pt x="99" y="79"/>
                      <a:pt x="96" y="79"/>
                      <a:pt x="93" y="79"/>
                    </a:cubicBezTo>
                    <a:cubicBezTo>
                      <a:pt x="88" y="79"/>
                      <a:pt x="83" y="80"/>
                      <a:pt x="77" y="83"/>
                    </a:cubicBezTo>
                    <a:cubicBezTo>
                      <a:pt x="72" y="85"/>
                      <a:pt x="67" y="89"/>
                      <a:pt x="63" y="94"/>
                    </a:cubicBezTo>
                    <a:cubicBezTo>
                      <a:pt x="59" y="99"/>
                      <a:pt x="55" y="105"/>
                      <a:pt x="51" y="112"/>
                    </a:cubicBezTo>
                    <a:cubicBezTo>
                      <a:pt x="48" y="119"/>
                      <a:pt x="45" y="126"/>
                      <a:pt x="44" y="134"/>
                    </a:cubicBezTo>
                    <a:lnTo>
                      <a:pt x="39" y="157"/>
                    </a:lnTo>
                    <a:cubicBezTo>
                      <a:pt x="44" y="163"/>
                      <a:pt x="48" y="168"/>
                      <a:pt x="53" y="171"/>
                    </a:cubicBezTo>
                    <a:cubicBezTo>
                      <a:pt x="58" y="174"/>
                      <a:pt x="64" y="176"/>
                      <a:pt x="70" y="176"/>
                    </a:cubicBezTo>
                    <a:cubicBezTo>
                      <a:pt x="75" y="176"/>
                      <a:pt x="79" y="175"/>
                      <a:pt x="83" y="172"/>
                    </a:cubicBezTo>
                    <a:cubicBezTo>
                      <a:pt x="87" y="170"/>
                      <a:pt x="91" y="167"/>
                      <a:pt x="94" y="163"/>
                    </a:cubicBezTo>
                    <a:cubicBezTo>
                      <a:pt x="97" y="159"/>
                      <a:pt x="100" y="155"/>
                      <a:pt x="102" y="150"/>
                    </a:cubicBezTo>
                    <a:cubicBezTo>
                      <a:pt x="104" y="145"/>
                      <a:pt x="106" y="140"/>
                      <a:pt x="107" y="135"/>
                    </a:cubicBezTo>
                    <a:cubicBezTo>
                      <a:pt x="109" y="130"/>
                      <a:pt x="110" y="124"/>
                      <a:pt x="111" y="119"/>
                    </a:cubicBezTo>
                    <a:cubicBezTo>
                      <a:pt x="111" y="114"/>
                      <a:pt x="112" y="109"/>
                      <a:pt x="112" y="105"/>
                    </a:cubicBezTo>
                    <a:close/>
                    <a:moveTo>
                      <a:pt x="281" y="106"/>
                    </a:moveTo>
                    <a:cubicBezTo>
                      <a:pt x="281" y="113"/>
                      <a:pt x="280" y="120"/>
                      <a:pt x="279" y="127"/>
                    </a:cubicBezTo>
                    <a:cubicBezTo>
                      <a:pt x="278" y="134"/>
                      <a:pt x="276" y="141"/>
                      <a:pt x="273" y="147"/>
                    </a:cubicBezTo>
                    <a:cubicBezTo>
                      <a:pt x="271" y="154"/>
                      <a:pt x="267" y="160"/>
                      <a:pt x="263" y="166"/>
                    </a:cubicBezTo>
                    <a:cubicBezTo>
                      <a:pt x="259" y="172"/>
                      <a:pt x="254" y="177"/>
                      <a:pt x="249" y="181"/>
                    </a:cubicBezTo>
                    <a:cubicBezTo>
                      <a:pt x="243" y="186"/>
                      <a:pt x="237" y="189"/>
                      <a:pt x="230" y="191"/>
                    </a:cubicBezTo>
                    <a:cubicBezTo>
                      <a:pt x="223" y="194"/>
                      <a:pt x="216" y="195"/>
                      <a:pt x="207" y="195"/>
                    </a:cubicBezTo>
                    <a:cubicBezTo>
                      <a:pt x="198" y="195"/>
                      <a:pt x="191" y="194"/>
                      <a:pt x="184" y="192"/>
                    </a:cubicBezTo>
                    <a:cubicBezTo>
                      <a:pt x="178" y="190"/>
                      <a:pt x="173" y="187"/>
                      <a:pt x="169" y="183"/>
                    </a:cubicBezTo>
                    <a:cubicBezTo>
                      <a:pt x="165" y="179"/>
                      <a:pt x="162" y="174"/>
                      <a:pt x="160" y="168"/>
                    </a:cubicBezTo>
                    <a:cubicBezTo>
                      <a:pt x="158" y="162"/>
                      <a:pt x="157" y="155"/>
                      <a:pt x="157" y="148"/>
                    </a:cubicBezTo>
                    <a:cubicBezTo>
                      <a:pt x="157" y="141"/>
                      <a:pt x="158" y="134"/>
                      <a:pt x="159" y="127"/>
                    </a:cubicBezTo>
                    <a:cubicBezTo>
                      <a:pt x="160" y="120"/>
                      <a:pt x="162" y="113"/>
                      <a:pt x="165" y="107"/>
                    </a:cubicBezTo>
                    <a:cubicBezTo>
                      <a:pt x="167" y="100"/>
                      <a:pt x="171" y="94"/>
                      <a:pt x="175" y="88"/>
                    </a:cubicBezTo>
                    <a:cubicBezTo>
                      <a:pt x="179" y="82"/>
                      <a:pt x="184" y="77"/>
                      <a:pt x="189" y="73"/>
                    </a:cubicBezTo>
                    <a:cubicBezTo>
                      <a:pt x="194" y="69"/>
                      <a:pt x="201" y="65"/>
                      <a:pt x="208" y="63"/>
                    </a:cubicBezTo>
                    <a:cubicBezTo>
                      <a:pt x="215" y="60"/>
                      <a:pt x="222" y="59"/>
                      <a:pt x="231" y="59"/>
                    </a:cubicBezTo>
                    <a:cubicBezTo>
                      <a:pt x="240" y="59"/>
                      <a:pt x="247" y="60"/>
                      <a:pt x="253" y="62"/>
                    </a:cubicBezTo>
                    <a:cubicBezTo>
                      <a:pt x="260" y="64"/>
                      <a:pt x="265" y="67"/>
                      <a:pt x="269" y="71"/>
                    </a:cubicBezTo>
                    <a:cubicBezTo>
                      <a:pt x="273" y="76"/>
                      <a:pt x="276" y="80"/>
                      <a:pt x="278" y="86"/>
                    </a:cubicBezTo>
                    <a:cubicBezTo>
                      <a:pt x="280" y="92"/>
                      <a:pt x="281" y="99"/>
                      <a:pt x="281" y="106"/>
                    </a:cubicBezTo>
                    <a:close/>
                    <a:moveTo>
                      <a:pt x="257" y="108"/>
                    </a:moveTo>
                    <a:cubicBezTo>
                      <a:pt x="257" y="103"/>
                      <a:pt x="256" y="99"/>
                      <a:pt x="256" y="95"/>
                    </a:cubicBezTo>
                    <a:cubicBezTo>
                      <a:pt x="255" y="92"/>
                      <a:pt x="253" y="88"/>
                      <a:pt x="251" y="86"/>
                    </a:cubicBezTo>
                    <a:cubicBezTo>
                      <a:pt x="248" y="83"/>
                      <a:pt x="246" y="81"/>
                      <a:pt x="242" y="80"/>
                    </a:cubicBezTo>
                    <a:cubicBezTo>
                      <a:pt x="238" y="79"/>
                      <a:pt x="234" y="78"/>
                      <a:pt x="229" y="78"/>
                    </a:cubicBezTo>
                    <a:cubicBezTo>
                      <a:pt x="223" y="78"/>
                      <a:pt x="218" y="79"/>
                      <a:pt x="214" y="81"/>
                    </a:cubicBezTo>
                    <a:cubicBezTo>
                      <a:pt x="209" y="83"/>
                      <a:pt x="205" y="86"/>
                      <a:pt x="202" y="89"/>
                    </a:cubicBezTo>
                    <a:cubicBezTo>
                      <a:pt x="198" y="92"/>
                      <a:pt x="195" y="96"/>
                      <a:pt x="192" y="101"/>
                    </a:cubicBezTo>
                    <a:cubicBezTo>
                      <a:pt x="190" y="105"/>
                      <a:pt x="188" y="110"/>
                      <a:pt x="186" y="115"/>
                    </a:cubicBezTo>
                    <a:cubicBezTo>
                      <a:pt x="184" y="120"/>
                      <a:pt x="183" y="125"/>
                      <a:pt x="182" y="131"/>
                    </a:cubicBezTo>
                    <a:cubicBezTo>
                      <a:pt x="181" y="136"/>
                      <a:pt x="181" y="141"/>
                      <a:pt x="181" y="147"/>
                    </a:cubicBezTo>
                    <a:cubicBezTo>
                      <a:pt x="181" y="151"/>
                      <a:pt x="181" y="155"/>
                      <a:pt x="182" y="159"/>
                    </a:cubicBezTo>
                    <a:cubicBezTo>
                      <a:pt x="183" y="163"/>
                      <a:pt x="185" y="166"/>
                      <a:pt x="187" y="168"/>
                    </a:cubicBezTo>
                    <a:cubicBezTo>
                      <a:pt x="190" y="171"/>
                      <a:pt x="192" y="173"/>
                      <a:pt x="196" y="174"/>
                    </a:cubicBezTo>
                    <a:cubicBezTo>
                      <a:pt x="200" y="176"/>
                      <a:pt x="204" y="176"/>
                      <a:pt x="209" y="176"/>
                    </a:cubicBezTo>
                    <a:cubicBezTo>
                      <a:pt x="215" y="176"/>
                      <a:pt x="220" y="175"/>
                      <a:pt x="224" y="173"/>
                    </a:cubicBezTo>
                    <a:cubicBezTo>
                      <a:pt x="229" y="171"/>
                      <a:pt x="233" y="169"/>
                      <a:pt x="236" y="165"/>
                    </a:cubicBezTo>
                    <a:cubicBezTo>
                      <a:pt x="240" y="162"/>
                      <a:pt x="243" y="158"/>
                      <a:pt x="245" y="153"/>
                    </a:cubicBezTo>
                    <a:cubicBezTo>
                      <a:pt x="248" y="149"/>
                      <a:pt x="250" y="144"/>
                      <a:pt x="252" y="139"/>
                    </a:cubicBezTo>
                    <a:cubicBezTo>
                      <a:pt x="254" y="134"/>
                      <a:pt x="255" y="129"/>
                      <a:pt x="256" y="123"/>
                    </a:cubicBezTo>
                    <a:cubicBezTo>
                      <a:pt x="257" y="118"/>
                      <a:pt x="257" y="113"/>
                      <a:pt x="257" y="108"/>
                    </a:cubicBezTo>
                    <a:close/>
                    <a:moveTo>
                      <a:pt x="429" y="74"/>
                    </a:moveTo>
                    <a:cubicBezTo>
                      <a:pt x="429" y="77"/>
                      <a:pt x="429" y="81"/>
                      <a:pt x="428" y="86"/>
                    </a:cubicBezTo>
                    <a:cubicBezTo>
                      <a:pt x="428" y="91"/>
                      <a:pt x="427" y="97"/>
                      <a:pt x="426" y="103"/>
                    </a:cubicBezTo>
                    <a:cubicBezTo>
                      <a:pt x="425" y="110"/>
                      <a:pt x="424" y="116"/>
                      <a:pt x="422" y="123"/>
                    </a:cubicBezTo>
                    <a:cubicBezTo>
                      <a:pt x="421" y="130"/>
                      <a:pt x="418" y="137"/>
                      <a:pt x="415" y="144"/>
                    </a:cubicBezTo>
                    <a:cubicBezTo>
                      <a:pt x="413" y="151"/>
                      <a:pt x="409" y="157"/>
                      <a:pt x="405" y="164"/>
                    </a:cubicBezTo>
                    <a:cubicBezTo>
                      <a:pt x="401" y="170"/>
                      <a:pt x="396" y="175"/>
                      <a:pt x="391" y="180"/>
                    </a:cubicBezTo>
                    <a:cubicBezTo>
                      <a:pt x="385" y="185"/>
                      <a:pt x="379" y="188"/>
                      <a:pt x="372" y="191"/>
                    </a:cubicBezTo>
                    <a:cubicBezTo>
                      <a:pt x="364" y="194"/>
                      <a:pt x="356" y="195"/>
                      <a:pt x="347" y="195"/>
                    </a:cubicBezTo>
                    <a:cubicBezTo>
                      <a:pt x="339" y="195"/>
                      <a:pt x="332" y="194"/>
                      <a:pt x="326" y="192"/>
                    </a:cubicBezTo>
                    <a:cubicBezTo>
                      <a:pt x="320" y="190"/>
                      <a:pt x="316" y="186"/>
                      <a:pt x="312" y="182"/>
                    </a:cubicBezTo>
                    <a:cubicBezTo>
                      <a:pt x="309" y="178"/>
                      <a:pt x="306" y="173"/>
                      <a:pt x="305" y="168"/>
                    </a:cubicBezTo>
                    <a:cubicBezTo>
                      <a:pt x="303" y="162"/>
                      <a:pt x="302" y="156"/>
                      <a:pt x="302" y="149"/>
                    </a:cubicBezTo>
                    <a:cubicBezTo>
                      <a:pt x="302" y="143"/>
                      <a:pt x="303" y="137"/>
                      <a:pt x="304" y="130"/>
                    </a:cubicBezTo>
                    <a:cubicBezTo>
                      <a:pt x="305" y="123"/>
                      <a:pt x="307" y="117"/>
                      <a:pt x="309" y="110"/>
                    </a:cubicBezTo>
                    <a:cubicBezTo>
                      <a:pt x="311" y="104"/>
                      <a:pt x="314" y="97"/>
                      <a:pt x="318" y="91"/>
                    </a:cubicBezTo>
                    <a:cubicBezTo>
                      <a:pt x="321" y="85"/>
                      <a:pt x="326" y="80"/>
                      <a:pt x="331" y="75"/>
                    </a:cubicBezTo>
                    <a:cubicBezTo>
                      <a:pt x="336" y="70"/>
                      <a:pt x="342" y="67"/>
                      <a:pt x="348" y="64"/>
                    </a:cubicBezTo>
                    <a:cubicBezTo>
                      <a:pt x="355" y="61"/>
                      <a:pt x="362" y="59"/>
                      <a:pt x="370" y="59"/>
                    </a:cubicBezTo>
                    <a:cubicBezTo>
                      <a:pt x="375" y="59"/>
                      <a:pt x="379" y="60"/>
                      <a:pt x="383" y="61"/>
                    </a:cubicBezTo>
                    <a:cubicBezTo>
                      <a:pt x="387" y="62"/>
                      <a:pt x="391" y="64"/>
                      <a:pt x="394" y="66"/>
                    </a:cubicBezTo>
                    <a:cubicBezTo>
                      <a:pt x="397" y="68"/>
                      <a:pt x="399" y="70"/>
                      <a:pt x="401" y="73"/>
                    </a:cubicBezTo>
                    <a:cubicBezTo>
                      <a:pt x="404" y="76"/>
                      <a:pt x="405" y="79"/>
                      <a:pt x="406" y="83"/>
                    </a:cubicBezTo>
                    <a:cubicBezTo>
                      <a:pt x="406" y="82"/>
                      <a:pt x="406" y="81"/>
                      <a:pt x="406" y="79"/>
                    </a:cubicBezTo>
                    <a:cubicBezTo>
                      <a:pt x="406" y="78"/>
                      <a:pt x="406" y="77"/>
                      <a:pt x="406" y="75"/>
                    </a:cubicBezTo>
                    <a:cubicBezTo>
                      <a:pt x="406" y="67"/>
                      <a:pt x="406" y="60"/>
                      <a:pt x="404" y="54"/>
                    </a:cubicBezTo>
                    <a:cubicBezTo>
                      <a:pt x="403" y="47"/>
                      <a:pt x="400" y="41"/>
                      <a:pt x="396" y="37"/>
                    </a:cubicBezTo>
                    <a:cubicBezTo>
                      <a:pt x="393" y="32"/>
                      <a:pt x="388" y="28"/>
                      <a:pt x="382" y="25"/>
                    </a:cubicBezTo>
                    <a:cubicBezTo>
                      <a:pt x="375" y="22"/>
                      <a:pt x="368" y="21"/>
                      <a:pt x="359" y="21"/>
                    </a:cubicBezTo>
                    <a:cubicBezTo>
                      <a:pt x="356" y="21"/>
                      <a:pt x="354" y="20"/>
                      <a:pt x="353" y="20"/>
                    </a:cubicBezTo>
                    <a:cubicBezTo>
                      <a:pt x="352" y="19"/>
                      <a:pt x="352" y="18"/>
                      <a:pt x="352" y="16"/>
                    </a:cubicBezTo>
                    <a:cubicBezTo>
                      <a:pt x="352" y="16"/>
                      <a:pt x="352" y="15"/>
                      <a:pt x="352" y="15"/>
                    </a:cubicBezTo>
                    <a:cubicBezTo>
                      <a:pt x="352" y="14"/>
                      <a:pt x="352" y="13"/>
                      <a:pt x="353" y="12"/>
                    </a:cubicBezTo>
                    <a:cubicBezTo>
                      <a:pt x="353" y="11"/>
                      <a:pt x="353" y="10"/>
                      <a:pt x="353" y="9"/>
                    </a:cubicBezTo>
                    <a:cubicBezTo>
                      <a:pt x="353" y="8"/>
                      <a:pt x="354" y="7"/>
                      <a:pt x="354" y="6"/>
                    </a:cubicBezTo>
                    <a:cubicBezTo>
                      <a:pt x="354" y="5"/>
                      <a:pt x="355" y="5"/>
                      <a:pt x="355" y="4"/>
                    </a:cubicBezTo>
                    <a:cubicBezTo>
                      <a:pt x="355" y="3"/>
                      <a:pt x="356" y="3"/>
                      <a:pt x="356" y="2"/>
                    </a:cubicBezTo>
                    <a:cubicBezTo>
                      <a:pt x="357" y="2"/>
                      <a:pt x="357" y="1"/>
                      <a:pt x="358" y="1"/>
                    </a:cubicBezTo>
                    <a:cubicBezTo>
                      <a:pt x="359" y="1"/>
                      <a:pt x="361" y="1"/>
                      <a:pt x="363" y="1"/>
                    </a:cubicBezTo>
                    <a:cubicBezTo>
                      <a:pt x="373" y="1"/>
                      <a:pt x="382" y="2"/>
                      <a:pt x="390" y="5"/>
                    </a:cubicBezTo>
                    <a:cubicBezTo>
                      <a:pt x="398" y="7"/>
                      <a:pt x="405" y="12"/>
                      <a:pt x="411" y="18"/>
                    </a:cubicBezTo>
                    <a:cubicBezTo>
                      <a:pt x="417" y="23"/>
                      <a:pt x="421" y="31"/>
                      <a:pt x="424" y="40"/>
                    </a:cubicBezTo>
                    <a:cubicBezTo>
                      <a:pt x="427" y="50"/>
                      <a:pt x="429" y="61"/>
                      <a:pt x="429" y="74"/>
                    </a:cubicBezTo>
                    <a:close/>
                    <a:moveTo>
                      <a:pt x="398" y="117"/>
                    </a:moveTo>
                    <a:cubicBezTo>
                      <a:pt x="398" y="105"/>
                      <a:pt x="395" y="96"/>
                      <a:pt x="391" y="89"/>
                    </a:cubicBezTo>
                    <a:cubicBezTo>
                      <a:pt x="386" y="82"/>
                      <a:pt x="379" y="79"/>
                      <a:pt x="371" y="79"/>
                    </a:cubicBezTo>
                    <a:cubicBezTo>
                      <a:pt x="365" y="79"/>
                      <a:pt x="360" y="80"/>
                      <a:pt x="355" y="82"/>
                    </a:cubicBezTo>
                    <a:cubicBezTo>
                      <a:pt x="351" y="85"/>
                      <a:pt x="347" y="88"/>
                      <a:pt x="343" y="92"/>
                    </a:cubicBezTo>
                    <a:cubicBezTo>
                      <a:pt x="340" y="96"/>
                      <a:pt x="337" y="100"/>
                      <a:pt x="335" y="105"/>
                    </a:cubicBezTo>
                    <a:cubicBezTo>
                      <a:pt x="333" y="110"/>
                      <a:pt x="331" y="115"/>
                      <a:pt x="330" y="120"/>
                    </a:cubicBezTo>
                    <a:cubicBezTo>
                      <a:pt x="328" y="125"/>
                      <a:pt x="327" y="130"/>
                      <a:pt x="327" y="135"/>
                    </a:cubicBezTo>
                    <a:cubicBezTo>
                      <a:pt x="326" y="139"/>
                      <a:pt x="326" y="143"/>
                      <a:pt x="326" y="146"/>
                    </a:cubicBezTo>
                    <a:cubicBezTo>
                      <a:pt x="326" y="156"/>
                      <a:pt x="328" y="163"/>
                      <a:pt x="332" y="168"/>
                    </a:cubicBezTo>
                    <a:cubicBezTo>
                      <a:pt x="336" y="173"/>
                      <a:pt x="342" y="176"/>
                      <a:pt x="350" y="176"/>
                    </a:cubicBezTo>
                    <a:cubicBezTo>
                      <a:pt x="355" y="176"/>
                      <a:pt x="360" y="175"/>
                      <a:pt x="365" y="173"/>
                    </a:cubicBezTo>
                    <a:cubicBezTo>
                      <a:pt x="369" y="171"/>
                      <a:pt x="373" y="169"/>
                      <a:pt x="377" y="165"/>
                    </a:cubicBezTo>
                    <a:cubicBezTo>
                      <a:pt x="381" y="162"/>
                      <a:pt x="384" y="159"/>
                      <a:pt x="386" y="155"/>
                    </a:cubicBezTo>
                    <a:cubicBezTo>
                      <a:pt x="389" y="151"/>
                      <a:pt x="391" y="146"/>
                      <a:pt x="393" y="142"/>
                    </a:cubicBezTo>
                    <a:cubicBezTo>
                      <a:pt x="394" y="138"/>
                      <a:pt x="396" y="133"/>
                      <a:pt x="396" y="129"/>
                    </a:cubicBezTo>
                    <a:cubicBezTo>
                      <a:pt x="397" y="125"/>
                      <a:pt x="398" y="121"/>
                      <a:pt x="398" y="117"/>
                    </a:cubicBezTo>
                    <a:close/>
                    <a:moveTo>
                      <a:pt x="555" y="189"/>
                    </a:moveTo>
                    <a:cubicBezTo>
                      <a:pt x="555" y="190"/>
                      <a:pt x="555" y="191"/>
                      <a:pt x="554" y="191"/>
                    </a:cubicBezTo>
                    <a:cubicBezTo>
                      <a:pt x="554" y="192"/>
                      <a:pt x="553" y="192"/>
                      <a:pt x="552" y="192"/>
                    </a:cubicBezTo>
                    <a:cubicBezTo>
                      <a:pt x="551" y="193"/>
                      <a:pt x="550" y="193"/>
                      <a:pt x="548" y="193"/>
                    </a:cubicBezTo>
                    <a:cubicBezTo>
                      <a:pt x="547" y="193"/>
                      <a:pt x="545" y="193"/>
                      <a:pt x="543" y="193"/>
                    </a:cubicBezTo>
                    <a:cubicBezTo>
                      <a:pt x="541" y="193"/>
                      <a:pt x="539" y="193"/>
                      <a:pt x="537" y="193"/>
                    </a:cubicBezTo>
                    <a:cubicBezTo>
                      <a:pt x="536" y="193"/>
                      <a:pt x="535" y="193"/>
                      <a:pt x="534" y="192"/>
                    </a:cubicBezTo>
                    <a:cubicBezTo>
                      <a:pt x="533" y="192"/>
                      <a:pt x="533" y="192"/>
                      <a:pt x="532" y="191"/>
                    </a:cubicBezTo>
                    <a:cubicBezTo>
                      <a:pt x="532" y="191"/>
                      <a:pt x="532" y="190"/>
                      <a:pt x="532" y="189"/>
                    </a:cubicBezTo>
                    <a:lnTo>
                      <a:pt x="543" y="135"/>
                    </a:lnTo>
                    <a:lnTo>
                      <a:pt x="482" y="135"/>
                    </a:lnTo>
                    <a:lnTo>
                      <a:pt x="471" y="189"/>
                    </a:lnTo>
                    <a:cubicBezTo>
                      <a:pt x="471" y="190"/>
                      <a:pt x="471" y="191"/>
                      <a:pt x="470" y="191"/>
                    </a:cubicBezTo>
                    <a:cubicBezTo>
                      <a:pt x="470" y="192"/>
                      <a:pt x="469" y="192"/>
                      <a:pt x="468" y="192"/>
                    </a:cubicBezTo>
                    <a:cubicBezTo>
                      <a:pt x="467" y="193"/>
                      <a:pt x="466" y="193"/>
                      <a:pt x="465" y="193"/>
                    </a:cubicBezTo>
                    <a:cubicBezTo>
                      <a:pt x="463" y="193"/>
                      <a:pt x="461" y="193"/>
                      <a:pt x="459" y="193"/>
                    </a:cubicBezTo>
                    <a:cubicBezTo>
                      <a:pt x="457" y="193"/>
                      <a:pt x="455" y="193"/>
                      <a:pt x="453" y="193"/>
                    </a:cubicBezTo>
                    <a:cubicBezTo>
                      <a:pt x="452" y="193"/>
                      <a:pt x="451" y="193"/>
                      <a:pt x="450" y="192"/>
                    </a:cubicBezTo>
                    <a:cubicBezTo>
                      <a:pt x="449" y="192"/>
                      <a:pt x="449" y="192"/>
                      <a:pt x="449" y="191"/>
                    </a:cubicBezTo>
                    <a:cubicBezTo>
                      <a:pt x="448" y="191"/>
                      <a:pt x="448" y="190"/>
                      <a:pt x="448" y="189"/>
                    </a:cubicBezTo>
                    <a:lnTo>
                      <a:pt x="473" y="65"/>
                    </a:lnTo>
                    <a:cubicBezTo>
                      <a:pt x="473" y="64"/>
                      <a:pt x="474" y="64"/>
                      <a:pt x="474" y="63"/>
                    </a:cubicBezTo>
                    <a:cubicBezTo>
                      <a:pt x="474" y="63"/>
                      <a:pt x="475" y="62"/>
                      <a:pt x="476" y="62"/>
                    </a:cubicBezTo>
                    <a:cubicBezTo>
                      <a:pt x="477" y="61"/>
                      <a:pt x="478" y="61"/>
                      <a:pt x="480" y="61"/>
                    </a:cubicBezTo>
                    <a:cubicBezTo>
                      <a:pt x="481" y="61"/>
                      <a:pt x="483" y="61"/>
                      <a:pt x="485" y="61"/>
                    </a:cubicBezTo>
                    <a:cubicBezTo>
                      <a:pt x="488" y="61"/>
                      <a:pt x="489" y="61"/>
                      <a:pt x="491" y="61"/>
                    </a:cubicBezTo>
                    <a:cubicBezTo>
                      <a:pt x="492" y="61"/>
                      <a:pt x="493" y="61"/>
                      <a:pt x="494" y="62"/>
                    </a:cubicBezTo>
                    <a:cubicBezTo>
                      <a:pt x="495" y="62"/>
                      <a:pt x="495" y="63"/>
                      <a:pt x="496" y="63"/>
                    </a:cubicBezTo>
                    <a:cubicBezTo>
                      <a:pt x="496" y="64"/>
                      <a:pt x="496" y="64"/>
                      <a:pt x="496" y="65"/>
                    </a:cubicBezTo>
                    <a:lnTo>
                      <a:pt x="486" y="116"/>
                    </a:lnTo>
                    <a:lnTo>
                      <a:pt x="547" y="116"/>
                    </a:lnTo>
                    <a:lnTo>
                      <a:pt x="557" y="65"/>
                    </a:lnTo>
                    <a:cubicBezTo>
                      <a:pt x="557" y="64"/>
                      <a:pt x="557" y="64"/>
                      <a:pt x="558" y="63"/>
                    </a:cubicBezTo>
                    <a:cubicBezTo>
                      <a:pt x="558" y="63"/>
                      <a:pt x="559" y="62"/>
                      <a:pt x="560" y="62"/>
                    </a:cubicBezTo>
                    <a:cubicBezTo>
                      <a:pt x="561" y="61"/>
                      <a:pt x="562" y="61"/>
                      <a:pt x="564" y="61"/>
                    </a:cubicBezTo>
                    <a:cubicBezTo>
                      <a:pt x="565" y="61"/>
                      <a:pt x="567" y="61"/>
                      <a:pt x="569" y="61"/>
                    </a:cubicBezTo>
                    <a:cubicBezTo>
                      <a:pt x="572" y="61"/>
                      <a:pt x="573" y="61"/>
                      <a:pt x="575" y="61"/>
                    </a:cubicBezTo>
                    <a:cubicBezTo>
                      <a:pt x="576" y="61"/>
                      <a:pt x="577" y="61"/>
                      <a:pt x="578" y="62"/>
                    </a:cubicBezTo>
                    <a:cubicBezTo>
                      <a:pt x="579" y="62"/>
                      <a:pt x="579" y="63"/>
                      <a:pt x="580" y="63"/>
                    </a:cubicBezTo>
                    <a:cubicBezTo>
                      <a:pt x="580" y="64"/>
                      <a:pt x="580" y="64"/>
                      <a:pt x="580" y="65"/>
                    </a:cubicBezTo>
                    <a:lnTo>
                      <a:pt x="555" y="189"/>
                    </a:lnTo>
                    <a:close/>
                    <a:moveTo>
                      <a:pt x="743" y="189"/>
                    </a:moveTo>
                    <a:cubicBezTo>
                      <a:pt x="743" y="190"/>
                      <a:pt x="743" y="191"/>
                      <a:pt x="742" y="191"/>
                    </a:cubicBezTo>
                    <a:cubicBezTo>
                      <a:pt x="742" y="192"/>
                      <a:pt x="741" y="192"/>
                      <a:pt x="740" y="192"/>
                    </a:cubicBezTo>
                    <a:cubicBezTo>
                      <a:pt x="739" y="193"/>
                      <a:pt x="738" y="193"/>
                      <a:pt x="736" y="193"/>
                    </a:cubicBezTo>
                    <a:cubicBezTo>
                      <a:pt x="735" y="193"/>
                      <a:pt x="733" y="193"/>
                      <a:pt x="731" y="193"/>
                    </a:cubicBezTo>
                    <a:cubicBezTo>
                      <a:pt x="728" y="193"/>
                      <a:pt x="727" y="193"/>
                      <a:pt x="725" y="193"/>
                    </a:cubicBezTo>
                    <a:cubicBezTo>
                      <a:pt x="724" y="193"/>
                      <a:pt x="723" y="193"/>
                      <a:pt x="722" y="192"/>
                    </a:cubicBezTo>
                    <a:cubicBezTo>
                      <a:pt x="721" y="192"/>
                      <a:pt x="721" y="192"/>
                      <a:pt x="720" y="191"/>
                    </a:cubicBezTo>
                    <a:cubicBezTo>
                      <a:pt x="720" y="191"/>
                      <a:pt x="720" y="190"/>
                      <a:pt x="720" y="189"/>
                    </a:cubicBezTo>
                    <a:lnTo>
                      <a:pt x="745" y="65"/>
                    </a:lnTo>
                    <a:cubicBezTo>
                      <a:pt x="745" y="64"/>
                      <a:pt x="745" y="64"/>
                      <a:pt x="746" y="63"/>
                    </a:cubicBezTo>
                    <a:cubicBezTo>
                      <a:pt x="746" y="63"/>
                      <a:pt x="747" y="62"/>
                      <a:pt x="748" y="62"/>
                    </a:cubicBezTo>
                    <a:cubicBezTo>
                      <a:pt x="749" y="61"/>
                      <a:pt x="750" y="61"/>
                      <a:pt x="752" y="61"/>
                    </a:cubicBezTo>
                    <a:cubicBezTo>
                      <a:pt x="753" y="61"/>
                      <a:pt x="755" y="61"/>
                      <a:pt x="757" y="61"/>
                    </a:cubicBezTo>
                    <a:cubicBezTo>
                      <a:pt x="759" y="61"/>
                      <a:pt x="761" y="61"/>
                      <a:pt x="763" y="61"/>
                    </a:cubicBezTo>
                    <a:cubicBezTo>
                      <a:pt x="764" y="61"/>
                      <a:pt x="765" y="61"/>
                      <a:pt x="766" y="62"/>
                    </a:cubicBezTo>
                    <a:cubicBezTo>
                      <a:pt x="767" y="62"/>
                      <a:pt x="767" y="63"/>
                      <a:pt x="768" y="63"/>
                    </a:cubicBezTo>
                    <a:cubicBezTo>
                      <a:pt x="768" y="64"/>
                      <a:pt x="768" y="64"/>
                      <a:pt x="768" y="65"/>
                    </a:cubicBezTo>
                    <a:lnTo>
                      <a:pt x="743" y="189"/>
                    </a:lnTo>
                    <a:close/>
                    <a:moveTo>
                      <a:pt x="705" y="141"/>
                    </a:moveTo>
                    <a:cubicBezTo>
                      <a:pt x="705" y="150"/>
                      <a:pt x="704" y="158"/>
                      <a:pt x="701" y="165"/>
                    </a:cubicBezTo>
                    <a:cubicBezTo>
                      <a:pt x="697" y="171"/>
                      <a:pt x="693" y="177"/>
                      <a:pt x="688" y="181"/>
                    </a:cubicBezTo>
                    <a:cubicBezTo>
                      <a:pt x="682" y="186"/>
                      <a:pt x="676" y="189"/>
                      <a:pt x="669" y="192"/>
                    </a:cubicBezTo>
                    <a:cubicBezTo>
                      <a:pt x="661" y="194"/>
                      <a:pt x="653" y="195"/>
                      <a:pt x="645" y="195"/>
                    </a:cubicBezTo>
                    <a:cubicBezTo>
                      <a:pt x="636" y="195"/>
                      <a:pt x="629" y="194"/>
                      <a:pt x="623" y="192"/>
                    </a:cubicBezTo>
                    <a:cubicBezTo>
                      <a:pt x="617" y="189"/>
                      <a:pt x="613" y="186"/>
                      <a:pt x="610" y="182"/>
                    </a:cubicBezTo>
                    <a:cubicBezTo>
                      <a:pt x="606" y="177"/>
                      <a:pt x="604" y="172"/>
                      <a:pt x="603" y="166"/>
                    </a:cubicBezTo>
                    <a:cubicBezTo>
                      <a:pt x="603" y="160"/>
                      <a:pt x="603" y="154"/>
                      <a:pt x="604" y="147"/>
                    </a:cubicBezTo>
                    <a:lnTo>
                      <a:pt x="621" y="65"/>
                    </a:lnTo>
                    <a:cubicBezTo>
                      <a:pt x="621" y="64"/>
                      <a:pt x="621" y="64"/>
                      <a:pt x="621" y="63"/>
                    </a:cubicBezTo>
                    <a:cubicBezTo>
                      <a:pt x="622" y="63"/>
                      <a:pt x="623" y="62"/>
                      <a:pt x="624" y="62"/>
                    </a:cubicBezTo>
                    <a:cubicBezTo>
                      <a:pt x="625" y="61"/>
                      <a:pt x="626" y="61"/>
                      <a:pt x="627" y="61"/>
                    </a:cubicBezTo>
                    <a:cubicBezTo>
                      <a:pt x="629" y="61"/>
                      <a:pt x="631" y="61"/>
                      <a:pt x="633" y="61"/>
                    </a:cubicBezTo>
                    <a:cubicBezTo>
                      <a:pt x="635" y="61"/>
                      <a:pt x="637" y="61"/>
                      <a:pt x="638" y="61"/>
                    </a:cubicBezTo>
                    <a:cubicBezTo>
                      <a:pt x="640" y="61"/>
                      <a:pt x="641" y="61"/>
                      <a:pt x="642" y="62"/>
                    </a:cubicBezTo>
                    <a:cubicBezTo>
                      <a:pt x="642" y="62"/>
                      <a:pt x="643" y="63"/>
                      <a:pt x="643" y="63"/>
                    </a:cubicBezTo>
                    <a:cubicBezTo>
                      <a:pt x="643" y="64"/>
                      <a:pt x="643" y="64"/>
                      <a:pt x="643" y="65"/>
                    </a:cubicBezTo>
                    <a:lnTo>
                      <a:pt x="635" y="109"/>
                    </a:lnTo>
                    <a:cubicBezTo>
                      <a:pt x="638" y="108"/>
                      <a:pt x="642" y="107"/>
                      <a:pt x="647" y="107"/>
                    </a:cubicBezTo>
                    <a:cubicBezTo>
                      <a:pt x="651" y="106"/>
                      <a:pt x="656" y="106"/>
                      <a:pt x="660" y="106"/>
                    </a:cubicBezTo>
                    <a:cubicBezTo>
                      <a:pt x="667" y="106"/>
                      <a:pt x="674" y="107"/>
                      <a:pt x="679" y="108"/>
                    </a:cubicBezTo>
                    <a:cubicBezTo>
                      <a:pt x="685" y="110"/>
                      <a:pt x="690" y="113"/>
                      <a:pt x="694" y="116"/>
                    </a:cubicBezTo>
                    <a:cubicBezTo>
                      <a:pt x="697" y="119"/>
                      <a:pt x="700" y="122"/>
                      <a:pt x="702" y="127"/>
                    </a:cubicBezTo>
                    <a:cubicBezTo>
                      <a:pt x="704" y="131"/>
                      <a:pt x="705" y="136"/>
                      <a:pt x="705" y="141"/>
                    </a:cubicBezTo>
                    <a:close/>
                    <a:moveTo>
                      <a:pt x="682" y="144"/>
                    </a:moveTo>
                    <a:cubicBezTo>
                      <a:pt x="682" y="141"/>
                      <a:pt x="681" y="138"/>
                      <a:pt x="680" y="135"/>
                    </a:cubicBezTo>
                    <a:cubicBezTo>
                      <a:pt x="679" y="133"/>
                      <a:pt x="677" y="131"/>
                      <a:pt x="675" y="129"/>
                    </a:cubicBezTo>
                    <a:cubicBezTo>
                      <a:pt x="673" y="127"/>
                      <a:pt x="670" y="126"/>
                      <a:pt x="667" y="125"/>
                    </a:cubicBezTo>
                    <a:cubicBezTo>
                      <a:pt x="664" y="124"/>
                      <a:pt x="660" y="124"/>
                      <a:pt x="656" y="124"/>
                    </a:cubicBezTo>
                    <a:cubicBezTo>
                      <a:pt x="652" y="124"/>
                      <a:pt x="647" y="124"/>
                      <a:pt x="643" y="125"/>
                    </a:cubicBezTo>
                    <a:cubicBezTo>
                      <a:pt x="639" y="126"/>
                      <a:pt x="635" y="127"/>
                      <a:pt x="631" y="128"/>
                    </a:cubicBezTo>
                    <a:lnTo>
                      <a:pt x="627" y="147"/>
                    </a:lnTo>
                    <a:cubicBezTo>
                      <a:pt x="625" y="157"/>
                      <a:pt x="626" y="165"/>
                      <a:pt x="629" y="170"/>
                    </a:cubicBezTo>
                    <a:cubicBezTo>
                      <a:pt x="633" y="175"/>
                      <a:pt x="639" y="177"/>
                      <a:pt x="647" y="177"/>
                    </a:cubicBezTo>
                    <a:cubicBezTo>
                      <a:pt x="652" y="177"/>
                      <a:pt x="657" y="176"/>
                      <a:pt x="661" y="175"/>
                    </a:cubicBezTo>
                    <a:cubicBezTo>
                      <a:pt x="665" y="173"/>
                      <a:pt x="669" y="171"/>
                      <a:pt x="672" y="168"/>
                    </a:cubicBezTo>
                    <a:cubicBezTo>
                      <a:pt x="675" y="165"/>
                      <a:pt x="678" y="162"/>
                      <a:pt x="679" y="158"/>
                    </a:cubicBezTo>
                    <a:cubicBezTo>
                      <a:pt x="681" y="154"/>
                      <a:pt x="682" y="149"/>
                      <a:pt x="682" y="144"/>
                    </a:cubicBezTo>
                    <a:close/>
                    <a:moveTo>
                      <a:pt x="888" y="189"/>
                    </a:moveTo>
                    <a:cubicBezTo>
                      <a:pt x="888" y="190"/>
                      <a:pt x="888" y="191"/>
                      <a:pt x="887" y="191"/>
                    </a:cubicBezTo>
                    <a:cubicBezTo>
                      <a:pt x="887" y="192"/>
                      <a:pt x="886" y="192"/>
                      <a:pt x="885" y="192"/>
                    </a:cubicBezTo>
                    <a:cubicBezTo>
                      <a:pt x="885" y="193"/>
                      <a:pt x="883" y="193"/>
                      <a:pt x="882" y="193"/>
                    </a:cubicBezTo>
                    <a:cubicBezTo>
                      <a:pt x="881" y="193"/>
                      <a:pt x="879" y="193"/>
                      <a:pt x="877" y="193"/>
                    </a:cubicBezTo>
                    <a:cubicBezTo>
                      <a:pt x="875" y="193"/>
                      <a:pt x="874" y="193"/>
                      <a:pt x="873" y="193"/>
                    </a:cubicBezTo>
                    <a:cubicBezTo>
                      <a:pt x="871" y="193"/>
                      <a:pt x="870" y="193"/>
                      <a:pt x="870" y="192"/>
                    </a:cubicBezTo>
                    <a:cubicBezTo>
                      <a:pt x="869" y="192"/>
                      <a:pt x="869" y="192"/>
                      <a:pt x="868" y="191"/>
                    </a:cubicBezTo>
                    <a:cubicBezTo>
                      <a:pt x="868" y="191"/>
                      <a:pt x="868" y="190"/>
                      <a:pt x="868" y="189"/>
                    </a:cubicBezTo>
                    <a:lnTo>
                      <a:pt x="873" y="166"/>
                    </a:lnTo>
                    <a:cubicBezTo>
                      <a:pt x="871" y="169"/>
                      <a:pt x="869" y="172"/>
                      <a:pt x="866" y="176"/>
                    </a:cubicBezTo>
                    <a:cubicBezTo>
                      <a:pt x="863" y="179"/>
                      <a:pt x="859" y="182"/>
                      <a:pt x="855" y="185"/>
                    </a:cubicBezTo>
                    <a:cubicBezTo>
                      <a:pt x="850" y="188"/>
                      <a:pt x="846" y="191"/>
                      <a:pt x="841" y="192"/>
                    </a:cubicBezTo>
                    <a:cubicBezTo>
                      <a:pt x="835" y="194"/>
                      <a:pt x="830" y="195"/>
                      <a:pt x="825" y="195"/>
                    </a:cubicBezTo>
                    <a:cubicBezTo>
                      <a:pt x="819" y="195"/>
                      <a:pt x="814" y="194"/>
                      <a:pt x="809" y="193"/>
                    </a:cubicBezTo>
                    <a:cubicBezTo>
                      <a:pt x="805" y="191"/>
                      <a:pt x="802" y="189"/>
                      <a:pt x="799" y="186"/>
                    </a:cubicBezTo>
                    <a:cubicBezTo>
                      <a:pt x="796" y="183"/>
                      <a:pt x="794" y="179"/>
                      <a:pt x="793" y="175"/>
                    </a:cubicBezTo>
                    <a:cubicBezTo>
                      <a:pt x="792" y="171"/>
                      <a:pt x="792" y="166"/>
                      <a:pt x="792" y="162"/>
                    </a:cubicBezTo>
                    <a:cubicBezTo>
                      <a:pt x="792" y="159"/>
                      <a:pt x="792" y="155"/>
                      <a:pt x="792" y="152"/>
                    </a:cubicBezTo>
                    <a:cubicBezTo>
                      <a:pt x="793" y="149"/>
                      <a:pt x="793" y="146"/>
                      <a:pt x="794" y="143"/>
                    </a:cubicBezTo>
                    <a:lnTo>
                      <a:pt x="809" y="65"/>
                    </a:lnTo>
                    <a:cubicBezTo>
                      <a:pt x="809" y="64"/>
                      <a:pt x="810" y="64"/>
                      <a:pt x="810" y="63"/>
                    </a:cubicBezTo>
                    <a:cubicBezTo>
                      <a:pt x="811" y="63"/>
                      <a:pt x="811" y="62"/>
                      <a:pt x="812" y="62"/>
                    </a:cubicBezTo>
                    <a:cubicBezTo>
                      <a:pt x="813" y="61"/>
                      <a:pt x="814" y="61"/>
                      <a:pt x="816" y="61"/>
                    </a:cubicBezTo>
                    <a:cubicBezTo>
                      <a:pt x="817" y="61"/>
                      <a:pt x="819" y="61"/>
                      <a:pt x="822" y="61"/>
                    </a:cubicBezTo>
                    <a:cubicBezTo>
                      <a:pt x="824" y="61"/>
                      <a:pt x="826" y="61"/>
                      <a:pt x="827" y="61"/>
                    </a:cubicBezTo>
                    <a:cubicBezTo>
                      <a:pt x="828" y="61"/>
                      <a:pt x="829" y="61"/>
                      <a:pt x="830" y="62"/>
                    </a:cubicBezTo>
                    <a:cubicBezTo>
                      <a:pt x="831" y="62"/>
                      <a:pt x="832" y="63"/>
                      <a:pt x="832" y="63"/>
                    </a:cubicBezTo>
                    <a:cubicBezTo>
                      <a:pt x="832" y="64"/>
                      <a:pt x="832" y="64"/>
                      <a:pt x="832" y="65"/>
                    </a:cubicBezTo>
                    <a:lnTo>
                      <a:pt x="817" y="142"/>
                    </a:lnTo>
                    <a:cubicBezTo>
                      <a:pt x="816" y="144"/>
                      <a:pt x="816" y="147"/>
                      <a:pt x="816" y="149"/>
                    </a:cubicBezTo>
                    <a:cubicBezTo>
                      <a:pt x="815" y="152"/>
                      <a:pt x="815" y="155"/>
                      <a:pt x="815" y="157"/>
                    </a:cubicBezTo>
                    <a:cubicBezTo>
                      <a:pt x="815" y="160"/>
                      <a:pt x="815" y="162"/>
                      <a:pt x="816" y="165"/>
                    </a:cubicBezTo>
                    <a:cubicBezTo>
                      <a:pt x="816" y="167"/>
                      <a:pt x="817" y="169"/>
                      <a:pt x="819" y="171"/>
                    </a:cubicBezTo>
                    <a:cubicBezTo>
                      <a:pt x="820" y="172"/>
                      <a:pt x="821" y="174"/>
                      <a:pt x="823" y="174"/>
                    </a:cubicBezTo>
                    <a:cubicBezTo>
                      <a:pt x="825" y="175"/>
                      <a:pt x="828" y="176"/>
                      <a:pt x="831" y="176"/>
                    </a:cubicBezTo>
                    <a:cubicBezTo>
                      <a:pt x="835" y="176"/>
                      <a:pt x="840" y="174"/>
                      <a:pt x="846" y="172"/>
                    </a:cubicBezTo>
                    <a:cubicBezTo>
                      <a:pt x="851" y="169"/>
                      <a:pt x="855" y="165"/>
                      <a:pt x="860" y="160"/>
                    </a:cubicBezTo>
                    <a:cubicBezTo>
                      <a:pt x="864" y="155"/>
                      <a:pt x="868" y="149"/>
                      <a:pt x="872" y="142"/>
                    </a:cubicBezTo>
                    <a:cubicBezTo>
                      <a:pt x="875" y="135"/>
                      <a:pt x="878" y="128"/>
                      <a:pt x="879" y="120"/>
                    </a:cubicBezTo>
                    <a:lnTo>
                      <a:pt x="890" y="65"/>
                    </a:lnTo>
                    <a:cubicBezTo>
                      <a:pt x="890" y="64"/>
                      <a:pt x="891" y="64"/>
                      <a:pt x="891" y="63"/>
                    </a:cubicBezTo>
                    <a:cubicBezTo>
                      <a:pt x="892" y="63"/>
                      <a:pt x="892" y="62"/>
                      <a:pt x="893" y="62"/>
                    </a:cubicBezTo>
                    <a:cubicBezTo>
                      <a:pt x="894" y="61"/>
                      <a:pt x="895" y="61"/>
                      <a:pt x="897" y="61"/>
                    </a:cubicBezTo>
                    <a:cubicBezTo>
                      <a:pt x="898" y="61"/>
                      <a:pt x="900" y="61"/>
                      <a:pt x="903" y="61"/>
                    </a:cubicBezTo>
                    <a:cubicBezTo>
                      <a:pt x="905" y="61"/>
                      <a:pt x="907" y="61"/>
                      <a:pt x="908" y="61"/>
                    </a:cubicBezTo>
                    <a:cubicBezTo>
                      <a:pt x="909" y="61"/>
                      <a:pt x="911" y="61"/>
                      <a:pt x="911" y="62"/>
                    </a:cubicBezTo>
                    <a:cubicBezTo>
                      <a:pt x="912" y="62"/>
                      <a:pt x="913" y="63"/>
                      <a:pt x="913" y="63"/>
                    </a:cubicBezTo>
                    <a:cubicBezTo>
                      <a:pt x="913" y="64"/>
                      <a:pt x="913" y="64"/>
                      <a:pt x="913" y="65"/>
                    </a:cubicBezTo>
                    <a:lnTo>
                      <a:pt x="888" y="189"/>
                    </a:lnTo>
                    <a:close/>
                    <a:moveTo>
                      <a:pt x="912" y="6"/>
                    </a:moveTo>
                    <a:cubicBezTo>
                      <a:pt x="912" y="7"/>
                      <a:pt x="912" y="9"/>
                      <a:pt x="911" y="12"/>
                    </a:cubicBezTo>
                    <a:cubicBezTo>
                      <a:pt x="911" y="15"/>
                      <a:pt x="910" y="17"/>
                      <a:pt x="908" y="20"/>
                    </a:cubicBezTo>
                    <a:cubicBezTo>
                      <a:pt x="907" y="23"/>
                      <a:pt x="905" y="26"/>
                      <a:pt x="903" y="29"/>
                    </a:cubicBezTo>
                    <a:cubicBezTo>
                      <a:pt x="900" y="32"/>
                      <a:pt x="897" y="34"/>
                      <a:pt x="894" y="37"/>
                    </a:cubicBezTo>
                    <a:cubicBezTo>
                      <a:pt x="890" y="39"/>
                      <a:pt x="886" y="41"/>
                      <a:pt x="881" y="42"/>
                    </a:cubicBezTo>
                    <a:cubicBezTo>
                      <a:pt x="876" y="44"/>
                      <a:pt x="871" y="44"/>
                      <a:pt x="864" y="44"/>
                    </a:cubicBezTo>
                    <a:cubicBezTo>
                      <a:pt x="857" y="44"/>
                      <a:pt x="852" y="44"/>
                      <a:pt x="847" y="42"/>
                    </a:cubicBezTo>
                    <a:cubicBezTo>
                      <a:pt x="842" y="41"/>
                      <a:pt x="838" y="39"/>
                      <a:pt x="835" y="36"/>
                    </a:cubicBezTo>
                    <a:cubicBezTo>
                      <a:pt x="832" y="33"/>
                      <a:pt x="830" y="30"/>
                      <a:pt x="829" y="27"/>
                    </a:cubicBezTo>
                    <a:cubicBezTo>
                      <a:pt x="827" y="23"/>
                      <a:pt x="827" y="20"/>
                      <a:pt x="827" y="16"/>
                    </a:cubicBezTo>
                    <a:cubicBezTo>
                      <a:pt x="827" y="14"/>
                      <a:pt x="827" y="13"/>
                      <a:pt x="827" y="12"/>
                    </a:cubicBezTo>
                    <a:cubicBezTo>
                      <a:pt x="827" y="11"/>
                      <a:pt x="827" y="9"/>
                      <a:pt x="827" y="8"/>
                    </a:cubicBezTo>
                    <a:cubicBezTo>
                      <a:pt x="827" y="7"/>
                      <a:pt x="828" y="6"/>
                      <a:pt x="828" y="5"/>
                    </a:cubicBezTo>
                    <a:cubicBezTo>
                      <a:pt x="828" y="5"/>
                      <a:pt x="828" y="4"/>
                      <a:pt x="829" y="4"/>
                    </a:cubicBezTo>
                    <a:cubicBezTo>
                      <a:pt x="829" y="3"/>
                      <a:pt x="831" y="2"/>
                      <a:pt x="832" y="2"/>
                    </a:cubicBezTo>
                    <a:cubicBezTo>
                      <a:pt x="834" y="2"/>
                      <a:pt x="836" y="2"/>
                      <a:pt x="839" y="2"/>
                    </a:cubicBezTo>
                    <a:cubicBezTo>
                      <a:pt x="841" y="2"/>
                      <a:pt x="843" y="2"/>
                      <a:pt x="844" y="2"/>
                    </a:cubicBezTo>
                    <a:cubicBezTo>
                      <a:pt x="845" y="2"/>
                      <a:pt x="846" y="2"/>
                      <a:pt x="847" y="3"/>
                    </a:cubicBezTo>
                    <a:cubicBezTo>
                      <a:pt x="847" y="3"/>
                      <a:pt x="848" y="4"/>
                      <a:pt x="848" y="4"/>
                    </a:cubicBezTo>
                    <a:cubicBezTo>
                      <a:pt x="848" y="5"/>
                      <a:pt x="848" y="5"/>
                      <a:pt x="848" y="6"/>
                    </a:cubicBezTo>
                    <a:cubicBezTo>
                      <a:pt x="848" y="7"/>
                      <a:pt x="848" y="8"/>
                      <a:pt x="848" y="9"/>
                    </a:cubicBezTo>
                    <a:cubicBezTo>
                      <a:pt x="848" y="10"/>
                      <a:pt x="847" y="11"/>
                      <a:pt x="847" y="13"/>
                    </a:cubicBezTo>
                    <a:cubicBezTo>
                      <a:pt x="847" y="17"/>
                      <a:pt x="849" y="21"/>
                      <a:pt x="851" y="23"/>
                    </a:cubicBezTo>
                    <a:cubicBezTo>
                      <a:pt x="854" y="26"/>
                      <a:pt x="859" y="28"/>
                      <a:pt x="865" y="28"/>
                    </a:cubicBezTo>
                    <a:cubicBezTo>
                      <a:pt x="869" y="28"/>
                      <a:pt x="872" y="27"/>
                      <a:pt x="874" y="26"/>
                    </a:cubicBezTo>
                    <a:cubicBezTo>
                      <a:pt x="877" y="26"/>
                      <a:pt x="880" y="24"/>
                      <a:pt x="882" y="23"/>
                    </a:cubicBezTo>
                    <a:cubicBezTo>
                      <a:pt x="884" y="21"/>
                      <a:pt x="886" y="19"/>
                      <a:pt x="888" y="16"/>
                    </a:cubicBezTo>
                    <a:cubicBezTo>
                      <a:pt x="889" y="13"/>
                      <a:pt x="890" y="10"/>
                      <a:pt x="891" y="7"/>
                    </a:cubicBezTo>
                    <a:cubicBezTo>
                      <a:pt x="891" y="6"/>
                      <a:pt x="892" y="5"/>
                      <a:pt x="892" y="5"/>
                    </a:cubicBezTo>
                    <a:cubicBezTo>
                      <a:pt x="893" y="4"/>
                      <a:pt x="893" y="3"/>
                      <a:pt x="894" y="3"/>
                    </a:cubicBezTo>
                    <a:cubicBezTo>
                      <a:pt x="895" y="2"/>
                      <a:pt x="896" y="2"/>
                      <a:pt x="897" y="2"/>
                    </a:cubicBezTo>
                    <a:cubicBezTo>
                      <a:pt x="899" y="2"/>
                      <a:pt x="900" y="2"/>
                      <a:pt x="903" y="2"/>
                    </a:cubicBezTo>
                    <a:cubicBezTo>
                      <a:pt x="905" y="2"/>
                      <a:pt x="906" y="2"/>
                      <a:pt x="908" y="2"/>
                    </a:cubicBezTo>
                    <a:cubicBezTo>
                      <a:pt x="909" y="2"/>
                      <a:pt x="910" y="2"/>
                      <a:pt x="911" y="3"/>
                    </a:cubicBezTo>
                    <a:cubicBezTo>
                      <a:pt x="911" y="3"/>
                      <a:pt x="912" y="3"/>
                      <a:pt x="912" y="4"/>
                    </a:cubicBezTo>
                    <a:cubicBezTo>
                      <a:pt x="912" y="5"/>
                      <a:pt x="912" y="5"/>
                      <a:pt x="912" y="6"/>
                    </a:cubicBezTo>
                    <a:close/>
                    <a:moveTo>
                      <a:pt x="1140" y="3"/>
                    </a:moveTo>
                    <a:cubicBezTo>
                      <a:pt x="1140" y="3"/>
                      <a:pt x="1140" y="4"/>
                      <a:pt x="1140" y="5"/>
                    </a:cubicBezTo>
                    <a:cubicBezTo>
                      <a:pt x="1140" y="6"/>
                      <a:pt x="1140" y="7"/>
                      <a:pt x="1140" y="8"/>
                    </a:cubicBezTo>
                    <a:cubicBezTo>
                      <a:pt x="1140" y="9"/>
                      <a:pt x="1139" y="10"/>
                      <a:pt x="1139" y="11"/>
                    </a:cubicBezTo>
                    <a:cubicBezTo>
                      <a:pt x="1139" y="12"/>
                      <a:pt x="1139" y="13"/>
                      <a:pt x="1138" y="14"/>
                    </a:cubicBezTo>
                    <a:cubicBezTo>
                      <a:pt x="1138" y="15"/>
                      <a:pt x="1138" y="16"/>
                      <a:pt x="1137" y="17"/>
                    </a:cubicBezTo>
                    <a:cubicBezTo>
                      <a:pt x="1137" y="18"/>
                      <a:pt x="1137" y="19"/>
                      <a:pt x="1136" y="19"/>
                    </a:cubicBezTo>
                    <a:cubicBezTo>
                      <a:pt x="1136" y="20"/>
                      <a:pt x="1135" y="20"/>
                      <a:pt x="1134" y="21"/>
                    </a:cubicBezTo>
                    <a:cubicBezTo>
                      <a:pt x="1133" y="21"/>
                      <a:pt x="1131" y="21"/>
                      <a:pt x="1130" y="21"/>
                    </a:cubicBezTo>
                    <a:lnTo>
                      <a:pt x="1089" y="28"/>
                    </a:lnTo>
                    <a:cubicBezTo>
                      <a:pt x="1080" y="29"/>
                      <a:pt x="1073" y="31"/>
                      <a:pt x="1067" y="34"/>
                    </a:cubicBezTo>
                    <a:cubicBezTo>
                      <a:pt x="1061" y="37"/>
                      <a:pt x="1056" y="40"/>
                      <a:pt x="1051" y="44"/>
                    </a:cubicBezTo>
                    <a:cubicBezTo>
                      <a:pt x="1049" y="47"/>
                      <a:pt x="1046" y="50"/>
                      <a:pt x="1044" y="53"/>
                    </a:cubicBezTo>
                    <a:cubicBezTo>
                      <a:pt x="1043" y="56"/>
                      <a:pt x="1041" y="60"/>
                      <a:pt x="1039" y="63"/>
                    </a:cubicBezTo>
                    <a:cubicBezTo>
                      <a:pt x="1038" y="67"/>
                      <a:pt x="1036" y="70"/>
                      <a:pt x="1034" y="74"/>
                    </a:cubicBezTo>
                    <a:cubicBezTo>
                      <a:pt x="1033" y="78"/>
                      <a:pt x="1031" y="81"/>
                      <a:pt x="1029" y="85"/>
                    </a:cubicBezTo>
                    <a:cubicBezTo>
                      <a:pt x="1032" y="81"/>
                      <a:pt x="1035" y="78"/>
                      <a:pt x="1038" y="75"/>
                    </a:cubicBezTo>
                    <a:cubicBezTo>
                      <a:pt x="1042" y="72"/>
                      <a:pt x="1046" y="70"/>
                      <a:pt x="1050" y="67"/>
                    </a:cubicBezTo>
                    <a:cubicBezTo>
                      <a:pt x="1054" y="65"/>
                      <a:pt x="1059" y="63"/>
                      <a:pt x="1064" y="62"/>
                    </a:cubicBezTo>
                    <a:cubicBezTo>
                      <a:pt x="1069" y="61"/>
                      <a:pt x="1074" y="60"/>
                      <a:pt x="1079" y="60"/>
                    </a:cubicBezTo>
                    <a:cubicBezTo>
                      <a:pt x="1087" y="60"/>
                      <a:pt x="1094" y="61"/>
                      <a:pt x="1100" y="63"/>
                    </a:cubicBezTo>
                    <a:cubicBezTo>
                      <a:pt x="1106" y="66"/>
                      <a:pt x="1110" y="69"/>
                      <a:pt x="1114" y="73"/>
                    </a:cubicBezTo>
                    <a:cubicBezTo>
                      <a:pt x="1117" y="77"/>
                      <a:pt x="1120" y="81"/>
                      <a:pt x="1122" y="87"/>
                    </a:cubicBezTo>
                    <a:cubicBezTo>
                      <a:pt x="1123" y="92"/>
                      <a:pt x="1124" y="98"/>
                      <a:pt x="1124" y="105"/>
                    </a:cubicBezTo>
                    <a:cubicBezTo>
                      <a:pt x="1124" y="112"/>
                      <a:pt x="1124" y="120"/>
                      <a:pt x="1122" y="127"/>
                    </a:cubicBezTo>
                    <a:cubicBezTo>
                      <a:pt x="1121" y="134"/>
                      <a:pt x="1119" y="141"/>
                      <a:pt x="1116" y="148"/>
                    </a:cubicBezTo>
                    <a:cubicBezTo>
                      <a:pt x="1113" y="154"/>
                      <a:pt x="1109" y="161"/>
                      <a:pt x="1105" y="166"/>
                    </a:cubicBezTo>
                    <a:cubicBezTo>
                      <a:pt x="1101" y="172"/>
                      <a:pt x="1096" y="177"/>
                      <a:pt x="1090" y="182"/>
                    </a:cubicBezTo>
                    <a:cubicBezTo>
                      <a:pt x="1085" y="186"/>
                      <a:pt x="1079" y="189"/>
                      <a:pt x="1071" y="192"/>
                    </a:cubicBezTo>
                    <a:cubicBezTo>
                      <a:pt x="1064" y="194"/>
                      <a:pt x="1057" y="195"/>
                      <a:pt x="1048" y="195"/>
                    </a:cubicBezTo>
                    <a:cubicBezTo>
                      <a:pt x="1038" y="195"/>
                      <a:pt x="1030" y="194"/>
                      <a:pt x="1023" y="191"/>
                    </a:cubicBezTo>
                    <a:cubicBezTo>
                      <a:pt x="1017" y="188"/>
                      <a:pt x="1012" y="184"/>
                      <a:pt x="1008" y="179"/>
                    </a:cubicBezTo>
                    <a:cubicBezTo>
                      <a:pt x="1005" y="174"/>
                      <a:pt x="1003" y="169"/>
                      <a:pt x="1001" y="162"/>
                    </a:cubicBezTo>
                    <a:cubicBezTo>
                      <a:pt x="1000" y="156"/>
                      <a:pt x="1000" y="150"/>
                      <a:pt x="1000" y="144"/>
                    </a:cubicBezTo>
                    <a:cubicBezTo>
                      <a:pt x="1000" y="140"/>
                      <a:pt x="1000" y="135"/>
                      <a:pt x="1001" y="129"/>
                    </a:cubicBezTo>
                    <a:cubicBezTo>
                      <a:pt x="1001" y="124"/>
                      <a:pt x="1002" y="117"/>
                      <a:pt x="1003" y="110"/>
                    </a:cubicBezTo>
                    <a:cubicBezTo>
                      <a:pt x="1005" y="103"/>
                      <a:pt x="1006" y="96"/>
                      <a:pt x="1008" y="88"/>
                    </a:cubicBezTo>
                    <a:cubicBezTo>
                      <a:pt x="1011" y="81"/>
                      <a:pt x="1013" y="73"/>
                      <a:pt x="1016" y="66"/>
                    </a:cubicBezTo>
                    <a:cubicBezTo>
                      <a:pt x="1018" y="59"/>
                      <a:pt x="1021" y="53"/>
                      <a:pt x="1025" y="46"/>
                    </a:cubicBezTo>
                    <a:cubicBezTo>
                      <a:pt x="1028" y="40"/>
                      <a:pt x="1032" y="35"/>
                      <a:pt x="1036" y="31"/>
                    </a:cubicBezTo>
                    <a:cubicBezTo>
                      <a:pt x="1043" y="24"/>
                      <a:pt x="1050" y="19"/>
                      <a:pt x="1059" y="15"/>
                    </a:cubicBezTo>
                    <a:cubicBezTo>
                      <a:pt x="1067" y="12"/>
                      <a:pt x="1076" y="9"/>
                      <a:pt x="1087" y="8"/>
                    </a:cubicBezTo>
                    <a:lnTo>
                      <a:pt x="1134" y="0"/>
                    </a:lnTo>
                    <a:cubicBezTo>
                      <a:pt x="1137" y="0"/>
                      <a:pt x="1138" y="0"/>
                      <a:pt x="1139" y="0"/>
                    </a:cubicBezTo>
                    <a:cubicBezTo>
                      <a:pt x="1140" y="1"/>
                      <a:pt x="1140" y="1"/>
                      <a:pt x="1140" y="3"/>
                    </a:cubicBezTo>
                    <a:close/>
                    <a:moveTo>
                      <a:pt x="1100" y="110"/>
                    </a:moveTo>
                    <a:cubicBezTo>
                      <a:pt x="1100" y="105"/>
                      <a:pt x="1100" y="101"/>
                      <a:pt x="1099" y="97"/>
                    </a:cubicBezTo>
                    <a:cubicBezTo>
                      <a:pt x="1098" y="93"/>
                      <a:pt x="1097" y="90"/>
                      <a:pt x="1095" y="88"/>
                    </a:cubicBezTo>
                    <a:cubicBezTo>
                      <a:pt x="1093" y="85"/>
                      <a:pt x="1090" y="83"/>
                      <a:pt x="1087" y="81"/>
                    </a:cubicBezTo>
                    <a:cubicBezTo>
                      <a:pt x="1083" y="80"/>
                      <a:pt x="1079" y="79"/>
                      <a:pt x="1073" y="79"/>
                    </a:cubicBezTo>
                    <a:cubicBezTo>
                      <a:pt x="1068" y="79"/>
                      <a:pt x="1062" y="80"/>
                      <a:pt x="1056" y="83"/>
                    </a:cubicBezTo>
                    <a:cubicBezTo>
                      <a:pt x="1050" y="86"/>
                      <a:pt x="1044" y="90"/>
                      <a:pt x="1039" y="95"/>
                    </a:cubicBezTo>
                    <a:cubicBezTo>
                      <a:pt x="1034" y="101"/>
                      <a:pt x="1031" y="107"/>
                      <a:pt x="1027" y="116"/>
                    </a:cubicBezTo>
                    <a:cubicBezTo>
                      <a:pt x="1024" y="124"/>
                      <a:pt x="1023" y="134"/>
                      <a:pt x="1023" y="145"/>
                    </a:cubicBezTo>
                    <a:cubicBezTo>
                      <a:pt x="1023" y="151"/>
                      <a:pt x="1023" y="155"/>
                      <a:pt x="1025" y="159"/>
                    </a:cubicBezTo>
                    <a:cubicBezTo>
                      <a:pt x="1026" y="163"/>
                      <a:pt x="1028" y="167"/>
                      <a:pt x="1030" y="169"/>
                    </a:cubicBezTo>
                    <a:cubicBezTo>
                      <a:pt x="1033" y="172"/>
                      <a:pt x="1036" y="173"/>
                      <a:pt x="1039" y="175"/>
                    </a:cubicBezTo>
                    <a:cubicBezTo>
                      <a:pt x="1043" y="176"/>
                      <a:pt x="1047" y="176"/>
                      <a:pt x="1051" y="176"/>
                    </a:cubicBezTo>
                    <a:cubicBezTo>
                      <a:pt x="1059" y="176"/>
                      <a:pt x="1065" y="174"/>
                      <a:pt x="1071" y="171"/>
                    </a:cubicBezTo>
                    <a:cubicBezTo>
                      <a:pt x="1078" y="167"/>
                      <a:pt x="1083" y="163"/>
                      <a:pt x="1087" y="156"/>
                    </a:cubicBezTo>
                    <a:cubicBezTo>
                      <a:pt x="1091" y="150"/>
                      <a:pt x="1095" y="143"/>
                      <a:pt x="1097" y="135"/>
                    </a:cubicBezTo>
                    <a:cubicBezTo>
                      <a:pt x="1099" y="127"/>
                      <a:pt x="1100" y="119"/>
                      <a:pt x="1100" y="110"/>
                    </a:cubicBezTo>
                    <a:close/>
                    <a:moveTo>
                      <a:pt x="1247" y="189"/>
                    </a:moveTo>
                    <a:cubicBezTo>
                      <a:pt x="1247" y="191"/>
                      <a:pt x="1246" y="192"/>
                      <a:pt x="1244" y="192"/>
                    </a:cubicBezTo>
                    <a:cubicBezTo>
                      <a:pt x="1243" y="193"/>
                      <a:pt x="1240" y="193"/>
                      <a:pt x="1236" y="193"/>
                    </a:cubicBezTo>
                    <a:cubicBezTo>
                      <a:pt x="1234" y="193"/>
                      <a:pt x="1233" y="193"/>
                      <a:pt x="1231" y="193"/>
                    </a:cubicBezTo>
                    <a:cubicBezTo>
                      <a:pt x="1230" y="193"/>
                      <a:pt x="1229" y="193"/>
                      <a:pt x="1229" y="192"/>
                    </a:cubicBezTo>
                    <a:cubicBezTo>
                      <a:pt x="1228" y="192"/>
                      <a:pt x="1227" y="192"/>
                      <a:pt x="1227" y="191"/>
                    </a:cubicBezTo>
                    <a:cubicBezTo>
                      <a:pt x="1227" y="191"/>
                      <a:pt x="1227" y="190"/>
                      <a:pt x="1227" y="189"/>
                    </a:cubicBezTo>
                    <a:lnTo>
                      <a:pt x="1232" y="166"/>
                    </a:lnTo>
                    <a:cubicBezTo>
                      <a:pt x="1230" y="169"/>
                      <a:pt x="1228" y="172"/>
                      <a:pt x="1225" y="175"/>
                    </a:cubicBezTo>
                    <a:cubicBezTo>
                      <a:pt x="1222" y="179"/>
                      <a:pt x="1218" y="182"/>
                      <a:pt x="1214" y="185"/>
                    </a:cubicBezTo>
                    <a:cubicBezTo>
                      <a:pt x="1210" y="188"/>
                      <a:pt x="1205" y="190"/>
                      <a:pt x="1200" y="192"/>
                    </a:cubicBezTo>
                    <a:cubicBezTo>
                      <a:pt x="1195" y="194"/>
                      <a:pt x="1189" y="195"/>
                      <a:pt x="1184" y="195"/>
                    </a:cubicBezTo>
                    <a:cubicBezTo>
                      <a:pt x="1176" y="195"/>
                      <a:pt x="1170" y="194"/>
                      <a:pt x="1165" y="191"/>
                    </a:cubicBezTo>
                    <a:cubicBezTo>
                      <a:pt x="1161" y="189"/>
                      <a:pt x="1157" y="185"/>
                      <a:pt x="1154" y="181"/>
                    </a:cubicBezTo>
                    <a:cubicBezTo>
                      <a:pt x="1151" y="177"/>
                      <a:pt x="1149" y="172"/>
                      <a:pt x="1148" y="167"/>
                    </a:cubicBezTo>
                    <a:cubicBezTo>
                      <a:pt x="1147" y="162"/>
                      <a:pt x="1147" y="156"/>
                      <a:pt x="1147" y="150"/>
                    </a:cubicBezTo>
                    <a:cubicBezTo>
                      <a:pt x="1147" y="145"/>
                      <a:pt x="1147" y="139"/>
                      <a:pt x="1148" y="133"/>
                    </a:cubicBezTo>
                    <a:cubicBezTo>
                      <a:pt x="1149" y="126"/>
                      <a:pt x="1151" y="120"/>
                      <a:pt x="1153" y="113"/>
                    </a:cubicBezTo>
                    <a:cubicBezTo>
                      <a:pt x="1155" y="106"/>
                      <a:pt x="1158" y="100"/>
                      <a:pt x="1161" y="93"/>
                    </a:cubicBezTo>
                    <a:cubicBezTo>
                      <a:pt x="1165" y="87"/>
                      <a:pt x="1169" y="81"/>
                      <a:pt x="1174" y="76"/>
                    </a:cubicBezTo>
                    <a:cubicBezTo>
                      <a:pt x="1178" y="71"/>
                      <a:pt x="1184" y="67"/>
                      <a:pt x="1191" y="64"/>
                    </a:cubicBezTo>
                    <a:cubicBezTo>
                      <a:pt x="1197" y="60"/>
                      <a:pt x="1204" y="59"/>
                      <a:pt x="1212" y="59"/>
                    </a:cubicBezTo>
                    <a:cubicBezTo>
                      <a:pt x="1221" y="59"/>
                      <a:pt x="1228" y="61"/>
                      <a:pt x="1233" y="64"/>
                    </a:cubicBezTo>
                    <a:cubicBezTo>
                      <a:pt x="1239" y="67"/>
                      <a:pt x="1244" y="72"/>
                      <a:pt x="1249" y="78"/>
                    </a:cubicBezTo>
                    <a:lnTo>
                      <a:pt x="1252" y="65"/>
                    </a:lnTo>
                    <a:cubicBezTo>
                      <a:pt x="1252" y="64"/>
                      <a:pt x="1253" y="62"/>
                      <a:pt x="1255" y="62"/>
                    </a:cubicBezTo>
                    <a:cubicBezTo>
                      <a:pt x="1257" y="61"/>
                      <a:pt x="1259" y="61"/>
                      <a:pt x="1263" y="61"/>
                    </a:cubicBezTo>
                    <a:cubicBezTo>
                      <a:pt x="1265" y="61"/>
                      <a:pt x="1266" y="61"/>
                      <a:pt x="1268" y="61"/>
                    </a:cubicBezTo>
                    <a:cubicBezTo>
                      <a:pt x="1269" y="61"/>
                      <a:pt x="1270" y="61"/>
                      <a:pt x="1271" y="62"/>
                    </a:cubicBezTo>
                    <a:cubicBezTo>
                      <a:pt x="1271" y="62"/>
                      <a:pt x="1272" y="63"/>
                      <a:pt x="1272" y="63"/>
                    </a:cubicBezTo>
                    <a:cubicBezTo>
                      <a:pt x="1272" y="64"/>
                      <a:pt x="1272" y="64"/>
                      <a:pt x="1272" y="65"/>
                    </a:cubicBezTo>
                    <a:lnTo>
                      <a:pt x="1247" y="189"/>
                    </a:lnTo>
                    <a:close/>
                    <a:moveTo>
                      <a:pt x="1243" y="98"/>
                    </a:moveTo>
                    <a:cubicBezTo>
                      <a:pt x="1239" y="91"/>
                      <a:pt x="1234" y="86"/>
                      <a:pt x="1229" y="83"/>
                    </a:cubicBezTo>
                    <a:cubicBezTo>
                      <a:pt x="1224" y="80"/>
                      <a:pt x="1218" y="79"/>
                      <a:pt x="1212" y="79"/>
                    </a:cubicBezTo>
                    <a:cubicBezTo>
                      <a:pt x="1207" y="79"/>
                      <a:pt x="1203" y="80"/>
                      <a:pt x="1199" y="82"/>
                    </a:cubicBezTo>
                    <a:cubicBezTo>
                      <a:pt x="1195" y="84"/>
                      <a:pt x="1191" y="87"/>
                      <a:pt x="1188" y="91"/>
                    </a:cubicBezTo>
                    <a:cubicBezTo>
                      <a:pt x="1185" y="95"/>
                      <a:pt x="1182" y="100"/>
                      <a:pt x="1180" y="104"/>
                    </a:cubicBezTo>
                    <a:cubicBezTo>
                      <a:pt x="1178" y="109"/>
                      <a:pt x="1176" y="114"/>
                      <a:pt x="1175" y="120"/>
                    </a:cubicBezTo>
                    <a:cubicBezTo>
                      <a:pt x="1173" y="125"/>
                      <a:pt x="1172" y="130"/>
                      <a:pt x="1171" y="135"/>
                    </a:cubicBezTo>
                    <a:cubicBezTo>
                      <a:pt x="1171" y="140"/>
                      <a:pt x="1170" y="145"/>
                      <a:pt x="1170" y="149"/>
                    </a:cubicBezTo>
                    <a:cubicBezTo>
                      <a:pt x="1170" y="152"/>
                      <a:pt x="1171" y="155"/>
                      <a:pt x="1171" y="158"/>
                    </a:cubicBezTo>
                    <a:cubicBezTo>
                      <a:pt x="1172" y="162"/>
                      <a:pt x="1173" y="164"/>
                      <a:pt x="1174" y="167"/>
                    </a:cubicBezTo>
                    <a:cubicBezTo>
                      <a:pt x="1175" y="170"/>
                      <a:pt x="1177" y="172"/>
                      <a:pt x="1180" y="173"/>
                    </a:cubicBezTo>
                    <a:cubicBezTo>
                      <a:pt x="1182" y="175"/>
                      <a:pt x="1186" y="176"/>
                      <a:pt x="1190" y="176"/>
                    </a:cubicBezTo>
                    <a:cubicBezTo>
                      <a:pt x="1195" y="176"/>
                      <a:pt x="1200" y="174"/>
                      <a:pt x="1205" y="172"/>
                    </a:cubicBezTo>
                    <a:cubicBezTo>
                      <a:pt x="1210" y="169"/>
                      <a:pt x="1215" y="165"/>
                      <a:pt x="1219" y="160"/>
                    </a:cubicBezTo>
                    <a:cubicBezTo>
                      <a:pt x="1223" y="155"/>
                      <a:pt x="1227" y="149"/>
                      <a:pt x="1231" y="142"/>
                    </a:cubicBezTo>
                    <a:cubicBezTo>
                      <a:pt x="1234" y="136"/>
                      <a:pt x="1237" y="128"/>
                      <a:pt x="1238" y="120"/>
                    </a:cubicBezTo>
                    <a:lnTo>
                      <a:pt x="1243" y="98"/>
                    </a:lnTo>
                    <a:close/>
                    <a:moveTo>
                      <a:pt x="1391" y="189"/>
                    </a:moveTo>
                    <a:cubicBezTo>
                      <a:pt x="1391" y="190"/>
                      <a:pt x="1391" y="190"/>
                      <a:pt x="1390" y="191"/>
                    </a:cubicBezTo>
                    <a:cubicBezTo>
                      <a:pt x="1390" y="192"/>
                      <a:pt x="1389" y="192"/>
                      <a:pt x="1388" y="192"/>
                    </a:cubicBezTo>
                    <a:cubicBezTo>
                      <a:pt x="1387" y="193"/>
                      <a:pt x="1386" y="193"/>
                      <a:pt x="1385" y="193"/>
                    </a:cubicBezTo>
                    <a:cubicBezTo>
                      <a:pt x="1383" y="193"/>
                      <a:pt x="1381" y="193"/>
                      <a:pt x="1379" y="193"/>
                    </a:cubicBezTo>
                    <a:cubicBezTo>
                      <a:pt x="1377" y="193"/>
                      <a:pt x="1375" y="193"/>
                      <a:pt x="1374" y="193"/>
                    </a:cubicBezTo>
                    <a:cubicBezTo>
                      <a:pt x="1372" y="193"/>
                      <a:pt x="1371" y="193"/>
                      <a:pt x="1370" y="192"/>
                    </a:cubicBezTo>
                    <a:cubicBezTo>
                      <a:pt x="1369" y="192"/>
                      <a:pt x="1369" y="192"/>
                      <a:pt x="1369" y="191"/>
                    </a:cubicBezTo>
                    <a:cubicBezTo>
                      <a:pt x="1368" y="190"/>
                      <a:pt x="1368" y="190"/>
                      <a:pt x="1369" y="189"/>
                    </a:cubicBezTo>
                    <a:lnTo>
                      <a:pt x="1390" y="81"/>
                    </a:lnTo>
                    <a:lnTo>
                      <a:pt x="1387" y="81"/>
                    </a:lnTo>
                    <a:cubicBezTo>
                      <a:pt x="1378" y="81"/>
                      <a:pt x="1371" y="82"/>
                      <a:pt x="1364" y="84"/>
                    </a:cubicBezTo>
                    <a:cubicBezTo>
                      <a:pt x="1358" y="86"/>
                      <a:pt x="1353" y="90"/>
                      <a:pt x="1348" y="94"/>
                    </a:cubicBezTo>
                    <a:cubicBezTo>
                      <a:pt x="1344" y="99"/>
                      <a:pt x="1340" y="104"/>
                      <a:pt x="1337" y="111"/>
                    </a:cubicBezTo>
                    <a:cubicBezTo>
                      <a:pt x="1334" y="119"/>
                      <a:pt x="1331" y="127"/>
                      <a:pt x="1329" y="137"/>
                    </a:cubicBezTo>
                    <a:cubicBezTo>
                      <a:pt x="1327" y="145"/>
                      <a:pt x="1325" y="153"/>
                      <a:pt x="1323" y="159"/>
                    </a:cubicBezTo>
                    <a:cubicBezTo>
                      <a:pt x="1321" y="166"/>
                      <a:pt x="1319" y="171"/>
                      <a:pt x="1317" y="175"/>
                    </a:cubicBezTo>
                    <a:cubicBezTo>
                      <a:pt x="1314" y="180"/>
                      <a:pt x="1312" y="183"/>
                      <a:pt x="1309" y="186"/>
                    </a:cubicBezTo>
                    <a:cubicBezTo>
                      <a:pt x="1307" y="189"/>
                      <a:pt x="1304" y="191"/>
                      <a:pt x="1300" y="192"/>
                    </a:cubicBezTo>
                    <a:cubicBezTo>
                      <a:pt x="1297" y="193"/>
                      <a:pt x="1294" y="194"/>
                      <a:pt x="1290" y="195"/>
                    </a:cubicBezTo>
                    <a:cubicBezTo>
                      <a:pt x="1286" y="195"/>
                      <a:pt x="1281" y="195"/>
                      <a:pt x="1276" y="195"/>
                    </a:cubicBezTo>
                    <a:cubicBezTo>
                      <a:pt x="1274" y="195"/>
                      <a:pt x="1273" y="195"/>
                      <a:pt x="1272" y="194"/>
                    </a:cubicBezTo>
                    <a:cubicBezTo>
                      <a:pt x="1272" y="193"/>
                      <a:pt x="1271" y="192"/>
                      <a:pt x="1271" y="191"/>
                    </a:cubicBezTo>
                    <a:cubicBezTo>
                      <a:pt x="1271" y="190"/>
                      <a:pt x="1271" y="189"/>
                      <a:pt x="1271" y="188"/>
                    </a:cubicBezTo>
                    <a:cubicBezTo>
                      <a:pt x="1271" y="187"/>
                      <a:pt x="1272" y="186"/>
                      <a:pt x="1272" y="185"/>
                    </a:cubicBezTo>
                    <a:cubicBezTo>
                      <a:pt x="1272" y="184"/>
                      <a:pt x="1272" y="183"/>
                      <a:pt x="1273" y="181"/>
                    </a:cubicBezTo>
                    <a:cubicBezTo>
                      <a:pt x="1273" y="180"/>
                      <a:pt x="1273" y="179"/>
                      <a:pt x="1274" y="178"/>
                    </a:cubicBezTo>
                    <a:cubicBezTo>
                      <a:pt x="1275" y="176"/>
                      <a:pt x="1275" y="176"/>
                      <a:pt x="1276" y="175"/>
                    </a:cubicBezTo>
                    <a:cubicBezTo>
                      <a:pt x="1277" y="174"/>
                      <a:pt x="1278" y="174"/>
                      <a:pt x="1279" y="174"/>
                    </a:cubicBezTo>
                    <a:cubicBezTo>
                      <a:pt x="1283" y="174"/>
                      <a:pt x="1286" y="174"/>
                      <a:pt x="1289" y="173"/>
                    </a:cubicBezTo>
                    <a:cubicBezTo>
                      <a:pt x="1292" y="172"/>
                      <a:pt x="1294" y="170"/>
                      <a:pt x="1296" y="167"/>
                    </a:cubicBezTo>
                    <a:cubicBezTo>
                      <a:pt x="1298" y="164"/>
                      <a:pt x="1300" y="160"/>
                      <a:pt x="1302" y="154"/>
                    </a:cubicBezTo>
                    <a:cubicBezTo>
                      <a:pt x="1304" y="149"/>
                      <a:pt x="1306" y="141"/>
                      <a:pt x="1308" y="132"/>
                    </a:cubicBezTo>
                    <a:cubicBezTo>
                      <a:pt x="1310" y="121"/>
                      <a:pt x="1314" y="112"/>
                      <a:pt x="1317" y="103"/>
                    </a:cubicBezTo>
                    <a:cubicBezTo>
                      <a:pt x="1321" y="94"/>
                      <a:pt x="1326" y="87"/>
                      <a:pt x="1333" y="81"/>
                    </a:cubicBezTo>
                    <a:cubicBezTo>
                      <a:pt x="1339" y="74"/>
                      <a:pt x="1347" y="70"/>
                      <a:pt x="1357" y="66"/>
                    </a:cubicBezTo>
                    <a:cubicBezTo>
                      <a:pt x="1366" y="63"/>
                      <a:pt x="1378" y="61"/>
                      <a:pt x="1392" y="61"/>
                    </a:cubicBezTo>
                    <a:cubicBezTo>
                      <a:pt x="1395" y="61"/>
                      <a:pt x="1398" y="61"/>
                      <a:pt x="1401" y="61"/>
                    </a:cubicBezTo>
                    <a:cubicBezTo>
                      <a:pt x="1404" y="61"/>
                      <a:pt x="1407" y="62"/>
                      <a:pt x="1410" y="62"/>
                    </a:cubicBezTo>
                    <a:cubicBezTo>
                      <a:pt x="1412" y="62"/>
                      <a:pt x="1414" y="63"/>
                      <a:pt x="1415" y="64"/>
                    </a:cubicBezTo>
                    <a:cubicBezTo>
                      <a:pt x="1416" y="65"/>
                      <a:pt x="1416" y="67"/>
                      <a:pt x="1415" y="70"/>
                    </a:cubicBezTo>
                    <a:lnTo>
                      <a:pt x="1391" y="189"/>
                    </a:lnTo>
                    <a:close/>
                    <a:moveTo>
                      <a:pt x="1535" y="189"/>
                    </a:moveTo>
                    <a:cubicBezTo>
                      <a:pt x="1535" y="190"/>
                      <a:pt x="1535" y="190"/>
                      <a:pt x="1534" y="191"/>
                    </a:cubicBezTo>
                    <a:cubicBezTo>
                      <a:pt x="1534" y="192"/>
                      <a:pt x="1533" y="192"/>
                      <a:pt x="1532" y="192"/>
                    </a:cubicBezTo>
                    <a:cubicBezTo>
                      <a:pt x="1531" y="193"/>
                      <a:pt x="1530" y="193"/>
                      <a:pt x="1529" y="193"/>
                    </a:cubicBezTo>
                    <a:cubicBezTo>
                      <a:pt x="1527" y="193"/>
                      <a:pt x="1525" y="193"/>
                      <a:pt x="1523" y="193"/>
                    </a:cubicBezTo>
                    <a:cubicBezTo>
                      <a:pt x="1521" y="193"/>
                      <a:pt x="1519" y="193"/>
                      <a:pt x="1518" y="193"/>
                    </a:cubicBezTo>
                    <a:cubicBezTo>
                      <a:pt x="1516" y="193"/>
                      <a:pt x="1515" y="193"/>
                      <a:pt x="1514" y="192"/>
                    </a:cubicBezTo>
                    <a:cubicBezTo>
                      <a:pt x="1514" y="192"/>
                      <a:pt x="1513" y="192"/>
                      <a:pt x="1513" y="191"/>
                    </a:cubicBezTo>
                    <a:cubicBezTo>
                      <a:pt x="1512" y="190"/>
                      <a:pt x="1512" y="190"/>
                      <a:pt x="1513" y="189"/>
                    </a:cubicBezTo>
                    <a:lnTo>
                      <a:pt x="1534" y="81"/>
                    </a:lnTo>
                    <a:lnTo>
                      <a:pt x="1531" y="81"/>
                    </a:lnTo>
                    <a:cubicBezTo>
                      <a:pt x="1522" y="81"/>
                      <a:pt x="1515" y="82"/>
                      <a:pt x="1508" y="84"/>
                    </a:cubicBezTo>
                    <a:cubicBezTo>
                      <a:pt x="1502" y="86"/>
                      <a:pt x="1497" y="90"/>
                      <a:pt x="1492" y="94"/>
                    </a:cubicBezTo>
                    <a:cubicBezTo>
                      <a:pt x="1488" y="99"/>
                      <a:pt x="1484" y="104"/>
                      <a:pt x="1481" y="111"/>
                    </a:cubicBezTo>
                    <a:cubicBezTo>
                      <a:pt x="1478" y="119"/>
                      <a:pt x="1476" y="127"/>
                      <a:pt x="1473" y="137"/>
                    </a:cubicBezTo>
                    <a:cubicBezTo>
                      <a:pt x="1471" y="145"/>
                      <a:pt x="1469" y="153"/>
                      <a:pt x="1467" y="159"/>
                    </a:cubicBezTo>
                    <a:cubicBezTo>
                      <a:pt x="1465" y="166"/>
                      <a:pt x="1463" y="171"/>
                      <a:pt x="1461" y="175"/>
                    </a:cubicBezTo>
                    <a:cubicBezTo>
                      <a:pt x="1458" y="180"/>
                      <a:pt x="1456" y="183"/>
                      <a:pt x="1453" y="186"/>
                    </a:cubicBezTo>
                    <a:cubicBezTo>
                      <a:pt x="1451" y="189"/>
                      <a:pt x="1448" y="191"/>
                      <a:pt x="1444" y="192"/>
                    </a:cubicBezTo>
                    <a:cubicBezTo>
                      <a:pt x="1441" y="193"/>
                      <a:pt x="1438" y="194"/>
                      <a:pt x="1434" y="195"/>
                    </a:cubicBezTo>
                    <a:cubicBezTo>
                      <a:pt x="1430" y="195"/>
                      <a:pt x="1425" y="195"/>
                      <a:pt x="1420" y="195"/>
                    </a:cubicBezTo>
                    <a:cubicBezTo>
                      <a:pt x="1418" y="195"/>
                      <a:pt x="1417" y="195"/>
                      <a:pt x="1416" y="194"/>
                    </a:cubicBezTo>
                    <a:cubicBezTo>
                      <a:pt x="1416" y="193"/>
                      <a:pt x="1415" y="192"/>
                      <a:pt x="1415" y="191"/>
                    </a:cubicBezTo>
                    <a:cubicBezTo>
                      <a:pt x="1415" y="190"/>
                      <a:pt x="1415" y="189"/>
                      <a:pt x="1415" y="188"/>
                    </a:cubicBezTo>
                    <a:cubicBezTo>
                      <a:pt x="1415" y="187"/>
                      <a:pt x="1416" y="186"/>
                      <a:pt x="1416" y="185"/>
                    </a:cubicBezTo>
                    <a:cubicBezTo>
                      <a:pt x="1416" y="184"/>
                      <a:pt x="1416" y="183"/>
                      <a:pt x="1417" y="181"/>
                    </a:cubicBezTo>
                    <a:cubicBezTo>
                      <a:pt x="1417" y="180"/>
                      <a:pt x="1418" y="179"/>
                      <a:pt x="1418" y="178"/>
                    </a:cubicBezTo>
                    <a:cubicBezTo>
                      <a:pt x="1419" y="176"/>
                      <a:pt x="1419" y="176"/>
                      <a:pt x="1420" y="175"/>
                    </a:cubicBezTo>
                    <a:cubicBezTo>
                      <a:pt x="1421" y="174"/>
                      <a:pt x="1422" y="174"/>
                      <a:pt x="1423" y="174"/>
                    </a:cubicBezTo>
                    <a:cubicBezTo>
                      <a:pt x="1427" y="174"/>
                      <a:pt x="1430" y="174"/>
                      <a:pt x="1433" y="173"/>
                    </a:cubicBezTo>
                    <a:cubicBezTo>
                      <a:pt x="1436" y="172"/>
                      <a:pt x="1438" y="170"/>
                      <a:pt x="1440" y="167"/>
                    </a:cubicBezTo>
                    <a:cubicBezTo>
                      <a:pt x="1442" y="164"/>
                      <a:pt x="1444" y="160"/>
                      <a:pt x="1446" y="154"/>
                    </a:cubicBezTo>
                    <a:cubicBezTo>
                      <a:pt x="1448" y="149"/>
                      <a:pt x="1450" y="141"/>
                      <a:pt x="1452" y="132"/>
                    </a:cubicBezTo>
                    <a:cubicBezTo>
                      <a:pt x="1455" y="121"/>
                      <a:pt x="1458" y="112"/>
                      <a:pt x="1461" y="103"/>
                    </a:cubicBezTo>
                    <a:cubicBezTo>
                      <a:pt x="1465" y="94"/>
                      <a:pt x="1470" y="87"/>
                      <a:pt x="1477" y="81"/>
                    </a:cubicBezTo>
                    <a:cubicBezTo>
                      <a:pt x="1483" y="74"/>
                      <a:pt x="1491" y="70"/>
                      <a:pt x="1501" y="66"/>
                    </a:cubicBezTo>
                    <a:cubicBezTo>
                      <a:pt x="1510" y="63"/>
                      <a:pt x="1522" y="61"/>
                      <a:pt x="1536" y="61"/>
                    </a:cubicBezTo>
                    <a:cubicBezTo>
                      <a:pt x="1539" y="61"/>
                      <a:pt x="1542" y="61"/>
                      <a:pt x="1545" y="61"/>
                    </a:cubicBezTo>
                    <a:cubicBezTo>
                      <a:pt x="1548" y="61"/>
                      <a:pt x="1551" y="62"/>
                      <a:pt x="1554" y="62"/>
                    </a:cubicBezTo>
                    <a:cubicBezTo>
                      <a:pt x="1556" y="62"/>
                      <a:pt x="1558" y="63"/>
                      <a:pt x="1559" y="64"/>
                    </a:cubicBezTo>
                    <a:cubicBezTo>
                      <a:pt x="1560" y="65"/>
                      <a:pt x="1560" y="67"/>
                      <a:pt x="1559" y="70"/>
                    </a:cubicBezTo>
                    <a:lnTo>
                      <a:pt x="1535" y="189"/>
                    </a:lnTo>
                    <a:close/>
                  </a:path>
                </a:pathLst>
              </a:custGeom>
              <a:solidFill>
                <a:srgbClr val="4C4C4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2" name="Freeform 1214"/>
              <p:cNvSpPr>
                <a:spLocks noEditPoints="1"/>
              </p:cNvSpPr>
              <p:nvPr/>
            </p:nvSpPr>
            <p:spPr bwMode="auto">
              <a:xfrm>
                <a:off x="2468" y="1749"/>
                <a:ext cx="219" cy="80"/>
              </a:xfrm>
              <a:custGeom>
                <a:avLst/>
                <a:gdLst/>
                <a:ahLst/>
                <a:cxnLst>
                  <a:cxn ang="0">
                    <a:pos x="155" y="236"/>
                  </a:cxn>
                  <a:cxn ang="0">
                    <a:pos x="143" y="288"/>
                  </a:cxn>
                  <a:cxn ang="0">
                    <a:pos x="108" y="284"/>
                  </a:cxn>
                  <a:cxn ang="0">
                    <a:pos x="6" y="235"/>
                  </a:cxn>
                  <a:cxn ang="0">
                    <a:pos x="0" y="202"/>
                  </a:cxn>
                  <a:cxn ang="0">
                    <a:pos x="84" y="43"/>
                  </a:cxn>
                  <a:cxn ang="0">
                    <a:pos x="119" y="36"/>
                  </a:cxn>
                  <a:cxn ang="0">
                    <a:pos x="155" y="45"/>
                  </a:cxn>
                  <a:cxn ang="0">
                    <a:pos x="185" y="216"/>
                  </a:cxn>
                  <a:cxn ang="0">
                    <a:pos x="107" y="195"/>
                  </a:cxn>
                  <a:cxn ang="0">
                    <a:pos x="359" y="273"/>
                  </a:cxn>
                  <a:cxn ang="0">
                    <a:pos x="227" y="275"/>
                  </a:cxn>
                  <a:cxn ang="0">
                    <a:pos x="218" y="190"/>
                  </a:cxn>
                  <a:cxn ang="0">
                    <a:pos x="224" y="136"/>
                  </a:cxn>
                  <a:cxn ang="0">
                    <a:pos x="233" y="52"/>
                  </a:cxn>
                  <a:cxn ang="0">
                    <a:pos x="356" y="50"/>
                  </a:cxn>
                  <a:cxn ang="0">
                    <a:pos x="363" y="129"/>
                  </a:cxn>
                  <a:cxn ang="0">
                    <a:pos x="369" y="184"/>
                  </a:cxn>
                  <a:cxn ang="0">
                    <a:pos x="324" y="87"/>
                  </a:cxn>
                  <a:cxn ang="0">
                    <a:pos x="269" y="78"/>
                  </a:cxn>
                  <a:cxn ang="0">
                    <a:pos x="280" y="129"/>
                  </a:cxn>
                  <a:cxn ang="0">
                    <a:pos x="332" y="224"/>
                  </a:cxn>
                  <a:cxn ang="0">
                    <a:pos x="291" y="180"/>
                  </a:cxn>
                  <a:cxn ang="0">
                    <a:pos x="255" y="224"/>
                  </a:cxn>
                  <a:cxn ang="0">
                    <a:pos x="332" y="224"/>
                  </a:cxn>
                  <a:cxn ang="0">
                    <a:pos x="518" y="286"/>
                  </a:cxn>
                  <a:cxn ang="0">
                    <a:pos x="424" y="283"/>
                  </a:cxn>
                  <a:cxn ang="0">
                    <a:pos x="413" y="265"/>
                  </a:cxn>
                  <a:cxn ang="0">
                    <a:pos x="416" y="238"/>
                  </a:cxn>
                  <a:cxn ang="0">
                    <a:pos x="451" y="249"/>
                  </a:cxn>
                  <a:cxn ang="0">
                    <a:pos x="519" y="229"/>
                  </a:cxn>
                  <a:cxn ang="0">
                    <a:pos x="494" y="174"/>
                  </a:cxn>
                  <a:cxn ang="0">
                    <a:pos x="425" y="171"/>
                  </a:cxn>
                  <a:cxn ang="0">
                    <a:pos x="435" y="38"/>
                  </a:cxn>
                  <a:cxn ang="0">
                    <a:pos x="561" y="49"/>
                  </a:cxn>
                  <a:cxn ang="0">
                    <a:pos x="464" y="81"/>
                  </a:cxn>
                  <a:cxn ang="0">
                    <a:pos x="528" y="138"/>
                  </a:cxn>
                  <a:cxn ang="0">
                    <a:pos x="643" y="338"/>
                  </a:cxn>
                  <a:cxn ang="0">
                    <a:pos x="619" y="346"/>
                  </a:cxn>
                  <a:cxn ang="0">
                    <a:pos x="596" y="333"/>
                  </a:cxn>
                  <a:cxn ang="0">
                    <a:pos x="725" y="1"/>
                  </a:cxn>
                  <a:cxn ang="0">
                    <a:pos x="759" y="7"/>
                  </a:cxn>
                  <a:cxn ang="0">
                    <a:pos x="955" y="231"/>
                  </a:cxn>
                  <a:cxn ang="0">
                    <a:pos x="926" y="284"/>
                  </a:cxn>
                  <a:cxn ang="0">
                    <a:pos x="891" y="288"/>
                  </a:cxn>
                  <a:cxn ang="0">
                    <a:pos x="878" y="236"/>
                  </a:cxn>
                  <a:cxn ang="0">
                    <a:pos x="772" y="225"/>
                  </a:cxn>
                  <a:cxn ang="0">
                    <a:pos x="775" y="187"/>
                  </a:cxn>
                  <a:cxn ang="0">
                    <a:pos x="865" y="38"/>
                  </a:cxn>
                  <a:cxn ang="0">
                    <a:pos x="919" y="38"/>
                  </a:cxn>
                  <a:cxn ang="0">
                    <a:pos x="949" y="195"/>
                  </a:cxn>
                  <a:cxn ang="0">
                    <a:pos x="878" y="80"/>
                  </a:cxn>
                </a:cxnLst>
                <a:rect l="0" t="0" r="r" b="b"/>
                <a:pathLst>
                  <a:path w="957" h="346">
                    <a:moveTo>
                      <a:pt x="185" y="216"/>
                    </a:moveTo>
                    <a:cubicBezTo>
                      <a:pt x="185" y="222"/>
                      <a:pt x="184" y="227"/>
                      <a:pt x="183" y="231"/>
                    </a:cubicBezTo>
                    <a:cubicBezTo>
                      <a:pt x="182" y="234"/>
                      <a:pt x="180" y="236"/>
                      <a:pt x="178" y="236"/>
                    </a:cubicBezTo>
                    <a:lnTo>
                      <a:pt x="155" y="236"/>
                    </a:lnTo>
                    <a:lnTo>
                      <a:pt x="155" y="281"/>
                    </a:lnTo>
                    <a:cubicBezTo>
                      <a:pt x="155" y="282"/>
                      <a:pt x="155" y="283"/>
                      <a:pt x="154" y="284"/>
                    </a:cubicBezTo>
                    <a:cubicBezTo>
                      <a:pt x="153" y="285"/>
                      <a:pt x="152" y="286"/>
                      <a:pt x="150" y="287"/>
                    </a:cubicBezTo>
                    <a:cubicBezTo>
                      <a:pt x="148" y="288"/>
                      <a:pt x="146" y="288"/>
                      <a:pt x="143" y="288"/>
                    </a:cubicBezTo>
                    <a:cubicBezTo>
                      <a:pt x="140" y="289"/>
                      <a:pt x="136" y="289"/>
                      <a:pt x="131" y="289"/>
                    </a:cubicBezTo>
                    <a:cubicBezTo>
                      <a:pt x="126" y="289"/>
                      <a:pt x="122" y="289"/>
                      <a:pt x="119" y="288"/>
                    </a:cubicBezTo>
                    <a:cubicBezTo>
                      <a:pt x="116" y="288"/>
                      <a:pt x="113" y="288"/>
                      <a:pt x="111" y="287"/>
                    </a:cubicBezTo>
                    <a:cubicBezTo>
                      <a:pt x="110" y="286"/>
                      <a:pt x="108" y="285"/>
                      <a:pt x="108" y="284"/>
                    </a:cubicBezTo>
                    <a:cubicBezTo>
                      <a:pt x="107" y="283"/>
                      <a:pt x="107" y="282"/>
                      <a:pt x="107" y="281"/>
                    </a:cubicBezTo>
                    <a:lnTo>
                      <a:pt x="107" y="236"/>
                    </a:lnTo>
                    <a:lnTo>
                      <a:pt x="11" y="236"/>
                    </a:lnTo>
                    <a:cubicBezTo>
                      <a:pt x="9" y="236"/>
                      <a:pt x="7" y="236"/>
                      <a:pt x="6" y="235"/>
                    </a:cubicBezTo>
                    <a:cubicBezTo>
                      <a:pt x="5" y="235"/>
                      <a:pt x="3" y="234"/>
                      <a:pt x="2" y="232"/>
                    </a:cubicBezTo>
                    <a:cubicBezTo>
                      <a:pt x="1" y="230"/>
                      <a:pt x="1" y="228"/>
                      <a:pt x="0" y="225"/>
                    </a:cubicBezTo>
                    <a:cubicBezTo>
                      <a:pt x="0" y="222"/>
                      <a:pt x="0" y="218"/>
                      <a:pt x="0" y="213"/>
                    </a:cubicBezTo>
                    <a:cubicBezTo>
                      <a:pt x="0" y="209"/>
                      <a:pt x="0" y="205"/>
                      <a:pt x="0" y="202"/>
                    </a:cubicBezTo>
                    <a:cubicBezTo>
                      <a:pt x="0" y="199"/>
                      <a:pt x="0" y="197"/>
                      <a:pt x="1" y="194"/>
                    </a:cubicBezTo>
                    <a:cubicBezTo>
                      <a:pt x="1" y="192"/>
                      <a:pt x="2" y="189"/>
                      <a:pt x="3" y="187"/>
                    </a:cubicBezTo>
                    <a:cubicBezTo>
                      <a:pt x="4" y="185"/>
                      <a:pt x="5" y="183"/>
                      <a:pt x="6" y="180"/>
                    </a:cubicBezTo>
                    <a:lnTo>
                      <a:pt x="84" y="43"/>
                    </a:lnTo>
                    <a:cubicBezTo>
                      <a:pt x="84" y="42"/>
                      <a:pt x="85" y="41"/>
                      <a:pt x="87" y="40"/>
                    </a:cubicBezTo>
                    <a:cubicBezTo>
                      <a:pt x="89" y="39"/>
                      <a:pt x="91" y="39"/>
                      <a:pt x="93" y="38"/>
                    </a:cubicBezTo>
                    <a:cubicBezTo>
                      <a:pt x="96" y="38"/>
                      <a:pt x="100" y="37"/>
                      <a:pt x="104" y="37"/>
                    </a:cubicBezTo>
                    <a:cubicBezTo>
                      <a:pt x="108" y="37"/>
                      <a:pt x="113" y="36"/>
                      <a:pt x="119" y="36"/>
                    </a:cubicBezTo>
                    <a:cubicBezTo>
                      <a:pt x="126" y="36"/>
                      <a:pt x="132" y="37"/>
                      <a:pt x="136" y="37"/>
                    </a:cubicBezTo>
                    <a:cubicBezTo>
                      <a:pt x="141" y="37"/>
                      <a:pt x="145" y="38"/>
                      <a:pt x="147" y="38"/>
                    </a:cubicBezTo>
                    <a:cubicBezTo>
                      <a:pt x="150" y="39"/>
                      <a:pt x="152" y="40"/>
                      <a:pt x="153" y="41"/>
                    </a:cubicBezTo>
                    <a:cubicBezTo>
                      <a:pt x="155" y="42"/>
                      <a:pt x="155" y="43"/>
                      <a:pt x="155" y="45"/>
                    </a:cubicBezTo>
                    <a:lnTo>
                      <a:pt x="155" y="195"/>
                    </a:lnTo>
                    <a:lnTo>
                      <a:pt x="178" y="195"/>
                    </a:lnTo>
                    <a:cubicBezTo>
                      <a:pt x="180" y="195"/>
                      <a:pt x="181" y="197"/>
                      <a:pt x="183" y="200"/>
                    </a:cubicBezTo>
                    <a:cubicBezTo>
                      <a:pt x="184" y="203"/>
                      <a:pt x="185" y="208"/>
                      <a:pt x="185" y="216"/>
                    </a:cubicBezTo>
                    <a:close/>
                    <a:moveTo>
                      <a:pt x="107" y="80"/>
                    </a:moveTo>
                    <a:lnTo>
                      <a:pt x="106" y="80"/>
                    </a:lnTo>
                    <a:lnTo>
                      <a:pt x="40" y="195"/>
                    </a:lnTo>
                    <a:lnTo>
                      <a:pt x="107" y="195"/>
                    </a:lnTo>
                    <a:lnTo>
                      <a:pt x="107" y="80"/>
                    </a:lnTo>
                    <a:close/>
                    <a:moveTo>
                      <a:pt x="382" y="221"/>
                    </a:moveTo>
                    <a:cubicBezTo>
                      <a:pt x="382" y="232"/>
                      <a:pt x="380" y="242"/>
                      <a:pt x="376" y="251"/>
                    </a:cubicBezTo>
                    <a:cubicBezTo>
                      <a:pt x="372" y="260"/>
                      <a:pt x="366" y="267"/>
                      <a:pt x="359" y="273"/>
                    </a:cubicBezTo>
                    <a:cubicBezTo>
                      <a:pt x="351" y="280"/>
                      <a:pt x="341" y="284"/>
                      <a:pt x="330" y="287"/>
                    </a:cubicBezTo>
                    <a:cubicBezTo>
                      <a:pt x="319" y="290"/>
                      <a:pt x="306" y="292"/>
                      <a:pt x="291" y="292"/>
                    </a:cubicBezTo>
                    <a:cubicBezTo>
                      <a:pt x="277" y="292"/>
                      <a:pt x="264" y="291"/>
                      <a:pt x="254" y="288"/>
                    </a:cubicBezTo>
                    <a:cubicBezTo>
                      <a:pt x="243" y="285"/>
                      <a:pt x="234" y="281"/>
                      <a:pt x="227" y="275"/>
                    </a:cubicBezTo>
                    <a:cubicBezTo>
                      <a:pt x="219" y="270"/>
                      <a:pt x="214" y="263"/>
                      <a:pt x="210" y="255"/>
                    </a:cubicBezTo>
                    <a:cubicBezTo>
                      <a:pt x="207" y="247"/>
                      <a:pt x="205" y="238"/>
                      <a:pt x="205" y="227"/>
                    </a:cubicBezTo>
                    <a:cubicBezTo>
                      <a:pt x="205" y="220"/>
                      <a:pt x="206" y="214"/>
                      <a:pt x="208" y="207"/>
                    </a:cubicBezTo>
                    <a:cubicBezTo>
                      <a:pt x="210" y="201"/>
                      <a:pt x="214" y="195"/>
                      <a:pt x="218" y="190"/>
                    </a:cubicBezTo>
                    <a:cubicBezTo>
                      <a:pt x="222" y="185"/>
                      <a:pt x="227" y="180"/>
                      <a:pt x="233" y="175"/>
                    </a:cubicBezTo>
                    <a:cubicBezTo>
                      <a:pt x="240" y="170"/>
                      <a:pt x="247" y="166"/>
                      <a:pt x="255" y="161"/>
                    </a:cubicBezTo>
                    <a:cubicBezTo>
                      <a:pt x="248" y="158"/>
                      <a:pt x="242" y="154"/>
                      <a:pt x="237" y="150"/>
                    </a:cubicBezTo>
                    <a:cubicBezTo>
                      <a:pt x="232" y="146"/>
                      <a:pt x="227" y="141"/>
                      <a:pt x="224" y="136"/>
                    </a:cubicBezTo>
                    <a:cubicBezTo>
                      <a:pt x="220" y="131"/>
                      <a:pt x="217" y="126"/>
                      <a:pt x="215" y="120"/>
                    </a:cubicBezTo>
                    <a:cubicBezTo>
                      <a:pt x="213" y="114"/>
                      <a:pt x="212" y="107"/>
                      <a:pt x="212" y="100"/>
                    </a:cubicBezTo>
                    <a:cubicBezTo>
                      <a:pt x="212" y="90"/>
                      <a:pt x="214" y="81"/>
                      <a:pt x="218" y="73"/>
                    </a:cubicBezTo>
                    <a:cubicBezTo>
                      <a:pt x="221" y="65"/>
                      <a:pt x="226" y="58"/>
                      <a:pt x="233" y="52"/>
                    </a:cubicBezTo>
                    <a:cubicBezTo>
                      <a:pt x="240" y="46"/>
                      <a:pt x="249" y="41"/>
                      <a:pt x="260" y="38"/>
                    </a:cubicBezTo>
                    <a:cubicBezTo>
                      <a:pt x="270" y="35"/>
                      <a:pt x="283" y="33"/>
                      <a:pt x="296" y="33"/>
                    </a:cubicBezTo>
                    <a:cubicBezTo>
                      <a:pt x="310" y="33"/>
                      <a:pt x="322" y="35"/>
                      <a:pt x="332" y="38"/>
                    </a:cubicBezTo>
                    <a:cubicBezTo>
                      <a:pt x="342" y="41"/>
                      <a:pt x="350" y="45"/>
                      <a:pt x="356" y="50"/>
                    </a:cubicBezTo>
                    <a:cubicBezTo>
                      <a:pt x="362" y="56"/>
                      <a:pt x="367" y="62"/>
                      <a:pt x="370" y="70"/>
                    </a:cubicBezTo>
                    <a:cubicBezTo>
                      <a:pt x="373" y="77"/>
                      <a:pt x="375" y="85"/>
                      <a:pt x="375" y="95"/>
                    </a:cubicBezTo>
                    <a:cubicBezTo>
                      <a:pt x="375" y="101"/>
                      <a:pt x="374" y="107"/>
                      <a:pt x="372" y="112"/>
                    </a:cubicBezTo>
                    <a:cubicBezTo>
                      <a:pt x="370" y="118"/>
                      <a:pt x="367" y="123"/>
                      <a:pt x="363" y="129"/>
                    </a:cubicBezTo>
                    <a:cubicBezTo>
                      <a:pt x="360" y="134"/>
                      <a:pt x="355" y="139"/>
                      <a:pt x="350" y="143"/>
                    </a:cubicBezTo>
                    <a:cubicBezTo>
                      <a:pt x="345" y="148"/>
                      <a:pt x="339" y="152"/>
                      <a:pt x="332" y="156"/>
                    </a:cubicBezTo>
                    <a:cubicBezTo>
                      <a:pt x="340" y="160"/>
                      <a:pt x="347" y="164"/>
                      <a:pt x="353" y="169"/>
                    </a:cubicBezTo>
                    <a:cubicBezTo>
                      <a:pt x="359" y="173"/>
                      <a:pt x="364" y="178"/>
                      <a:pt x="369" y="184"/>
                    </a:cubicBezTo>
                    <a:cubicBezTo>
                      <a:pt x="373" y="189"/>
                      <a:pt x="376" y="195"/>
                      <a:pt x="378" y="201"/>
                    </a:cubicBezTo>
                    <a:cubicBezTo>
                      <a:pt x="381" y="207"/>
                      <a:pt x="382" y="214"/>
                      <a:pt x="382" y="221"/>
                    </a:cubicBezTo>
                    <a:close/>
                    <a:moveTo>
                      <a:pt x="326" y="99"/>
                    </a:moveTo>
                    <a:cubicBezTo>
                      <a:pt x="326" y="95"/>
                      <a:pt x="325" y="91"/>
                      <a:pt x="324" y="87"/>
                    </a:cubicBezTo>
                    <a:cubicBezTo>
                      <a:pt x="323" y="83"/>
                      <a:pt x="321" y="80"/>
                      <a:pt x="318" y="78"/>
                    </a:cubicBezTo>
                    <a:cubicBezTo>
                      <a:pt x="315" y="75"/>
                      <a:pt x="312" y="73"/>
                      <a:pt x="308" y="72"/>
                    </a:cubicBezTo>
                    <a:cubicBezTo>
                      <a:pt x="303" y="71"/>
                      <a:pt x="299" y="70"/>
                      <a:pt x="293" y="70"/>
                    </a:cubicBezTo>
                    <a:cubicBezTo>
                      <a:pt x="282" y="70"/>
                      <a:pt x="274" y="73"/>
                      <a:pt x="269" y="78"/>
                    </a:cubicBezTo>
                    <a:cubicBezTo>
                      <a:pt x="264" y="83"/>
                      <a:pt x="261" y="90"/>
                      <a:pt x="261" y="98"/>
                    </a:cubicBezTo>
                    <a:cubicBezTo>
                      <a:pt x="261" y="102"/>
                      <a:pt x="262" y="106"/>
                      <a:pt x="263" y="110"/>
                    </a:cubicBezTo>
                    <a:cubicBezTo>
                      <a:pt x="264" y="113"/>
                      <a:pt x="267" y="116"/>
                      <a:pt x="269" y="120"/>
                    </a:cubicBezTo>
                    <a:cubicBezTo>
                      <a:pt x="272" y="123"/>
                      <a:pt x="276" y="126"/>
                      <a:pt x="280" y="129"/>
                    </a:cubicBezTo>
                    <a:cubicBezTo>
                      <a:pt x="285" y="132"/>
                      <a:pt x="290" y="135"/>
                      <a:pt x="296" y="138"/>
                    </a:cubicBezTo>
                    <a:cubicBezTo>
                      <a:pt x="306" y="133"/>
                      <a:pt x="313" y="127"/>
                      <a:pt x="318" y="120"/>
                    </a:cubicBezTo>
                    <a:cubicBezTo>
                      <a:pt x="323" y="114"/>
                      <a:pt x="326" y="107"/>
                      <a:pt x="326" y="99"/>
                    </a:cubicBezTo>
                    <a:close/>
                    <a:moveTo>
                      <a:pt x="332" y="224"/>
                    </a:moveTo>
                    <a:cubicBezTo>
                      <a:pt x="332" y="219"/>
                      <a:pt x="331" y="215"/>
                      <a:pt x="329" y="211"/>
                    </a:cubicBezTo>
                    <a:cubicBezTo>
                      <a:pt x="328" y="207"/>
                      <a:pt x="325" y="203"/>
                      <a:pt x="322" y="200"/>
                    </a:cubicBezTo>
                    <a:cubicBezTo>
                      <a:pt x="318" y="196"/>
                      <a:pt x="314" y="193"/>
                      <a:pt x="309" y="190"/>
                    </a:cubicBezTo>
                    <a:cubicBezTo>
                      <a:pt x="304" y="187"/>
                      <a:pt x="298" y="183"/>
                      <a:pt x="291" y="180"/>
                    </a:cubicBezTo>
                    <a:cubicBezTo>
                      <a:pt x="285" y="183"/>
                      <a:pt x="280" y="186"/>
                      <a:pt x="275" y="190"/>
                    </a:cubicBezTo>
                    <a:cubicBezTo>
                      <a:pt x="271" y="193"/>
                      <a:pt x="267" y="196"/>
                      <a:pt x="264" y="200"/>
                    </a:cubicBezTo>
                    <a:cubicBezTo>
                      <a:pt x="261" y="203"/>
                      <a:pt x="259" y="207"/>
                      <a:pt x="257" y="211"/>
                    </a:cubicBezTo>
                    <a:cubicBezTo>
                      <a:pt x="256" y="215"/>
                      <a:pt x="255" y="219"/>
                      <a:pt x="255" y="224"/>
                    </a:cubicBezTo>
                    <a:cubicBezTo>
                      <a:pt x="255" y="234"/>
                      <a:pt x="258" y="241"/>
                      <a:pt x="265" y="247"/>
                    </a:cubicBezTo>
                    <a:cubicBezTo>
                      <a:pt x="271" y="252"/>
                      <a:pt x="281" y="255"/>
                      <a:pt x="294" y="255"/>
                    </a:cubicBezTo>
                    <a:cubicBezTo>
                      <a:pt x="307" y="255"/>
                      <a:pt x="316" y="252"/>
                      <a:pt x="322" y="246"/>
                    </a:cubicBezTo>
                    <a:cubicBezTo>
                      <a:pt x="328" y="241"/>
                      <a:pt x="332" y="234"/>
                      <a:pt x="332" y="224"/>
                    </a:cubicBezTo>
                    <a:close/>
                    <a:moveTo>
                      <a:pt x="576" y="207"/>
                    </a:moveTo>
                    <a:cubicBezTo>
                      <a:pt x="576" y="220"/>
                      <a:pt x="574" y="232"/>
                      <a:pt x="569" y="243"/>
                    </a:cubicBezTo>
                    <a:cubicBezTo>
                      <a:pt x="564" y="253"/>
                      <a:pt x="558" y="262"/>
                      <a:pt x="549" y="270"/>
                    </a:cubicBezTo>
                    <a:cubicBezTo>
                      <a:pt x="541" y="277"/>
                      <a:pt x="530" y="282"/>
                      <a:pt x="518" y="286"/>
                    </a:cubicBezTo>
                    <a:cubicBezTo>
                      <a:pt x="506" y="290"/>
                      <a:pt x="493" y="292"/>
                      <a:pt x="478" y="292"/>
                    </a:cubicBezTo>
                    <a:cubicBezTo>
                      <a:pt x="471" y="292"/>
                      <a:pt x="463" y="292"/>
                      <a:pt x="456" y="291"/>
                    </a:cubicBezTo>
                    <a:cubicBezTo>
                      <a:pt x="449" y="290"/>
                      <a:pt x="443" y="288"/>
                      <a:pt x="437" y="287"/>
                    </a:cubicBezTo>
                    <a:cubicBezTo>
                      <a:pt x="432" y="285"/>
                      <a:pt x="427" y="284"/>
                      <a:pt x="424" y="283"/>
                    </a:cubicBezTo>
                    <a:cubicBezTo>
                      <a:pt x="420" y="281"/>
                      <a:pt x="418" y="280"/>
                      <a:pt x="417" y="279"/>
                    </a:cubicBezTo>
                    <a:cubicBezTo>
                      <a:pt x="416" y="278"/>
                      <a:pt x="415" y="277"/>
                      <a:pt x="414" y="276"/>
                    </a:cubicBezTo>
                    <a:cubicBezTo>
                      <a:pt x="414" y="275"/>
                      <a:pt x="414" y="273"/>
                      <a:pt x="413" y="271"/>
                    </a:cubicBezTo>
                    <a:cubicBezTo>
                      <a:pt x="413" y="270"/>
                      <a:pt x="413" y="268"/>
                      <a:pt x="413" y="265"/>
                    </a:cubicBezTo>
                    <a:cubicBezTo>
                      <a:pt x="412" y="263"/>
                      <a:pt x="412" y="260"/>
                      <a:pt x="412" y="257"/>
                    </a:cubicBezTo>
                    <a:cubicBezTo>
                      <a:pt x="412" y="253"/>
                      <a:pt x="413" y="250"/>
                      <a:pt x="413" y="248"/>
                    </a:cubicBezTo>
                    <a:cubicBezTo>
                      <a:pt x="413" y="245"/>
                      <a:pt x="413" y="243"/>
                      <a:pt x="414" y="241"/>
                    </a:cubicBezTo>
                    <a:cubicBezTo>
                      <a:pt x="415" y="240"/>
                      <a:pt x="415" y="239"/>
                      <a:pt x="416" y="238"/>
                    </a:cubicBezTo>
                    <a:cubicBezTo>
                      <a:pt x="417" y="238"/>
                      <a:pt x="418" y="237"/>
                      <a:pt x="419" y="237"/>
                    </a:cubicBezTo>
                    <a:cubicBezTo>
                      <a:pt x="420" y="237"/>
                      <a:pt x="422" y="238"/>
                      <a:pt x="425" y="239"/>
                    </a:cubicBezTo>
                    <a:cubicBezTo>
                      <a:pt x="427" y="241"/>
                      <a:pt x="431" y="243"/>
                      <a:pt x="435" y="244"/>
                    </a:cubicBezTo>
                    <a:cubicBezTo>
                      <a:pt x="439" y="246"/>
                      <a:pt x="445" y="248"/>
                      <a:pt x="451" y="249"/>
                    </a:cubicBezTo>
                    <a:cubicBezTo>
                      <a:pt x="457" y="251"/>
                      <a:pt x="464" y="252"/>
                      <a:pt x="473" y="252"/>
                    </a:cubicBezTo>
                    <a:cubicBezTo>
                      <a:pt x="480" y="252"/>
                      <a:pt x="487" y="251"/>
                      <a:pt x="493" y="249"/>
                    </a:cubicBezTo>
                    <a:cubicBezTo>
                      <a:pt x="500" y="248"/>
                      <a:pt x="505" y="245"/>
                      <a:pt x="509" y="242"/>
                    </a:cubicBezTo>
                    <a:cubicBezTo>
                      <a:pt x="513" y="238"/>
                      <a:pt x="517" y="234"/>
                      <a:pt x="519" y="229"/>
                    </a:cubicBezTo>
                    <a:cubicBezTo>
                      <a:pt x="521" y="224"/>
                      <a:pt x="522" y="218"/>
                      <a:pt x="522" y="210"/>
                    </a:cubicBezTo>
                    <a:cubicBezTo>
                      <a:pt x="522" y="204"/>
                      <a:pt x="521" y="199"/>
                      <a:pt x="519" y="194"/>
                    </a:cubicBezTo>
                    <a:cubicBezTo>
                      <a:pt x="517" y="189"/>
                      <a:pt x="514" y="185"/>
                      <a:pt x="510" y="182"/>
                    </a:cubicBezTo>
                    <a:cubicBezTo>
                      <a:pt x="506" y="178"/>
                      <a:pt x="501" y="176"/>
                      <a:pt x="494" y="174"/>
                    </a:cubicBezTo>
                    <a:cubicBezTo>
                      <a:pt x="488" y="172"/>
                      <a:pt x="480" y="171"/>
                      <a:pt x="470" y="171"/>
                    </a:cubicBezTo>
                    <a:cubicBezTo>
                      <a:pt x="463" y="171"/>
                      <a:pt x="456" y="172"/>
                      <a:pt x="450" y="173"/>
                    </a:cubicBezTo>
                    <a:cubicBezTo>
                      <a:pt x="444" y="173"/>
                      <a:pt x="438" y="174"/>
                      <a:pt x="433" y="174"/>
                    </a:cubicBezTo>
                    <a:cubicBezTo>
                      <a:pt x="429" y="174"/>
                      <a:pt x="426" y="173"/>
                      <a:pt x="425" y="171"/>
                    </a:cubicBezTo>
                    <a:cubicBezTo>
                      <a:pt x="423" y="169"/>
                      <a:pt x="422" y="166"/>
                      <a:pt x="422" y="161"/>
                    </a:cubicBezTo>
                    <a:lnTo>
                      <a:pt x="422" y="52"/>
                    </a:lnTo>
                    <a:cubicBezTo>
                      <a:pt x="422" y="47"/>
                      <a:pt x="423" y="43"/>
                      <a:pt x="425" y="41"/>
                    </a:cubicBezTo>
                    <a:cubicBezTo>
                      <a:pt x="427" y="39"/>
                      <a:pt x="430" y="38"/>
                      <a:pt x="435" y="38"/>
                    </a:cubicBezTo>
                    <a:lnTo>
                      <a:pt x="553" y="38"/>
                    </a:lnTo>
                    <a:cubicBezTo>
                      <a:pt x="554" y="38"/>
                      <a:pt x="555" y="38"/>
                      <a:pt x="557" y="39"/>
                    </a:cubicBezTo>
                    <a:cubicBezTo>
                      <a:pt x="558" y="40"/>
                      <a:pt x="558" y="41"/>
                      <a:pt x="559" y="42"/>
                    </a:cubicBezTo>
                    <a:cubicBezTo>
                      <a:pt x="560" y="44"/>
                      <a:pt x="560" y="46"/>
                      <a:pt x="561" y="49"/>
                    </a:cubicBezTo>
                    <a:cubicBezTo>
                      <a:pt x="561" y="52"/>
                      <a:pt x="561" y="55"/>
                      <a:pt x="561" y="59"/>
                    </a:cubicBezTo>
                    <a:cubicBezTo>
                      <a:pt x="561" y="67"/>
                      <a:pt x="561" y="72"/>
                      <a:pt x="559" y="76"/>
                    </a:cubicBezTo>
                    <a:cubicBezTo>
                      <a:pt x="558" y="79"/>
                      <a:pt x="556" y="81"/>
                      <a:pt x="553" y="81"/>
                    </a:cubicBezTo>
                    <a:lnTo>
                      <a:pt x="464" y="81"/>
                    </a:lnTo>
                    <a:lnTo>
                      <a:pt x="464" y="135"/>
                    </a:lnTo>
                    <a:cubicBezTo>
                      <a:pt x="469" y="134"/>
                      <a:pt x="473" y="134"/>
                      <a:pt x="478" y="134"/>
                    </a:cubicBezTo>
                    <a:cubicBezTo>
                      <a:pt x="482" y="134"/>
                      <a:pt x="487" y="133"/>
                      <a:pt x="492" y="133"/>
                    </a:cubicBezTo>
                    <a:cubicBezTo>
                      <a:pt x="505" y="133"/>
                      <a:pt x="517" y="135"/>
                      <a:pt x="528" y="138"/>
                    </a:cubicBezTo>
                    <a:cubicBezTo>
                      <a:pt x="538" y="141"/>
                      <a:pt x="547" y="146"/>
                      <a:pt x="554" y="152"/>
                    </a:cubicBezTo>
                    <a:cubicBezTo>
                      <a:pt x="561" y="158"/>
                      <a:pt x="567" y="166"/>
                      <a:pt x="571" y="175"/>
                    </a:cubicBezTo>
                    <a:cubicBezTo>
                      <a:pt x="574" y="184"/>
                      <a:pt x="576" y="195"/>
                      <a:pt x="576" y="207"/>
                    </a:cubicBezTo>
                    <a:close/>
                    <a:moveTo>
                      <a:pt x="643" y="338"/>
                    </a:moveTo>
                    <a:cubicBezTo>
                      <a:pt x="642" y="339"/>
                      <a:pt x="642" y="341"/>
                      <a:pt x="641" y="342"/>
                    </a:cubicBezTo>
                    <a:cubicBezTo>
                      <a:pt x="640" y="343"/>
                      <a:pt x="638" y="344"/>
                      <a:pt x="636" y="344"/>
                    </a:cubicBezTo>
                    <a:cubicBezTo>
                      <a:pt x="634" y="345"/>
                      <a:pt x="632" y="345"/>
                      <a:pt x="629" y="346"/>
                    </a:cubicBezTo>
                    <a:cubicBezTo>
                      <a:pt x="627" y="346"/>
                      <a:pt x="623" y="346"/>
                      <a:pt x="619" y="346"/>
                    </a:cubicBezTo>
                    <a:cubicBezTo>
                      <a:pt x="613" y="346"/>
                      <a:pt x="609" y="346"/>
                      <a:pt x="606" y="345"/>
                    </a:cubicBezTo>
                    <a:cubicBezTo>
                      <a:pt x="602" y="345"/>
                      <a:pt x="600" y="344"/>
                      <a:pt x="598" y="343"/>
                    </a:cubicBezTo>
                    <a:cubicBezTo>
                      <a:pt x="596" y="342"/>
                      <a:pt x="595" y="341"/>
                      <a:pt x="595" y="339"/>
                    </a:cubicBezTo>
                    <a:cubicBezTo>
                      <a:pt x="595" y="338"/>
                      <a:pt x="595" y="336"/>
                      <a:pt x="596" y="333"/>
                    </a:cubicBezTo>
                    <a:lnTo>
                      <a:pt x="711" y="9"/>
                    </a:lnTo>
                    <a:cubicBezTo>
                      <a:pt x="712" y="7"/>
                      <a:pt x="713" y="6"/>
                      <a:pt x="714" y="5"/>
                    </a:cubicBezTo>
                    <a:cubicBezTo>
                      <a:pt x="715" y="4"/>
                      <a:pt x="716" y="3"/>
                      <a:pt x="718" y="2"/>
                    </a:cubicBezTo>
                    <a:cubicBezTo>
                      <a:pt x="720" y="2"/>
                      <a:pt x="722" y="1"/>
                      <a:pt x="725" y="1"/>
                    </a:cubicBezTo>
                    <a:cubicBezTo>
                      <a:pt x="728" y="0"/>
                      <a:pt x="732" y="0"/>
                      <a:pt x="736" y="0"/>
                    </a:cubicBezTo>
                    <a:cubicBezTo>
                      <a:pt x="741" y="0"/>
                      <a:pt x="745" y="1"/>
                      <a:pt x="749" y="1"/>
                    </a:cubicBezTo>
                    <a:cubicBezTo>
                      <a:pt x="752" y="2"/>
                      <a:pt x="754" y="2"/>
                      <a:pt x="756" y="3"/>
                    </a:cubicBezTo>
                    <a:cubicBezTo>
                      <a:pt x="758" y="4"/>
                      <a:pt x="759" y="6"/>
                      <a:pt x="759" y="7"/>
                    </a:cubicBezTo>
                    <a:cubicBezTo>
                      <a:pt x="759" y="9"/>
                      <a:pt x="759" y="11"/>
                      <a:pt x="758" y="13"/>
                    </a:cubicBezTo>
                    <a:lnTo>
                      <a:pt x="643" y="338"/>
                    </a:lnTo>
                    <a:close/>
                    <a:moveTo>
                      <a:pt x="957" y="216"/>
                    </a:moveTo>
                    <a:cubicBezTo>
                      <a:pt x="957" y="222"/>
                      <a:pt x="956" y="227"/>
                      <a:pt x="955" y="231"/>
                    </a:cubicBezTo>
                    <a:cubicBezTo>
                      <a:pt x="954" y="234"/>
                      <a:pt x="952" y="236"/>
                      <a:pt x="949" y="236"/>
                    </a:cubicBezTo>
                    <a:lnTo>
                      <a:pt x="927" y="236"/>
                    </a:lnTo>
                    <a:lnTo>
                      <a:pt x="927" y="281"/>
                    </a:lnTo>
                    <a:cubicBezTo>
                      <a:pt x="927" y="282"/>
                      <a:pt x="927" y="283"/>
                      <a:pt x="926" y="284"/>
                    </a:cubicBezTo>
                    <a:cubicBezTo>
                      <a:pt x="925" y="285"/>
                      <a:pt x="924" y="286"/>
                      <a:pt x="922" y="287"/>
                    </a:cubicBezTo>
                    <a:cubicBezTo>
                      <a:pt x="920" y="288"/>
                      <a:pt x="917" y="288"/>
                      <a:pt x="914" y="288"/>
                    </a:cubicBezTo>
                    <a:cubicBezTo>
                      <a:pt x="911" y="289"/>
                      <a:pt x="907" y="289"/>
                      <a:pt x="902" y="289"/>
                    </a:cubicBezTo>
                    <a:cubicBezTo>
                      <a:pt x="898" y="289"/>
                      <a:pt x="894" y="289"/>
                      <a:pt x="891" y="288"/>
                    </a:cubicBezTo>
                    <a:cubicBezTo>
                      <a:pt x="888" y="288"/>
                      <a:pt x="885" y="288"/>
                      <a:pt x="883" y="287"/>
                    </a:cubicBezTo>
                    <a:cubicBezTo>
                      <a:pt x="881" y="286"/>
                      <a:pt x="880" y="285"/>
                      <a:pt x="879" y="284"/>
                    </a:cubicBezTo>
                    <a:cubicBezTo>
                      <a:pt x="879" y="283"/>
                      <a:pt x="878" y="282"/>
                      <a:pt x="878" y="281"/>
                    </a:cubicBezTo>
                    <a:lnTo>
                      <a:pt x="878" y="236"/>
                    </a:lnTo>
                    <a:lnTo>
                      <a:pt x="783" y="236"/>
                    </a:lnTo>
                    <a:cubicBezTo>
                      <a:pt x="781" y="236"/>
                      <a:pt x="779" y="236"/>
                      <a:pt x="778" y="235"/>
                    </a:cubicBezTo>
                    <a:cubicBezTo>
                      <a:pt x="776" y="235"/>
                      <a:pt x="775" y="234"/>
                      <a:pt x="774" y="232"/>
                    </a:cubicBezTo>
                    <a:cubicBezTo>
                      <a:pt x="773" y="230"/>
                      <a:pt x="773" y="228"/>
                      <a:pt x="772" y="225"/>
                    </a:cubicBezTo>
                    <a:cubicBezTo>
                      <a:pt x="772" y="222"/>
                      <a:pt x="771" y="218"/>
                      <a:pt x="771" y="213"/>
                    </a:cubicBezTo>
                    <a:cubicBezTo>
                      <a:pt x="771" y="209"/>
                      <a:pt x="771" y="205"/>
                      <a:pt x="772" y="202"/>
                    </a:cubicBezTo>
                    <a:cubicBezTo>
                      <a:pt x="772" y="199"/>
                      <a:pt x="772" y="197"/>
                      <a:pt x="773" y="194"/>
                    </a:cubicBezTo>
                    <a:cubicBezTo>
                      <a:pt x="773" y="192"/>
                      <a:pt x="774" y="189"/>
                      <a:pt x="775" y="187"/>
                    </a:cubicBezTo>
                    <a:cubicBezTo>
                      <a:pt x="775" y="185"/>
                      <a:pt x="777" y="183"/>
                      <a:pt x="778" y="180"/>
                    </a:cubicBezTo>
                    <a:lnTo>
                      <a:pt x="855" y="43"/>
                    </a:lnTo>
                    <a:cubicBezTo>
                      <a:pt x="856" y="42"/>
                      <a:pt x="857" y="41"/>
                      <a:pt x="859" y="40"/>
                    </a:cubicBezTo>
                    <a:cubicBezTo>
                      <a:pt x="860" y="39"/>
                      <a:pt x="862" y="39"/>
                      <a:pt x="865" y="38"/>
                    </a:cubicBezTo>
                    <a:cubicBezTo>
                      <a:pt x="868" y="38"/>
                      <a:pt x="871" y="37"/>
                      <a:pt x="876" y="37"/>
                    </a:cubicBezTo>
                    <a:cubicBezTo>
                      <a:pt x="880" y="37"/>
                      <a:pt x="885" y="36"/>
                      <a:pt x="891" y="36"/>
                    </a:cubicBezTo>
                    <a:cubicBezTo>
                      <a:pt x="898" y="36"/>
                      <a:pt x="903" y="37"/>
                      <a:pt x="908" y="37"/>
                    </a:cubicBezTo>
                    <a:cubicBezTo>
                      <a:pt x="913" y="37"/>
                      <a:pt x="916" y="38"/>
                      <a:pt x="919" y="38"/>
                    </a:cubicBezTo>
                    <a:cubicBezTo>
                      <a:pt x="922" y="39"/>
                      <a:pt x="924" y="40"/>
                      <a:pt x="925" y="41"/>
                    </a:cubicBezTo>
                    <a:cubicBezTo>
                      <a:pt x="926" y="42"/>
                      <a:pt x="927" y="43"/>
                      <a:pt x="927" y="45"/>
                    </a:cubicBezTo>
                    <a:lnTo>
                      <a:pt x="927" y="195"/>
                    </a:lnTo>
                    <a:lnTo>
                      <a:pt x="949" y="195"/>
                    </a:lnTo>
                    <a:cubicBezTo>
                      <a:pt x="951" y="195"/>
                      <a:pt x="953" y="197"/>
                      <a:pt x="955" y="200"/>
                    </a:cubicBezTo>
                    <a:cubicBezTo>
                      <a:pt x="956" y="203"/>
                      <a:pt x="957" y="208"/>
                      <a:pt x="957" y="216"/>
                    </a:cubicBezTo>
                    <a:close/>
                    <a:moveTo>
                      <a:pt x="878" y="80"/>
                    </a:moveTo>
                    <a:lnTo>
                      <a:pt x="878" y="80"/>
                    </a:lnTo>
                    <a:lnTo>
                      <a:pt x="812" y="195"/>
                    </a:lnTo>
                    <a:lnTo>
                      <a:pt x="878" y="195"/>
                    </a:lnTo>
                    <a:lnTo>
                      <a:pt x="878" y="80"/>
                    </a:lnTo>
                    <a:close/>
                  </a:path>
                </a:pathLst>
              </a:custGeom>
              <a:solidFill>
                <a:srgbClr val="4C4C4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3" name="Freeform 1215"/>
              <p:cNvSpPr>
                <a:spLocks noEditPoints="1"/>
              </p:cNvSpPr>
              <p:nvPr/>
            </p:nvSpPr>
            <p:spPr bwMode="auto">
              <a:xfrm>
                <a:off x="2181" y="1390"/>
                <a:ext cx="214" cy="79"/>
              </a:xfrm>
              <a:custGeom>
                <a:avLst/>
                <a:gdLst/>
                <a:ahLst/>
                <a:cxnLst>
                  <a:cxn ang="0">
                    <a:pos x="137" y="270"/>
                  </a:cxn>
                  <a:cxn ang="0">
                    <a:pos x="44" y="291"/>
                  </a:cxn>
                  <a:cxn ang="0">
                    <a:pos x="4" y="279"/>
                  </a:cxn>
                  <a:cxn ang="0">
                    <a:pos x="0" y="265"/>
                  </a:cxn>
                  <a:cxn ang="0">
                    <a:pos x="1" y="241"/>
                  </a:cxn>
                  <a:cxn ang="0">
                    <a:pos x="12" y="239"/>
                  </a:cxn>
                  <a:cxn ang="0">
                    <a:pos x="60" y="251"/>
                  </a:cxn>
                  <a:cxn ang="0">
                    <a:pos x="106" y="229"/>
                  </a:cxn>
                  <a:cxn ang="0">
                    <a:pos x="98" y="182"/>
                  </a:cxn>
                  <a:cxn ang="0">
                    <a:pos x="37" y="173"/>
                  </a:cxn>
                  <a:cxn ang="0">
                    <a:pos x="10" y="161"/>
                  </a:cxn>
                  <a:cxn ang="0">
                    <a:pos x="22" y="38"/>
                  </a:cxn>
                  <a:cxn ang="0">
                    <a:pos x="147" y="42"/>
                  </a:cxn>
                  <a:cxn ang="0">
                    <a:pos x="147" y="76"/>
                  </a:cxn>
                  <a:cxn ang="0">
                    <a:pos x="52" y="135"/>
                  </a:cxn>
                  <a:cxn ang="0">
                    <a:pos x="115" y="138"/>
                  </a:cxn>
                  <a:cxn ang="0">
                    <a:pos x="164" y="207"/>
                  </a:cxn>
                  <a:cxn ang="0">
                    <a:pos x="367" y="236"/>
                  </a:cxn>
                  <a:cxn ang="0">
                    <a:pos x="343" y="284"/>
                  </a:cxn>
                  <a:cxn ang="0">
                    <a:pos x="320" y="289"/>
                  </a:cxn>
                  <a:cxn ang="0">
                    <a:pos x="297" y="284"/>
                  </a:cxn>
                  <a:cxn ang="0">
                    <a:pos x="200" y="236"/>
                  </a:cxn>
                  <a:cxn ang="0">
                    <a:pos x="189" y="225"/>
                  </a:cxn>
                  <a:cxn ang="0">
                    <a:pos x="190" y="194"/>
                  </a:cxn>
                  <a:cxn ang="0">
                    <a:pos x="273" y="43"/>
                  </a:cxn>
                  <a:cxn ang="0">
                    <a:pos x="293" y="37"/>
                  </a:cxn>
                  <a:cxn ang="0">
                    <a:pos x="336" y="38"/>
                  </a:cxn>
                  <a:cxn ang="0">
                    <a:pos x="345" y="195"/>
                  </a:cxn>
                  <a:cxn ang="0">
                    <a:pos x="374" y="216"/>
                  </a:cxn>
                  <a:cxn ang="0">
                    <a:pos x="229" y="195"/>
                  </a:cxn>
                  <a:cxn ang="0">
                    <a:pos x="572" y="162"/>
                  </a:cxn>
                  <a:cxn ang="0">
                    <a:pos x="523" y="283"/>
                  </a:cxn>
                  <a:cxn ang="0">
                    <a:pos x="411" y="258"/>
                  </a:cxn>
                  <a:cxn ang="0">
                    <a:pos x="398" y="110"/>
                  </a:cxn>
                  <a:cxn ang="0">
                    <a:pos x="485" y="33"/>
                  </a:cxn>
                  <a:cxn ang="0">
                    <a:pos x="568" y="108"/>
                  </a:cxn>
                  <a:cxn ang="0">
                    <a:pos x="520" y="133"/>
                  </a:cxn>
                  <a:cxn ang="0">
                    <a:pos x="505" y="81"/>
                  </a:cxn>
                  <a:cxn ang="0">
                    <a:pos x="464" y="79"/>
                  </a:cxn>
                  <a:cxn ang="0">
                    <a:pos x="445" y="161"/>
                  </a:cxn>
                  <a:cxn ang="0">
                    <a:pos x="465" y="248"/>
                  </a:cxn>
                  <a:cxn ang="0">
                    <a:pos x="506" y="242"/>
                  </a:cxn>
                  <a:cxn ang="0">
                    <a:pos x="520" y="191"/>
                  </a:cxn>
                  <a:cxn ang="0">
                    <a:pos x="629" y="342"/>
                  </a:cxn>
                  <a:cxn ang="0">
                    <a:pos x="607" y="346"/>
                  </a:cxn>
                  <a:cxn ang="0">
                    <a:pos x="584" y="339"/>
                  </a:cxn>
                  <a:cxn ang="0">
                    <a:pos x="702" y="5"/>
                  </a:cxn>
                  <a:cxn ang="0">
                    <a:pos x="724" y="0"/>
                  </a:cxn>
                  <a:cxn ang="0">
                    <a:pos x="748" y="7"/>
                  </a:cxn>
                  <a:cxn ang="0">
                    <a:pos x="935" y="268"/>
                  </a:cxn>
                  <a:cxn ang="0">
                    <a:pos x="931" y="287"/>
                  </a:cxn>
                  <a:cxn ang="0">
                    <a:pos x="787" y="287"/>
                  </a:cxn>
                  <a:cxn ang="0">
                    <a:pos x="782" y="268"/>
                  </a:cxn>
                  <a:cxn ang="0">
                    <a:pos x="787" y="249"/>
                  </a:cxn>
                  <a:cxn ang="0">
                    <a:pos x="836" y="86"/>
                  </a:cxn>
                  <a:cxn ang="0">
                    <a:pos x="784" y="109"/>
                  </a:cxn>
                  <a:cxn ang="0">
                    <a:pos x="782" y="85"/>
                  </a:cxn>
                  <a:cxn ang="0">
                    <a:pos x="789" y="73"/>
                  </a:cxn>
                  <a:cxn ang="0">
                    <a:pos x="848" y="36"/>
                  </a:cxn>
                  <a:cxn ang="0">
                    <a:pos x="876" y="36"/>
                  </a:cxn>
                  <a:cxn ang="0">
                    <a:pos x="887" y="42"/>
                  </a:cxn>
                  <a:cxn ang="0">
                    <a:pos x="931" y="249"/>
                  </a:cxn>
                  <a:cxn ang="0">
                    <a:pos x="935" y="268"/>
                  </a:cxn>
                </a:cxnLst>
                <a:rect l="0" t="0" r="r" b="b"/>
                <a:pathLst>
                  <a:path w="935" h="346">
                    <a:moveTo>
                      <a:pt x="164" y="207"/>
                    </a:moveTo>
                    <a:cubicBezTo>
                      <a:pt x="164" y="220"/>
                      <a:pt x="161" y="232"/>
                      <a:pt x="157" y="243"/>
                    </a:cubicBezTo>
                    <a:cubicBezTo>
                      <a:pt x="152" y="253"/>
                      <a:pt x="145" y="262"/>
                      <a:pt x="137" y="270"/>
                    </a:cubicBezTo>
                    <a:cubicBezTo>
                      <a:pt x="128" y="277"/>
                      <a:pt x="118" y="282"/>
                      <a:pt x="106" y="286"/>
                    </a:cubicBezTo>
                    <a:cubicBezTo>
                      <a:pt x="94" y="290"/>
                      <a:pt x="80" y="292"/>
                      <a:pt x="66" y="292"/>
                    </a:cubicBezTo>
                    <a:cubicBezTo>
                      <a:pt x="58" y="292"/>
                      <a:pt x="51" y="292"/>
                      <a:pt x="44" y="291"/>
                    </a:cubicBezTo>
                    <a:cubicBezTo>
                      <a:pt x="37" y="290"/>
                      <a:pt x="30" y="288"/>
                      <a:pt x="25" y="287"/>
                    </a:cubicBezTo>
                    <a:cubicBezTo>
                      <a:pt x="19" y="285"/>
                      <a:pt x="15" y="284"/>
                      <a:pt x="11" y="282"/>
                    </a:cubicBezTo>
                    <a:cubicBezTo>
                      <a:pt x="8" y="281"/>
                      <a:pt x="5" y="280"/>
                      <a:pt x="4" y="279"/>
                    </a:cubicBezTo>
                    <a:cubicBezTo>
                      <a:pt x="3" y="278"/>
                      <a:pt x="2" y="277"/>
                      <a:pt x="2" y="276"/>
                    </a:cubicBezTo>
                    <a:cubicBezTo>
                      <a:pt x="1" y="275"/>
                      <a:pt x="1" y="273"/>
                      <a:pt x="1" y="271"/>
                    </a:cubicBezTo>
                    <a:cubicBezTo>
                      <a:pt x="0" y="270"/>
                      <a:pt x="0" y="268"/>
                      <a:pt x="0" y="265"/>
                    </a:cubicBezTo>
                    <a:cubicBezTo>
                      <a:pt x="0" y="263"/>
                      <a:pt x="0" y="260"/>
                      <a:pt x="0" y="257"/>
                    </a:cubicBezTo>
                    <a:cubicBezTo>
                      <a:pt x="0" y="253"/>
                      <a:pt x="0" y="250"/>
                      <a:pt x="0" y="248"/>
                    </a:cubicBezTo>
                    <a:cubicBezTo>
                      <a:pt x="0" y="245"/>
                      <a:pt x="1" y="243"/>
                      <a:pt x="1" y="241"/>
                    </a:cubicBezTo>
                    <a:cubicBezTo>
                      <a:pt x="2" y="240"/>
                      <a:pt x="3" y="239"/>
                      <a:pt x="3" y="238"/>
                    </a:cubicBezTo>
                    <a:cubicBezTo>
                      <a:pt x="4" y="237"/>
                      <a:pt x="5" y="237"/>
                      <a:pt x="6" y="237"/>
                    </a:cubicBezTo>
                    <a:cubicBezTo>
                      <a:pt x="7" y="237"/>
                      <a:pt x="9" y="238"/>
                      <a:pt x="12" y="239"/>
                    </a:cubicBezTo>
                    <a:cubicBezTo>
                      <a:pt x="15" y="241"/>
                      <a:pt x="18" y="243"/>
                      <a:pt x="22" y="244"/>
                    </a:cubicBezTo>
                    <a:cubicBezTo>
                      <a:pt x="27" y="246"/>
                      <a:pt x="32" y="248"/>
                      <a:pt x="38" y="249"/>
                    </a:cubicBezTo>
                    <a:cubicBezTo>
                      <a:pt x="44" y="251"/>
                      <a:pt x="52" y="251"/>
                      <a:pt x="60" y="251"/>
                    </a:cubicBezTo>
                    <a:cubicBezTo>
                      <a:pt x="68" y="251"/>
                      <a:pt x="75" y="251"/>
                      <a:pt x="81" y="249"/>
                    </a:cubicBezTo>
                    <a:cubicBezTo>
                      <a:pt x="87" y="248"/>
                      <a:pt x="92" y="245"/>
                      <a:pt x="96" y="242"/>
                    </a:cubicBezTo>
                    <a:cubicBezTo>
                      <a:pt x="101" y="238"/>
                      <a:pt x="104" y="234"/>
                      <a:pt x="106" y="229"/>
                    </a:cubicBezTo>
                    <a:cubicBezTo>
                      <a:pt x="109" y="224"/>
                      <a:pt x="110" y="218"/>
                      <a:pt x="110" y="210"/>
                    </a:cubicBezTo>
                    <a:cubicBezTo>
                      <a:pt x="110" y="204"/>
                      <a:pt x="109" y="199"/>
                      <a:pt x="107" y="194"/>
                    </a:cubicBezTo>
                    <a:cubicBezTo>
                      <a:pt x="105" y="189"/>
                      <a:pt x="102" y="185"/>
                      <a:pt x="98" y="182"/>
                    </a:cubicBezTo>
                    <a:cubicBezTo>
                      <a:pt x="94" y="178"/>
                      <a:pt x="88" y="176"/>
                      <a:pt x="82" y="174"/>
                    </a:cubicBezTo>
                    <a:cubicBezTo>
                      <a:pt x="75" y="172"/>
                      <a:pt x="67" y="171"/>
                      <a:pt x="58" y="171"/>
                    </a:cubicBezTo>
                    <a:cubicBezTo>
                      <a:pt x="50" y="171"/>
                      <a:pt x="43" y="172"/>
                      <a:pt x="37" y="173"/>
                    </a:cubicBezTo>
                    <a:cubicBezTo>
                      <a:pt x="31" y="173"/>
                      <a:pt x="25" y="174"/>
                      <a:pt x="20" y="174"/>
                    </a:cubicBezTo>
                    <a:cubicBezTo>
                      <a:pt x="16" y="174"/>
                      <a:pt x="14" y="173"/>
                      <a:pt x="12" y="171"/>
                    </a:cubicBezTo>
                    <a:cubicBezTo>
                      <a:pt x="10" y="169"/>
                      <a:pt x="10" y="166"/>
                      <a:pt x="10" y="161"/>
                    </a:cubicBezTo>
                    <a:lnTo>
                      <a:pt x="10" y="52"/>
                    </a:lnTo>
                    <a:cubicBezTo>
                      <a:pt x="10" y="47"/>
                      <a:pt x="11" y="43"/>
                      <a:pt x="13" y="41"/>
                    </a:cubicBezTo>
                    <a:cubicBezTo>
                      <a:pt x="15" y="39"/>
                      <a:pt x="18" y="38"/>
                      <a:pt x="22" y="38"/>
                    </a:cubicBezTo>
                    <a:lnTo>
                      <a:pt x="141" y="38"/>
                    </a:lnTo>
                    <a:cubicBezTo>
                      <a:pt x="142" y="38"/>
                      <a:pt x="143" y="38"/>
                      <a:pt x="144" y="39"/>
                    </a:cubicBezTo>
                    <a:cubicBezTo>
                      <a:pt x="145" y="40"/>
                      <a:pt x="146" y="41"/>
                      <a:pt x="147" y="42"/>
                    </a:cubicBezTo>
                    <a:cubicBezTo>
                      <a:pt x="147" y="44"/>
                      <a:pt x="148" y="46"/>
                      <a:pt x="148" y="49"/>
                    </a:cubicBezTo>
                    <a:cubicBezTo>
                      <a:pt x="148" y="52"/>
                      <a:pt x="149" y="55"/>
                      <a:pt x="149" y="59"/>
                    </a:cubicBezTo>
                    <a:cubicBezTo>
                      <a:pt x="149" y="67"/>
                      <a:pt x="148" y="72"/>
                      <a:pt x="147" y="76"/>
                    </a:cubicBezTo>
                    <a:cubicBezTo>
                      <a:pt x="145" y="79"/>
                      <a:pt x="143" y="81"/>
                      <a:pt x="141" y="81"/>
                    </a:cubicBezTo>
                    <a:lnTo>
                      <a:pt x="52" y="81"/>
                    </a:lnTo>
                    <a:lnTo>
                      <a:pt x="52" y="135"/>
                    </a:lnTo>
                    <a:cubicBezTo>
                      <a:pt x="56" y="134"/>
                      <a:pt x="61" y="134"/>
                      <a:pt x="65" y="134"/>
                    </a:cubicBezTo>
                    <a:cubicBezTo>
                      <a:pt x="70" y="133"/>
                      <a:pt x="74" y="133"/>
                      <a:pt x="79" y="133"/>
                    </a:cubicBezTo>
                    <a:cubicBezTo>
                      <a:pt x="93" y="133"/>
                      <a:pt x="105" y="135"/>
                      <a:pt x="115" y="138"/>
                    </a:cubicBezTo>
                    <a:cubicBezTo>
                      <a:pt x="126" y="141"/>
                      <a:pt x="135" y="146"/>
                      <a:pt x="142" y="152"/>
                    </a:cubicBezTo>
                    <a:cubicBezTo>
                      <a:pt x="149" y="158"/>
                      <a:pt x="154" y="166"/>
                      <a:pt x="158" y="175"/>
                    </a:cubicBezTo>
                    <a:cubicBezTo>
                      <a:pt x="162" y="184"/>
                      <a:pt x="164" y="195"/>
                      <a:pt x="164" y="207"/>
                    </a:cubicBezTo>
                    <a:close/>
                    <a:moveTo>
                      <a:pt x="374" y="216"/>
                    </a:moveTo>
                    <a:cubicBezTo>
                      <a:pt x="374" y="222"/>
                      <a:pt x="374" y="227"/>
                      <a:pt x="372" y="231"/>
                    </a:cubicBezTo>
                    <a:cubicBezTo>
                      <a:pt x="371" y="234"/>
                      <a:pt x="369" y="236"/>
                      <a:pt x="367" y="236"/>
                    </a:cubicBezTo>
                    <a:lnTo>
                      <a:pt x="345" y="236"/>
                    </a:lnTo>
                    <a:lnTo>
                      <a:pt x="345" y="281"/>
                    </a:lnTo>
                    <a:cubicBezTo>
                      <a:pt x="345" y="282"/>
                      <a:pt x="344" y="283"/>
                      <a:pt x="343" y="284"/>
                    </a:cubicBezTo>
                    <a:cubicBezTo>
                      <a:pt x="343" y="285"/>
                      <a:pt x="341" y="286"/>
                      <a:pt x="339" y="287"/>
                    </a:cubicBezTo>
                    <a:cubicBezTo>
                      <a:pt x="337" y="287"/>
                      <a:pt x="335" y="288"/>
                      <a:pt x="332" y="288"/>
                    </a:cubicBezTo>
                    <a:cubicBezTo>
                      <a:pt x="329" y="289"/>
                      <a:pt x="325" y="289"/>
                      <a:pt x="320" y="289"/>
                    </a:cubicBezTo>
                    <a:cubicBezTo>
                      <a:pt x="315" y="289"/>
                      <a:pt x="311" y="289"/>
                      <a:pt x="308" y="288"/>
                    </a:cubicBezTo>
                    <a:cubicBezTo>
                      <a:pt x="305" y="288"/>
                      <a:pt x="302" y="287"/>
                      <a:pt x="301" y="287"/>
                    </a:cubicBezTo>
                    <a:cubicBezTo>
                      <a:pt x="299" y="286"/>
                      <a:pt x="297" y="285"/>
                      <a:pt x="297" y="284"/>
                    </a:cubicBezTo>
                    <a:cubicBezTo>
                      <a:pt x="296" y="283"/>
                      <a:pt x="296" y="282"/>
                      <a:pt x="296" y="281"/>
                    </a:cubicBezTo>
                    <a:lnTo>
                      <a:pt x="296" y="236"/>
                    </a:lnTo>
                    <a:lnTo>
                      <a:pt x="200" y="236"/>
                    </a:lnTo>
                    <a:cubicBezTo>
                      <a:pt x="198" y="236"/>
                      <a:pt x="197" y="236"/>
                      <a:pt x="195" y="235"/>
                    </a:cubicBezTo>
                    <a:cubicBezTo>
                      <a:pt x="194" y="235"/>
                      <a:pt x="193" y="234"/>
                      <a:pt x="192" y="232"/>
                    </a:cubicBezTo>
                    <a:cubicBezTo>
                      <a:pt x="191" y="230"/>
                      <a:pt x="190" y="228"/>
                      <a:pt x="189" y="225"/>
                    </a:cubicBezTo>
                    <a:cubicBezTo>
                      <a:pt x="189" y="222"/>
                      <a:pt x="189" y="218"/>
                      <a:pt x="189" y="213"/>
                    </a:cubicBezTo>
                    <a:cubicBezTo>
                      <a:pt x="189" y="209"/>
                      <a:pt x="189" y="205"/>
                      <a:pt x="189" y="202"/>
                    </a:cubicBezTo>
                    <a:cubicBezTo>
                      <a:pt x="189" y="199"/>
                      <a:pt x="190" y="197"/>
                      <a:pt x="190" y="194"/>
                    </a:cubicBezTo>
                    <a:cubicBezTo>
                      <a:pt x="190" y="192"/>
                      <a:pt x="191" y="189"/>
                      <a:pt x="192" y="187"/>
                    </a:cubicBezTo>
                    <a:cubicBezTo>
                      <a:pt x="193" y="185"/>
                      <a:pt x="194" y="183"/>
                      <a:pt x="195" y="180"/>
                    </a:cubicBezTo>
                    <a:lnTo>
                      <a:pt x="273" y="43"/>
                    </a:lnTo>
                    <a:cubicBezTo>
                      <a:pt x="273" y="42"/>
                      <a:pt x="275" y="41"/>
                      <a:pt x="276" y="40"/>
                    </a:cubicBezTo>
                    <a:cubicBezTo>
                      <a:pt x="278" y="39"/>
                      <a:pt x="280" y="39"/>
                      <a:pt x="283" y="38"/>
                    </a:cubicBezTo>
                    <a:cubicBezTo>
                      <a:pt x="285" y="38"/>
                      <a:pt x="289" y="37"/>
                      <a:pt x="293" y="37"/>
                    </a:cubicBezTo>
                    <a:cubicBezTo>
                      <a:pt x="297" y="37"/>
                      <a:pt x="303" y="36"/>
                      <a:pt x="309" y="36"/>
                    </a:cubicBezTo>
                    <a:cubicBezTo>
                      <a:pt x="315" y="36"/>
                      <a:pt x="321" y="37"/>
                      <a:pt x="325" y="37"/>
                    </a:cubicBezTo>
                    <a:cubicBezTo>
                      <a:pt x="330" y="37"/>
                      <a:pt x="334" y="38"/>
                      <a:pt x="336" y="38"/>
                    </a:cubicBezTo>
                    <a:cubicBezTo>
                      <a:pt x="339" y="39"/>
                      <a:pt x="341" y="40"/>
                      <a:pt x="343" y="41"/>
                    </a:cubicBezTo>
                    <a:cubicBezTo>
                      <a:pt x="344" y="42"/>
                      <a:pt x="345" y="43"/>
                      <a:pt x="345" y="45"/>
                    </a:cubicBezTo>
                    <a:lnTo>
                      <a:pt x="345" y="195"/>
                    </a:lnTo>
                    <a:lnTo>
                      <a:pt x="367" y="195"/>
                    </a:lnTo>
                    <a:cubicBezTo>
                      <a:pt x="369" y="195"/>
                      <a:pt x="371" y="197"/>
                      <a:pt x="372" y="200"/>
                    </a:cubicBezTo>
                    <a:cubicBezTo>
                      <a:pt x="374" y="203"/>
                      <a:pt x="374" y="208"/>
                      <a:pt x="374" y="216"/>
                    </a:cubicBezTo>
                    <a:close/>
                    <a:moveTo>
                      <a:pt x="296" y="80"/>
                    </a:moveTo>
                    <a:lnTo>
                      <a:pt x="295" y="80"/>
                    </a:lnTo>
                    <a:lnTo>
                      <a:pt x="229" y="195"/>
                    </a:lnTo>
                    <a:lnTo>
                      <a:pt x="296" y="195"/>
                    </a:lnTo>
                    <a:lnTo>
                      <a:pt x="296" y="80"/>
                    </a:lnTo>
                    <a:close/>
                    <a:moveTo>
                      <a:pt x="572" y="162"/>
                    </a:moveTo>
                    <a:cubicBezTo>
                      <a:pt x="572" y="182"/>
                      <a:pt x="571" y="200"/>
                      <a:pt x="567" y="216"/>
                    </a:cubicBezTo>
                    <a:cubicBezTo>
                      <a:pt x="564" y="232"/>
                      <a:pt x="559" y="246"/>
                      <a:pt x="552" y="257"/>
                    </a:cubicBezTo>
                    <a:cubicBezTo>
                      <a:pt x="544" y="268"/>
                      <a:pt x="535" y="277"/>
                      <a:pt x="523" y="283"/>
                    </a:cubicBezTo>
                    <a:cubicBezTo>
                      <a:pt x="512" y="289"/>
                      <a:pt x="497" y="292"/>
                      <a:pt x="480" y="292"/>
                    </a:cubicBezTo>
                    <a:cubicBezTo>
                      <a:pt x="463" y="292"/>
                      <a:pt x="449" y="289"/>
                      <a:pt x="438" y="283"/>
                    </a:cubicBezTo>
                    <a:cubicBezTo>
                      <a:pt x="427" y="277"/>
                      <a:pt x="418" y="269"/>
                      <a:pt x="411" y="258"/>
                    </a:cubicBezTo>
                    <a:cubicBezTo>
                      <a:pt x="405" y="247"/>
                      <a:pt x="400" y="233"/>
                      <a:pt x="397" y="218"/>
                    </a:cubicBezTo>
                    <a:cubicBezTo>
                      <a:pt x="395" y="202"/>
                      <a:pt x="393" y="184"/>
                      <a:pt x="393" y="164"/>
                    </a:cubicBezTo>
                    <a:cubicBezTo>
                      <a:pt x="393" y="144"/>
                      <a:pt x="395" y="126"/>
                      <a:pt x="398" y="110"/>
                    </a:cubicBezTo>
                    <a:cubicBezTo>
                      <a:pt x="402" y="93"/>
                      <a:pt x="407" y="80"/>
                      <a:pt x="414" y="68"/>
                    </a:cubicBezTo>
                    <a:cubicBezTo>
                      <a:pt x="421" y="57"/>
                      <a:pt x="431" y="48"/>
                      <a:pt x="443" y="42"/>
                    </a:cubicBezTo>
                    <a:cubicBezTo>
                      <a:pt x="454" y="36"/>
                      <a:pt x="468" y="33"/>
                      <a:pt x="485" y="33"/>
                    </a:cubicBezTo>
                    <a:cubicBezTo>
                      <a:pt x="502" y="33"/>
                      <a:pt x="517" y="36"/>
                      <a:pt x="528" y="42"/>
                    </a:cubicBezTo>
                    <a:cubicBezTo>
                      <a:pt x="539" y="48"/>
                      <a:pt x="548" y="56"/>
                      <a:pt x="555" y="67"/>
                    </a:cubicBezTo>
                    <a:cubicBezTo>
                      <a:pt x="561" y="78"/>
                      <a:pt x="566" y="92"/>
                      <a:pt x="568" y="108"/>
                    </a:cubicBezTo>
                    <a:cubicBezTo>
                      <a:pt x="571" y="124"/>
                      <a:pt x="572" y="142"/>
                      <a:pt x="572" y="162"/>
                    </a:cubicBezTo>
                    <a:close/>
                    <a:moveTo>
                      <a:pt x="521" y="164"/>
                    </a:moveTo>
                    <a:cubicBezTo>
                      <a:pt x="521" y="152"/>
                      <a:pt x="521" y="142"/>
                      <a:pt x="520" y="133"/>
                    </a:cubicBezTo>
                    <a:cubicBezTo>
                      <a:pt x="519" y="124"/>
                      <a:pt x="518" y="116"/>
                      <a:pt x="517" y="109"/>
                    </a:cubicBezTo>
                    <a:cubicBezTo>
                      <a:pt x="516" y="102"/>
                      <a:pt x="514" y="97"/>
                      <a:pt x="512" y="92"/>
                    </a:cubicBezTo>
                    <a:cubicBezTo>
                      <a:pt x="510" y="87"/>
                      <a:pt x="507" y="84"/>
                      <a:pt x="505" y="81"/>
                    </a:cubicBezTo>
                    <a:cubicBezTo>
                      <a:pt x="502" y="78"/>
                      <a:pt x="499" y="76"/>
                      <a:pt x="495" y="75"/>
                    </a:cubicBezTo>
                    <a:cubicBezTo>
                      <a:pt x="491" y="74"/>
                      <a:pt x="487" y="73"/>
                      <a:pt x="483" y="73"/>
                    </a:cubicBezTo>
                    <a:cubicBezTo>
                      <a:pt x="475" y="73"/>
                      <a:pt x="469" y="75"/>
                      <a:pt x="464" y="79"/>
                    </a:cubicBezTo>
                    <a:cubicBezTo>
                      <a:pt x="459" y="83"/>
                      <a:pt x="455" y="88"/>
                      <a:pt x="452" y="95"/>
                    </a:cubicBezTo>
                    <a:cubicBezTo>
                      <a:pt x="450" y="103"/>
                      <a:pt x="447" y="112"/>
                      <a:pt x="446" y="123"/>
                    </a:cubicBezTo>
                    <a:cubicBezTo>
                      <a:pt x="445" y="134"/>
                      <a:pt x="445" y="146"/>
                      <a:pt x="445" y="161"/>
                    </a:cubicBezTo>
                    <a:cubicBezTo>
                      <a:pt x="445" y="179"/>
                      <a:pt x="445" y="194"/>
                      <a:pt x="447" y="205"/>
                    </a:cubicBezTo>
                    <a:cubicBezTo>
                      <a:pt x="448" y="217"/>
                      <a:pt x="450" y="226"/>
                      <a:pt x="453" y="233"/>
                    </a:cubicBezTo>
                    <a:cubicBezTo>
                      <a:pt x="456" y="240"/>
                      <a:pt x="460" y="245"/>
                      <a:pt x="465" y="248"/>
                    </a:cubicBezTo>
                    <a:cubicBezTo>
                      <a:pt x="470" y="250"/>
                      <a:pt x="476" y="252"/>
                      <a:pt x="482" y="252"/>
                    </a:cubicBezTo>
                    <a:cubicBezTo>
                      <a:pt x="487" y="252"/>
                      <a:pt x="492" y="251"/>
                      <a:pt x="496" y="249"/>
                    </a:cubicBezTo>
                    <a:cubicBezTo>
                      <a:pt x="499" y="248"/>
                      <a:pt x="503" y="245"/>
                      <a:pt x="506" y="242"/>
                    </a:cubicBezTo>
                    <a:cubicBezTo>
                      <a:pt x="509" y="239"/>
                      <a:pt x="511" y="235"/>
                      <a:pt x="513" y="230"/>
                    </a:cubicBezTo>
                    <a:cubicBezTo>
                      <a:pt x="515" y="225"/>
                      <a:pt x="517" y="219"/>
                      <a:pt x="518" y="213"/>
                    </a:cubicBezTo>
                    <a:cubicBezTo>
                      <a:pt x="519" y="206"/>
                      <a:pt x="520" y="199"/>
                      <a:pt x="520" y="191"/>
                    </a:cubicBezTo>
                    <a:cubicBezTo>
                      <a:pt x="521" y="183"/>
                      <a:pt x="521" y="174"/>
                      <a:pt x="521" y="164"/>
                    </a:cubicBezTo>
                    <a:close/>
                    <a:moveTo>
                      <a:pt x="632" y="338"/>
                    </a:moveTo>
                    <a:cubicBezTo>
                      <a:pt x="631" y="339"/>
                      <a:pt x="630" y="341"/>
                      <a:pt x="629" y="342"/>
                    </a:cubicBezTo>
                    <a:cubicBezTo>
                      <a:pt x="628" y="343"/>
                      <a:pt x="627" y="344"/>
                      <a:pt x="625" y="344"/>
                    </a:cubicBezTo>
                    <a:cubicBezTo>
                      <a:pt x="623" y="345"/>
                      <a:pt x="621" y="345"/>
                      <a:pt x="618" y="346"/>
                    </a:cubicBezTo>
                    <a:cubicBezTo>
                      <a:pt x="615" y="346"/>
                      <a:pt x="612" y="346"/>
                      <a:pt x="607" y="346"/>
                    </a:cubicBezTo>
                    <a:cubicBezTo>
                      <a:pt x="602" y="346"/>
                      <a:pt x="598" y="346"/>
                      <a:pt x="594" y="345"/>
                    </a:cubicBezTo>
                    <a:cubicBezTo>
                      <a:pt x="591" y="345"/>
                      <a:pt x="588" y="344"/>
                      <a:pt x="587" y="343"/>
                    </a:cubicBezTo>
                    <a:cubicBezTo>
                      <a:pt x="585" y="342"/>
                      <a:pt x="584" y="341"/>
                      <a:pt x="584" y="339"/>
                    </a:cubicBezTo>
                    <a:cubicBezTo>
                      <a:pt x="583" y="337"/>
                      <a:pt x="584" y="336"/>
                      <a:pt x="584" y="333"/>
                    </a:cubicBezTo>
                    <a:lnTo>
                      <a:pt x="700" y="9"/>
                    </a:lnTo>
                    <a:cubicBezTo>
                      <a:pt x="701" y="7"/>
                      <a:pt x="701" y="6"/>
                      <a:pt x="702" y="5"/>
                    </a:cubicBezTo>
                    <a:cubicBezTo>
                      <a:pt x="703" y="4"/>
                      <a:pt x="705" y="3"/>
                      <a:pt x="707" y="2"/>
                    </a:cubicBezTo>
                    <a:cubicBezTo>
                      <a:pt x="708" y="2"/>
                      <a:pt x="711" y="1"/>
                      <a:pt x="714" y="1"/>
                    </a:cubicBezTo>
                    <a:cubicBezTo>
                      <a:pt x="717" y="0"/>
                      <a:pt x="720" y="0"/>
                      <a:pt x="724" y="0"/>
                    </a:cubicBezTo>
                    <a:cubicBezTo>
                      <a:pt x="730" y="0"/>
                      <a:pt x="734" y="1"/>
                      <a:pt x="737" y="1"/>
                    </a:cubicBezTo>
                    <a:cubicBezTo>
                      <a:pt x="741" y="2"/>
                      <a:pt x="743" y="2"/>
                      <a:pt x="745" y="3"/>
                    </a:cubicBezTo>
                    <a:cubicBezTo>
                      <a:pt x="746" y="4"/>
                      <a:pt x="747" y="6"/>
                      <a:pt x="748" y="7"/>
                    </a:cubicBezTo>
                    <a:cubicBezTo>
                      <a:pt x="748" y="9"/>
                      <a:pt x="748" y="11"/>
                      <a:pt x="747" y="13"/>
                    </a:cubicBezTo>
                    <a:lnTo>
                      <a:pt x="632" y="338"/>
                    </a:lnTo>
                    <a:close/>
                    <a:moveTo>
                      <a:pt x="935" y="268"/>
                    </a:moveTo>
                    <a:cubicBezTo>
                      <a:pt x="935" y="272"/>
                      <a:pt x="935" y="275"/>
                      <a:pt x="935" y="277"/>
                    </a:cubicBezTo>
                    <a:cubicBezTo>
                      <a:pt x="934" y="280"/>
                      <a:pt x="934" y="282"/>
                      <a:pt x="933" y="283"/>
                    </a:cubicBezTo>
                    <a:cubicBezTo>
                      <a:pt x="932" y="285"/>
                      <a:pt x="932" y="286"/>
                      <a:pt x="931" y="287"/>
                    </a:cubicBezTo>
                    <a:cubicBezTo>
                      <a:pt x="930" y="287"/>
                      <a:pt x="929" y="288"/>
                      <a:pt x="928" y="288"/>
                    </a:cubicBezTo>
                    <a:lnTo>
                      <a:pt x="790" y="288"/>
                    </a:lnTo>
                    <a:cubicBezTo>
                      <a:pt x="789" y="288"/>
                      <a:pt x="788" y="287"/>
                      <a:pt x="787" y="287"/>
                    </a:cubicBezTo>
                    <a:cubicBezTo>
                      <a:pt x="786" y="286"/>
                      <a:pt x="785" y="285"/>
                      <a:pt x="784" y="283"/>
                    </a:cubicBezTo>
                    <a:cubicBezTo>
                      <a:pt x="784" y="282"/>
                      <a:pt x="783" y="280"/>
                      <a:pt x="783" y="277"/>
                    </a:cubicBezTo>
                    <a:cubicBezTo>
                      <a:pt x="782" y="275"/>
                      <a:pt x="782" y="272"/>
                      <a:pt x="782" y="268"/>
                    </a:cubicBezTo>
                    <a:cubicBezTo>
                      <a:pt x="782" y="265"/>
                      <a:pt x="782" y="261"/>
                      <a:pt x="783" y="259"/>
                    </a:cubicBezTo>
                    <a:cubicBezTo>
                      <a:pt x="783" y="256"/>
                      <a:pt x="783" y="254"/>
                      <a:pt x="784" y="253"/>
                    </a:cubicBezTo>
                    <a:cubicBezTo>
                      <a:pt x="785" y="251"/>
                      <a:pt x="786" y="250"/>
                      <a:pt x="787" y="249"/>
                    </a:cubicBezTo>
                    <a:cubicBezTo>
                      <a:pt x="787" y="249"/>
                      <a:pt x="789" y="248"/>
                      <a:pt x="790" y="248"/>
                    </a:cubicBezTo>
                    <a:lnTo>
                      <a:pt x="836" y="248"/>
                    </a:lnTo>
                    <a:lnTo>
                      <a:pt x="836" y="86"/>
                    </a:lnTo>
                    <a:lnTo>
                      <a:pt x="796" y="108"/>
                    </a:lnTo>
                    <a:cubicBezTo>
                      <a:pt x="793" y="109"/>
                      <a:pt x="791" y="110"/>
                      <a:pt x="789" y="111"/>
                    </a:cubicBezTo>
                    <a:cubicBezTo>
                      <a:pt x="787" y="111"/>
                      <a:pt x="785" y="110"/>
                      <a:pt x="784" y="109"/>
                    </a:cubicBezTo>
                    <a:cubicBezTo>
                      <a:pt x="783" y="108"/>
                      <a:pt x="783" y="106"/>
                      <a:pt x="782" y="104"/>
                    </a:cubicBezTo>
                    <a:cubicBezTo>
                      <a:pt x="782" y="101"/>
                      <a:pt x="782" y="97"/>
                      <a:pt x="782" y="92"/>
                    </a:cubicBezTo>
                    <a:cubicBezTo>
                      <a:pt x="782" y="89"/>
                      <a:pt x="782" y="87"/>
                      <a:pt x="782" y="85"/>
                    </a:cubicBezTo>
                    <a:cubicBezTo>
                      <a:pt x="782" y="83"/>
                      <a:pt x="782" y="81"/>
                      <a:pt x="783" y="80"/>
                    </a:cubicBezTo>
                    <a:cubicBezTo>
                      <a:pt x="783" y="78"/>
                      <a:pt x="784" y="77"/>
                      <a:pt x="785" y="76"/>
                    </a:cubicBezTo>
                    <a:cubicBezTo>
                      <a:pt x="786" y="75"/>
                      <a:pt x="787" y="74"/>
                      <a:pt x="789" y="73"/>
                    </a:cubicBezTo>
                    <a:lnTo>
                      <a:pt x="842" y="38"/>
                    </a:lnTo>
                    <a:cubicBezTo>
                      <a:pt x="843" y="38"/>
                      <a:pt x="844" y="37"/>
                      <a:pt x="845" y="37"/>
                    </a:cubicBezTo>
                    <a:cubicBezTo>
                      <a:pt x="846" y="37"/>
                      <a:pt x="847" y="37"/>
                      <a:pt x="848" y="36"/>
                    </a:cubicBezTo>
                    <a:cubicBezTo>
                      <a:pt x="850" y="36"/>
                      <a:pt x="852" y="36"/>
                      <a:pt x="855" y="36"/>
                    </a:cubicBezTo>
                    <a:cubicBezTo>
                      <a:pt x="857" y="36"/>
                      <a:pt x="860" y="36"/>
                      <a:pt x="864" y="36"/>
                    </a:cubicBezTo>
                    <a:cubicBezTo>
                      <a:pt x="869" y="36"/>
                      <a:pt x="873" y="36"/>
                      <a:pt x="876" y="36"/>
                    </a:cubicBezTo>
                    <a:cubicBezTo>
                      <a:pt x="879" y="36"/>
                      <a:pt x="881" y="37"/>
                      <a:pt x="883" y="37"/>
                    </a:cubicBezTo>
                    <a:cubicBezTo>
                      <a:pt x="885" y="38"/>
                      <a:pt x="886" y="38"/>
                      <a:pt x="886" y="39"/>
                    </a:cubicBezTo>
                    <a:cubicBezTo>
                      <a:pt x="887" y="40"/>
                      <a:pt x="887" y="41"/>
                      <a:pt x="887" y="42"/>
                    </a:cubicBezTo>
                    <a:lnTo>
                      <a:pt x="887" y="248"/>
                    </a:lnTo>
                    <a:lnTo>
                      <a:pt x="928" y="248"/>
                    </a:lnTo>
                    <a:cubicBezTo>
                      <a:pt x="929" y="248"/>
                      <a:pt x="930" y="249"/>
                      <a:pt x="931" y="249"/>
                    </a:cubicBezTo>
                    <a:cubicBezTo>
                      <a:pt x="932" y="250"/>
                      <a:pt x="933" y="251"/>
                      <a:pt x="933" y="253"/>
                    </a:cubicBezTo>
                    <a:cubicBezTo>
                      <a:pt x="934" y="254"/>
                      <a:pt x="935" y="256"/>
                      <a:pt x="935" y="259"/>
                    </a:cubicBezTo>
                    <a:cubicBezTo>
                      <a:pt x="935" y="261"/>
                      <a:pt x="935" y="265"/>
                      <a:pt x="935" y="268"/>
                    </a:cubicBezTo>
                    <a:close/>
                  </a:path>
                </a:pathLst>
              </a:custGeom>
              <a:solidFill>
                <a:srgbClr val="4C4C4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4" name="Freeform 1216"/>
              <p:cNvSpPr>
                <a:spLocks noEditPoints="1"/>
              </p:cNvSpPr>
              <p:nvPr/>
            </p:nvSpPr>
            <p:spPr bwMode="auto">
              <a:xfrm>
                <a:off x="1866" y="1694"/>
                <a:ext cx="263" cy="79"/>
              </a:xfrm>
              <a:custGeom>
                <a:avLst/>
                <a:gdLst/>
                <a:ahLst/>
                <a:cxnLst>
                  <a:cxn ang="0">
                    <a:pos x="156" y="280"/>
                  </a:cxn>
                  <a:cxn ang="0">
                    <a:pos x="120" y="287"/>
                  </a:cxn>
                  <a:cxn ang="0">
                    <a:pos x="12" y="235"/>
                  </a:cxn>
                  <a:cxn ang="0">
                    <a:pos x="1" y="202"/>
                  </a:cxn>
                  <a:cxn ang="0">
                    <a:pos x="88" y="39"/>
                  </a:cxn>
                  <a:cxn ang="0">
                    <a:pos x="148" y="38"/>
                  </a:cxn>
                  <a:cxn ang="0">
                    <a:pos x="184" y="199"/>
                  </a:cxn>
                  <a:cxn ang="0">
                    <a:pos x="107" y="194"/>
                  </a:cxn>
                  <a:cxn ang="0">
                    <a:pos x="360" y="244"/>
                  </a:cxn>
                  <a:cxn ang="0">
                    <a:pos x="239" y="287"/>
                  </a:cxn>
                  <a:cxn ang="0">
                    <a:pos x="216" y="253"/>
                  </a:cxn>
                  <a:cxn ang="0">
                    <a:pos x="240" y="248"/>
                  </a:cxn>
                  <a:cxn ang="0">
                    <a:pos x="326" y="208"/>
                  </a:cxn>
                  <a:cxn ang="0">
                    <a:pos x="223" y="174"/>
                  </a:cxn>
                  <a:cxn ang="0">
                    <a:pos x="256" y="39"/>
                  </a:cxn>
                  <a:cxn ang="0">
                    <a:pos x="373" y="90"/>
                  </a:cxn>
                  <a:cxn ang="0">
                    <a:pos x="320" y="87"/>
                  </a:cxn>
                  <a:cxn ang="0">
                    <a:pos x="259" y="97"/>
                  </a:cxn>
                  <a:cxn ang="0">
                    <a:pos x="290" y="156"/>
                  </a:cxn>
                  <a:cxn ang="0">
                    <a:pos x="580" y="235"/>
                  </a:cxn>
                  <a:cxn ang="0">
                    <a:pos x="545" y="287"/>
                  </a:cxn>
                  <a:cxn ang="0">
                    <a:pos x="508" y="280"/>
                  </a:cxn>
                  <a:cxn ang="0">
                    <a:pos x="402" y="224"/>
                  </a:cxn>
                  <a:cxn ang="0">
                    <a:pos x="408" y="179"/>
                  </a:cxn>
                  <a:cxn ang="0">
                    <a:pos x="521" y="36"/>
                  </a:cxn>
                  <a:cxn ang="0">
                    <a:pos x="557" y="194"/>
                  </a:cxn>
                  <a:cxn ang="0">
                    <a:pos x="508" y="79"/>
                  </a:cxn>
                  <a:cxn ang="0">
                    <a:pos x="641" y="341"/>
                  </a:cxn>
                  <a:cxn ang="0">
                    <a:pos x="599" y="342"/>
                  </a:cxn>
                  <a:cxn ang="0">
                    <a:pos x="719" y="1"/>
                  </a:cxn>
                  <a:cxn ang="0">
                    <a:pos x="760" y="7"/>
                  </a:cxn>
                  <a:cxn ang="0">
                    <a:pos x="948" y="282"/>
                  </a:cxn>
                  <a:cxn ang="0">
                    <a:pos x="786" y="283"/>
                  </a:cxn>
                  <a:cxn ang="0">
                    <a:pos x="789" y="240"/>
                  </a:cxn>
                  <a:cxn ang="0">
                    <a:pos x="878" y="124"/>
                  </a:cxn>
                  <a:cxn ang="0">
                    <a:pos x="847" y="78"/>
                  </a:cxn>
                  <a:cxn ang="0">
                    <a:pos x="791" y="96"/>
                  </a:cxn>
                  <a:cxn ang="0">
                    <a:pos x="788" y="61"/>
                  </a:cxn>
                  <a:cxn ang="0">
                    <a:pos x="839" y="35"/>
                  </a:cxn>
                  <a:cxn ang="0">
                    <a:pos x="940" y="98"/>
                  </a:cxn>
                  <a:cxn ang="0">
                    <a:pos x="843" y="246"/>
                  </a:cxn>
                  <a:cxn ang="0">
                    <a:pos x="950" y="266"/>
                  </a:cxn>
                  <a:cxn ang="0">
                    <a:pos x="1053" y="291"/>
                  </a:cxn>
                  <a:cxn ang="0">
                    <a:pos x="985" y="271"/>
                  </a:cxn>
                  <a:cxn ang="0">
                    <a:pos x="988" y="234"/>
                  </a:cxn>
                  <a:cxn ang="0">
                    <a:pos x="1066" y="248"/>
                  </a:cxn>
                  <a:cxn ang="0">
                    <a:pos x="1077" y="188"/>
                  </a:cxn>
                  <a:cxn ang="0">
                    <a:pos x="1008" y="174"/>
                  </a:cxn>
                  <a:cxn ang="0">
                    <a:pos x="1010" y="141"/>
                  </a:cxn>
                  <a:cxn ang="0">
                    <a:pos x="1080" y="119"/>
                  </a:cxn>
                  <a:cxn ang="0">
                    <a:pos x="1048" y="73"/>
                  </a:cxn>
                  <a:cxn ang="0">
                    <a:pos x="991" y="91"/>
                  </a:cxn>
                  <a:cxn ang="0">
                    <a:pos x="989" y="60"/>
                  </a:cxn>
                  <a:cxn ang="0">
                    <a:pos x="1037" y="35"/>
                  </a:cxn>
                  <a:cxn ang="0">
                    <a:pos x="1138" y="95"/>
                  </a:cxn>
                  <a:cxn ang="0">
                    <a:pos x="1093" y="156"/>
                  </a:cxn>
                </a:cxnLst>
                <a:rect l="0" t="0" r="r" b="b"/>
                <a:pathLst>
                  <a:path w="1149" h="345">
                    <a:moveTo>
                      <a:pt x="186" y="215"/>
                    </a:moveTo>
                    <a:cubicBezTo>
                      <a:pt x="186" y="222"/>
                      <a:pt x="185" y="226"/>
                      <a:pt x="184" y="230"/>
                    </a:cubicBezTo>
                    <a:cubicBezTo>
                      <a:pt x="183" y="233"/>
                      <a:pt x="181" y="235"/>
                      <a:pt x="178" y="235"/>
                    </a:cubicBezTo>
                    <a:lnTo>
                      <a:pt x="156" y="235"/>
                    </a:lnTo>
                    <a:lnTo>
                      <a:pt x="156" y="280"/>
                    </a:lnTo>
                    <a:cubicBezTo>
                      <a:pt x="156" y="282"/>
                      <a:pt x="156" y="283"/>
                      <a:pt x="155" y="284"/>
                    </a:cubicBezTo>
                    <a:cubicBezTo>
                      <a:pt x="154" y="285"/>
                      <a:pt x="153" y="285"/>
                      <a:pt x="151" y="286"/>
                    </a:cubicBezTo>
                    <a:cubicBezTo>
                      <a:pt x="149" y="287"/>
                      <a:pt x="147" y="287"/>
                      <a:pt x="143" y="287"/>
                    </a:cubicBezTo>
                    <a:cubicBezTo>
                      <a:pt x="140" y="288"/>
                      <a:pt x="136" y="288"/>
                      <a:pt x="131" y="288"/>
                    </a:cubicBezTo>
                    <a:cubicBezTo>
                      <a:pt x="127" y="288"/>
                      <a:pt x="123" y="288"/>
                      <a:pt x="120" y="287"/>
                    </a:cubicBezTo>
                    <a:cubicBezTo>
                      <a:pt x="117" y="287"/>
                      <a:pt x="114" y="287"/>
                      <a:pt x="112" y="286"/>
                    </a:cubicBezTo>
                    <a:cubicBezTo>
                      <a:pt x="110" y="285"/>
                      <a:pt x="109" y="285"/>
                      <a:pt x="108" y="284"/>
                    </a:cubicBezTo>
                    <a:cubicBezTo>
                      <a:pt x="108" y="283"/>
                      <a:pt x="107" y="282"/>
                      <a:pt x="107" y="280"/>
                    </a:cubicBezTo>
                    <a:lnTo>
                      <a:pt x="107" y="235"/>
                    </a:lnTo>
                    <a:lnTo>
                      <a:pt x="12" y="235"/>
                    </a:lnTo>
                    <a:cubicBezTo>
                      <a:pt x="10" y="235"/>
                      <a:pt x="8" y="235"/>
                      <a:pt x="7" y="234"/>
                    </a:cubicBezTo>
                    <a:cubicBezTo>
                      <a:pt x="5" y="234"/>
                      <a:pt x="4" y="233"/>
                      <a:pt x="3" y="231"/>
                    </a:cubicBezTo>
                    <a:cubicBezTo>
                      <a:pt x="2" y="230"/>
                      <a:pt x="2" y="227"/>
                      <a:pt x="1" y="224"/>
                    </a:cubicBezTo>
                    <a:cubicBezTo>
                      <a:pt x="1" y="221"/>
                      <a:pt x="0" y="217"/>
                      <a:pt x="0" y="212"/>
                    </a:cubicBezTo>
                    <a:cubicBezTo>
                      <a:pt x="0" y="208"/>
                      <a:pt x="1" y="205"/>
                      <a:pt x="1" y="202"/>
                    </a:cubicBezTo>
                    <a:cubicBezTo>
                      <a:pt x="1" y="199"/>
                      <a:pt x="1" y="196"/>
                      <a:pt x="2" y="193"/>
                    </a:cubicBezTo>
                    <a:cubicBezTo>
                      <a:pt x="2" y="191"/>
                      <a:pt x="3" y="189"/>
                      <a:pt x="4" y="186"/>
                    </a:cubicBezTo>
                    <a:cubicBezTo>
                      <a:pt x="5" y="184"/>
                      <a:pt x="6" y="182"/>
                      <a:pt x="7" y="179"/>
                    </a:cubicBezTo>
                    <a:lnTo>
                      <a:pt x="85" y="42"/>
                    </a:lnTo>
                    <a:cubicBezTo>
                      <a:pt x="85" y="41"/>
                      <a:pt x="86" y="40"/>
                      <a:pt x="88" y="39"/>
                    </a:cubicBezTo>
                    <a:cubicBezTo>
                      <a:pt x="89" y="39"/>
                      <a:pt x="91" y="38"/>
                      <a:pt x="94" y="37"/>
                    </a:cubicBezTo>
                    <a:cubicBezTo>
                      <a:pt x="97" y="37"/>
                      <a:pt x="101" y="36"/>
                      <a:pt x="105" y="36"/>
                    </a:cubicBezTo>
                    <a:cubicBezTo>
                      <a:pt x="109" y="36"/>
                      <a:pt x="114" y="36"/>
                      <a:pt x="120" y="36"/>
                    </a:cubicBezTo>
                    <a:cubicBezTo>
                      <a:pt x="127" y="36"/>
                      <a:pt x="132" y="36"/>
                      <a:pt x="137" y="36"/>
                    </a:cubicBezTo>
                    <a:cubicBezTo>
                      <a:pt x="142" y="36"/>
                      <a:pt x="145" y="37"/>
                      <a:pt x="148" y="38"/>
                    </a:cubicBezTo>
                    <a:cubicBezTo>
                      <a:pt x="151" y="38"/>
                      <a:pt x="153" y="39"/>
                      <a:pt x="154" y="40"/>
                    </a:cubicBezTo>
                    <a:cubicBezTo>
                      <a:pt x="156" y="41"/>
                      <a:pt x="156" y="43"/>
                      <a:pt x="156" y="44"/>
                    </a:cubicBezTo>
                    <a:lnTo>
                      <a:pt x="156" y="194"/>
                    </a:lnTo>
                    <a:lnTo>
                      <a:pt x="178" y="194"/>
                    </a:lnTo>
                    <a:cubicBezTo>
                      <a:pt x="180" y="194"/>
                      <a:pt x="182" y="196"/>
                      <a:pt x="184" y="199"/>
                    </a:cubicBezTo>
                    <a:cubicBezTo>
                      <a:pt x="185" y="202"/>
                      <a:pt x="186" y="208"/>
                      <a:pt x="186" y="215"/>
                    </a:cubicBezTo>
                    <a:close/>
                    <a:moveTo>
                      <a:pt x="107" y="79"/>
                    </a:moveTo>
                    <a:lnTo>
                      <a:pt x="107" y="79"/>
                    </a:lnTo>
                    <a:lnTo>
                      <a:pt x="41" y="194"/>
                    </a:lnTo>
                    <a:lnTo>
                      <a:pt x="107" y="194"/>
                    </a:lnTo>
                    <a:lnTo>
                      <a:pt x="107" y="79"/>
                    </a:lnTo>
                    <a:close/>
                    <a:moveTo>
                      <a:pt x="379" y="150"/>
                    </a:moveTo>
                    <a:cubicBezTo>
                      <a:pt x="379" y="161"/>
                      <a:pt x="379" y="171"/>
                      <a:pt x="378" y="182"/>
                    </a:cubicBezTo>
                    <a:cubicBezTo>
                      <a:pt x="377" y="193"/>
                      <a:pt x="375" y="204"/>
                      <a:pt x="372" y="214"/>
                    </a:cubicBezTo>
                    <a:cubicBezTo>
                      <a:pt x="369" y="224"/>
                      <a:pt x="365" y="234"/>
                      <a:pt x="360" y="244"/>
                    </a:cubicBezTo>
                    <a:cubicBezTo>
                      <a:pt x="355" y="253"/>
                      <a:pt x="348" y="261"/>
                      <a:pt x="340" y="268"/>
                    </a:cubicBezTo>
                    <a:cubicBezTo>
                      <a:pt x="332" y="275"/>
                      <a:pt x="322" y="281"/>
                      <a:pt x="311" y="285"/>
                    </a:cubicBezTo>
                    <a:cubicBezTo>
                      <a:pt x="299" y="289"/>
                      <a:pt x="286" y="291"/>
                      <a:pt x="270" y="291"/>
                    </a:cubicBezTo>
                    <a:cubicBezTo>
                      <a:pt x="264" y="291"/>
                      <a:pt x="259" y="291"/>
                      <a:pt x="253" y="290"/>
                    </a:cubicBezTo>
                    <a:cubicBezTo>
                      <a:pt x="248" y="289"/>
                      <a:pt x="243" y="288"/>
                      <a:pt x="239" y="287"/>
                    </a:cubicBezTo>
                    <a:cubicBezTo>
                      <a:pt x="234" y="286"/>
                      <a:pt x="230" y="285"/>
                      <a:pt x="227" y="284"/>
                    </a:cubicBezTo>
                    <a:cubicBezTo>
                      <a:pt x="224" y="282"/>
                      <a:pt x="222" y="281"/>
                      <a:pt x="220" y="280"/>
                    </a:cubicBezTo>
                    <a:cubicBezTo>
                      <a:pt x="219" y="278"/>
                      <a:pt x="218" y="276"/>
                      <a:pt x="217" y="274"/>
                    </a:cubicBezTo>
                    <a:cubicBezTo>
                      <a:pt x="216" y="271"/>
                      <a:pt x="216" y="267"/>
                      <a:pt x="216" y="263"/>
                    </a:cubicBezTo>
                    <a:cubicBezTo>
                      <a:pt x="216" y="259"/>
                      <a:pt x="216" y="255"/>
                      <a:pt x="216" y="253"/>
                    </a:cubicBezTo>
                    <a:cubicBezTo>
                      <a:pt x="217" y="250"/>
                      <a:pt x="217" y="248"/>
                      <a:pt x="218" y="247"/>
                    </a:cubicBezTo>
                    <a:cubicBezTo>
                      <a:pt x="218" y="245"/>
                      <a:pt x="219" y="244"/>
                      <a:pt x="220" y="244"/>
                    </a:cubicBezTo>
                    <a:cubicBezTo>
                      <a:pt x="221" y="243"/>
                      <a:pt x="221" y="243"/>
                      <a:pt x="223" y="243"/>
                    </a:cubicBezTo>
                    <a:cubicBezTo>
                      <a:pt x="224" y="243"/>
                      <a:pt x="226" y="244"/>
                      <a:pt x="229" y="244"/>
                    </a:cubicBezTo>
                    <a:cubicBezTo>
                      <a:pt x="232" y="245"/>
                      <a:pt x="235" y="246"/>
                      <a:pt x="240" y="248"/>
                    </a:cubicBezTo>
                    <a:cubicBezTo>
                      <a:pt x="244" y="249"/>
                      <a:pt x="248" y="250"/>
                      <a:pt x="253" y="251"/>
                    </a:cubicBezTo>
                    <a:cubicBezTo>
                      <a:pt x="259" y="252"/>
                      <a:pt x="264" y="252"/>
                      <a:pt x="271" y="252"/>
                    </a:cubicBezTo>
                    <a:cubicBezTo>
                      <a:pt x="281" y="252"/>
                      <a:pt x="291" y="250"/>
                      <a:pt x="298" y="246"/>
                    </a:cubicBezTo>
                    <a:cubicBezTo>
                      <a:pt x="305" y="242"/>
                      <a:pt x="312" y="237"/>
                      <a:pt x="316" y="231"/>
                    </a:cubicBezTo>
                    <a:cubicBezTo>
                      <a:pt x="321" y="224"/>
                      <a:pt x="324" y="216"/>
                      <a:pt x="326" y="208"/>
                    </a:cubicBezTo>
                    <a:cubicBezTo>
                      <a:pt x="329" y="199"/>
                      <a:pt x="330" y="190"/>
                      <a:pt x="330" y="181"/>
                    </a:cubicBezTo>
                    <a:cubicBezTo>
                      <a:pt x="324" y="184"/>
                      <a:pt x="317" y="188"/>
                      <a:pt x="309" y="190"/>
                    </a:cubicBezTo>
                    <a:cubicBezTo>
                      <a:pt x="300" y="193"/>
                      <a:pt x="291" y="194"/>
                      <a:pt x="280" y="194"/>
                    </a:cubicBezTo>
                    <a:cubicBezTo>
                      <a:pt x="267" y="194"/>
                      <a:pt x="255" y="193"/>
                      <a:pt x="246" y="189"/>
                    </a:cubicBezTo>
                    <a:cubicBezTo>
                      <a:pt x="237" y="186"/>
                      <a:pt x="229" y="181"/>
                      <a:pt x="223" y="174"/>
                    </a:cubicBezTo>
                    <a:cubicBezTo>
                      <a:pt x="218" y="168"/>
                      <a:pt x="213" y="160"/>
                      <a:pt x="211" y="150"/>
                    </a:cubicBezTo>
                    <a:cubicBezTo>
                      <a:pt x="208" y="141"/>
                      <a:pt x="207" y="130"/>
                      <a:pt x="207" y="118"/>
                    </a:cubicBezTo>
                    <a:cubicBezTo>
                      <a:pt x="207" y="106"/>
                      <a:pt x="209" y="94"/>
                      <a:pt x="212" y="84"/>
                    </a:cubicBezTo>
                    <a:cubicBezTo>
                      <a:pt x="216" y="73"/>
                      <a:pt x="222" y="64"/>
                      <a:pt x="229" y="57"/>
                    </a:cubicBezTo>
                    <a:cubicBezTo>
                      <a:pt x="236" y="49"/>
                      <a:pt x="245" y="43"/>
                      <a:pt x="256" y="39"/>
                    </a:cubicBezTo>
                    <a:cubicBezTo>
                      <a:pt x="267" y="34"/>
                      <a:pt x="280" y="32"/>
                      <a:pt x="295" y="32"/>
                    </a:cubicBezTo>
                    <a:cubicBezTo>
                      <a:pt x="306" y="32"/>
                      <a:pt x="316" y="34"/>
                      <a:pt x="325" y="36"/>
                    </a:cubicBezTo>
                    <a:cubicBezTo>
                      <a:pt x="334" y="39"/>
                      <a:pt x="341" y="43"/>
                      <a:pt x="347" y="48"/>
                    </a:cubicBezTo>
                    <a:cubicBezTo>
                      <a:pt x="354" y="53"/>
                      <a:pt x="359" y="59"/>
                      <a:pt x="363" y="66"/>
                    </a:cubicBezTo>
                    <a:cubicBezTo>
                      <a:pt x="367" y="73"/>
                      <a:pt x="370" y="81"/>
                      <a:pt x="373" y="90"/>
                    </a:cubicBezTo>
                    <a:cubicBezTo>
                      <a:pt x="375" y="99"/>
                      <a:pt x="377" y="108"/>
                      <a:pt x="378" y="119"/>
                    </a:cubicBezTo>
                    <a:cubicBezTo>
                      <a:pt x="379" y="129"/>
                      <a:pt x="379" y="139"/>
                      <a:pt x="379" y="150"/>
                    </a:cubicBezTo>
                    <a:close/>
                    <a:moveTo>
                      <a:pt x="329" y="143"/>
                    </a:moveTo>
                    <a:cubicBezTo>
                      <a:pt x="329" y="130"/>
                      <a:pt x="328" y="118"/>
                      <a:pt x="327" y="109"/>
                    </a:cubicBezTo>
                    <a:cubicBezTo>
                      <a:pt x="325" y="100"/>
                      <a:pt x="323" y="92"/>
                      <a:pt x="320" y="87"/>
                    </a:cubicBezTo>
                    <a:cubicBezTo>
                      <a:pt x="317" y="81"/>
                      <a:pt x="313" y="77"/>
                      <a:pt x="308" y="75"/>
                    </a:cubicBezTo>
                    <a:cubicBezTo>
                      <a:pt x="303" y="73"/>
                      <a:pt x="298" y="71"/>
                      <a:pt x="292" y="71"/>
                    </a:cubicBezTo>
                    <a:cubicBezTo>
                      <a:pt x="286" y="71"/>
                      <a:pt x="281" y="72"/>
                      <a:pt x="276" y="75"/>
                    </a:cubicBezTo>
                    <a:cubicBezTo>
                      <a:pt x="272" y="77"/>
                      <a:pt x="268" y="80"/>
                      <a:pt x="265" y="84"/>
                    </a:cubicBezTo>
                    <a:cubicBezTo>
                      <a:pt x="262" y="87"/>
                      <a:pt x="260" y="92"/>
                      <a:pt x="259" y="97"/>
                    </a:cubicBezTo>
                    <a:cubicBezTo>
                      <a:pt x="257" y="103"/>
                      <a:pt x="257" y="108"/>
                      <a:pt x="257" y="115"/>
                    </a:cubicBezTo>
                    <a:cubicBezTo>
                      <a:pt x="257" y="121"/>
                      <a:pt x="257" y="127"/>
                      <a:pt x="259" y="133"/>
                    </a:cubicBezTo>
                    <a:cubicBezTo>
                      <a:pt x="260" y="138"/>
                      <a:pt x="262" y="142"/>
                      <a:pt x="264" y="146"/>
                    </a:cubicBezTo>
                    <a:cubicBezTo>
                      <a:pt x="267" y="149"/>
                      <a:pt x="270" y="152"/>
                      <a:pt x="275" y="153"/>
                    </a:cubicBezTo>
                    <a:cubicBezTo>
                      <a:pt x="279" y="155"/>
                      <a:pt x="284" y="156"/>
                      <a:pt x="290" y="156"/>
                    </a:cubicBezTo>
                    <a:cubicBezTo>
                      <a:pt x="298" y="156"/>
                      <a:pt x="305" y="155"/>
                      <a:pt x="311" y="152"/>
                    </a:cubicBezTo>
                    <a:cubicBezTo>
                      <a:pt x="318" y="150"/>
                      <a:pt x="324" y="147"/>
                      <a:pt x="329" y="143"/>
                    </a:cubicBezTo>
                    <a:close/>
                    <a:moveTo>
                      <a:pt x="587" y="215"/>
                    </a:moveTo>
                    <a:cubicBezTo>
                      <a:pt x="587" y="222"/>
                      <a:pt x="586" y="226"/>
                      <a:pt x="585" y="230"/>
                    </a:cubicBezTo>
                    <a:cubicBezTo>
                      <a:pt x="584" y="233"/>
                      <a:pt x="582" y="235"/>
                      <a:pt x="580" y="235"/>
                    </a:cubicBezTo>
                    <a:lnTo>
                      <a:pt x="557" y="235"/>
                    </a:lnTo>
                    <a:lnTo>
                      <a:pt x="557" y="280"/>
                    </a:lnTo>
                    <a:cubicBezTo>
                      <a:pt x="557" y="282"/>
                      <a:pt x="557" y="283"/>
                      <a:pt x="556" y="284"/>
                    </a:cubicBezTo>
                    <a:cubicBezTo>
                      <a:pt x="555" y="285"/>
                      <a:pt x="554" y="285"/>
                      <a:pt x="552" y="286"/>
                    </a:cubicBezTo>
                    <a:cubicBezTo>
                      <a:pt x="550" y="287"/>
                      <a:pt x="548" y="287"/>
                      <a:pt x="545" y="287"/>
                    </a:cubicBezTo>
                    <a:cubicBezTo>
                      <a:pt x="542" y="288"/>
                      <a:pt x="537" y="288"/>
                      <a:pt x="533" y="288"/>
                    </a:cubicBezTo>
                    <a:cubicBezTo>
                      <a:pt x="528" y="288"/>
                      <a:pt x="524" y="288"/>
                      <a:pt x="521" y="287"/>
                    </a:cubicBezTo>
                    <a:cubicBezTo>
                      <a:pt x="518" y="287"/>
                      <a:pt x="515" y="287"/>
                      <a:pt x="513" y="286"/>
                    </a:cubicBezTo>
                    <a:cubicBezTo>
                      <a:pt x="511" y="285"/>
                      <a:pt x="510" y="285"/>
                      <a:pt x="510" y="284"/>
                    </a:cubicBezTo>
                    <a:cubicBezTo>
                      <a:pt x="509" y="283"/>
                      <a:pt x="508" y="282"/>
                      <a:pt x="508" y="280"/>
                    </a:cubicBezTo>
                    <a:lnTo>
                      <a:pt x="508" y="235"/>
                    </a:lnTo>
                    <a:lnTo>
                      <a:pt x="413" y="235"/>
                    </a:lnTo>
                    <a:cubicBezTo>
                      <a:pt x="411" y="235"/>
                      <a:pt x="409" y="235"/>
                      <a:pt x="408" y="234"/>
                    </a:cubicBezTo>
                    <a:cubicBezTo>
                      <a:pt x="407" y="234"/>
                      <a:pt x="405" y="233"/>
                      <a:pt x="404" y="231"/>
                    </a:cubicBezTo>
                    <a:cubicBezTo>
                      <a:pt x="403" y="230"/>
                      <a:pt x="403" y="227"/>
                      <a:pt x="402" y="224"/>
                    </a:cubicBezTo>
                    <a:cubicBezTo>
                      <a:pt x="402" y="221"/>
                      <a:pt x="402" y="217"/>
                      <a:pt x="402" y="212"/>
                    </a:cubicBezTo>
                    <a:cubicBezTo>
                      <a:pt x="402" y="208"/>
                      <a:pt x="402" y="205"/>
                      <a:pt x="402" y="202"/>
                    </a:cubicBezTo>
                    <a:cubicBezTo>
                      <a:pt x="402" y="199"/>
                      <a:pt x="402" y="196"/>
                      <a:pt x="403" y="193"/>
                    </a:cubicBezTo>
                    <a:cubicBezTo>
                      <a:pt x="403" y="191"/>
                      <a:pt x="404" y="189"/>
                      <a:pt x="405" y="186"/>
                    </a:cubicBezTo>
                    <a:cubicBezTo>
                      <a:pt x="406" y="184"/>
                      <a:pt x="407" y="182"/>
                      <a:pt x="408" y="179"/>
                    </a:cubicBezTo>
                    <a:lnTo>
                      <a:pt x="486" y="42"/>
                    </a:lnTo>
                    <a:cubicBezTo>
                      <a:pt x="486" y="41"/>
                      <a:pt x="487" y="40"/>
                      <a:pt x="489" y="39"/>
                    </a:cubicBezTo>
                    <a:cubicBezTo>
                      <a:pt x="490" y="39"/>
                      <a:pt x="493" y="38"/>
                      <a:pt x="495" y="37"/>
                    </a:cubicBezTo>
                    <a:cubicBezTo>
                      <a:pt x="498" y="37"/>
                      <a:pt x="502" y="36"/>
                      <a:pt x="506" y="36"/>
                    </a:cubicBezTo>
                    <a:cubicBezTo>
                      <a:pt x="510" y="36"/>
                      <a:pt x="515" y="36"/>
                      <a:pt x="521" y="36"/>
                    </a:cubicBezTo>
                    <a:cubicBezTo>
                      <a:pt x="528" y="36"/>
                      <a:pt x="534" y="36"/>
                      <a:pt x="538" y="36"/>
                    </a:cubicBezTo>
                    <a:cubicBezTo>
                      <a:pt x="543" y="36"/>
                      <a:pt x="547" y="37"/>
                      <a:pt x="549" y="38"/>
                    </a:cubicBezTo>
                    <a:cubicBezTo>
                      <a:pt x="552" y="38"/>
                      <a:pt x="554" y="39"/>
                      <a:pt x="555" y="40"/>
                    </a:cubicBezTo>
                    <a:cubicBezTo>
                      <a:pt x="557" y="41"/>
                      <a:pt x="557" y="43"/>
                      <a:pt x="557" y="44"/>
                    </a:cubicBezTo>
                    <a:lnTo>
                      <a:pt x="557" y="194"/>
                    </a:lnTo>
                    <a:lnTo>
                      <a:pt x="580" y="194"/>
                    </a:lnTo>
                    <a:cubicBezTo>
                      <a:pt x="582" y="194"/>
                      <a:pt x="583" y="196"/>
                      <a:pt x="585" y="199"/>
                    </a:cubicBezTo>
                    <a:cubicBezTo>
                      <a:pt x="586" y="202"/>
                      <a:pt x="587" y="208"/>
                      <a:pt x="587" y="215"/>
                    </a:cubicBezTo>
                    <a:close/>
                    <a:moveTo>
                      <a:pt x="508" y="79"/>
                    </a:moveTo>
                    <a:lnTo>
                      <a:pt x="508" y="79"/>
                    </a:lnTo>
                    <a:lnTo>
                      <a:pt x="442" y="194"/>
                    </a:lnTo>
                    <a:lnTo>
                      <a:pt x="508" y="194"/>
                    </a:lnTo>
                    <a:lnTo>
                      <a:pt x="508" y="79"/>
                    </a:lnTo>
                    <a:close/>
                    <a:moveTo>
                      <a:pt x="644" y="337"/>
                    </a:moveTo>
                    <a:cubicBezTo>
                      <a:pt x="643" y="339"/>
                      <a:pt x="642" y="340"/>
                      <a:pt x="641" y="341"/>
                    </a:cubicBezTo>
                    <a:cubicBezTo>
                      <a:pt x="640" y="342"/>
                      <a:pt x="639" y="343"/>
                      <a:pt x="637" y="343"/>
                    </a:cubicBezTo>
                    <a:cubicBezTo>
                      <a:pt x="635" y="344"/>
                      <a:pt x="633" y="345"/>
                      <a:pt x="630" y="345"/>
                    </a:cubicBezTo>
                    <a:cubicBezTo>
                      <a:pt x="627" y="345"/>
                      <a:pt x="624" y="345"/>
                      <a:pt x="620" y="345"/>
                    </a:cubicBezTo>
                    <a:cubicBezTo>
                      <a:pt x="614" y="345"/>
                      <a:pt x="610" y="345"/>
                      <a:pt x="607" y="345"/>
                    </a:cubicBezTo>
                    <a:cubicBezTo>
                      <a:pt x="603" y="344"/>
                      <a:pt x="601" y="343"/>
                      <a:pt x="599" y="342"/>
                    </a:cubicBezTo>
                    <a:cubicBezTo>
                      <a:pt x="597" y="341"/>
                      <a:pt x="596" y="340"/>
                      <a:pt x="596" y="338"/>
                    </a:cubicBezTo>
                    <a:cubicBezTo>
                      <a:pt x="596" y="337"/>
                      <a:pt x="596" y="335"/>
                      <a:pt x="597" y="333"/>
                    </a:cubicBezTo>
                    <a:lnTo>
                      <a:pt x="712" y="8"/>
                    </a:lnTo>
                    <a:cubicBezTo>
                      <a:pt x="713" y="7"/>
                      <a:pt x="714" y="5"/>
                      <a:pt x="715" y="4"/>
                    </a:cubicBezTo>
                    <a:cubicBezTo>
                      <a:pt x="716" y="3"/>
                      <a:pt x="717" y="2"/>
                      <a:pt x="719" y="1"/>
                    </a:cubicBezTo>
                    <a:cubicBezTo>
                      <a:pt x="721" y="1"/>
                      <a:pt x="723" y="0"/>
                      <a:pt x="726" y="0"/>
                    </a:cubicBezTo>
                    <a:cubicBezTo>
                      <a:pt x="729" y="0"/>
                      <a:pt x="732" y="0"/>
                      <a:pt x="736" y="0"/>
                    </a:cubicBezTo>
                    <a:cubicBezTo>
                      <a:pt x="742" y="0"/>
                      <a:pt x="746" y="0"/>
                      <a:pt x="749" y="0"/>
                    </a:cubicBezTo>
                    <a:cubicBezTo>
                      <a:pt x="753" y="1"/>
                      <a:pt x="755" y="2"/>
                      <a:pt x="757" y="3"/>
                    </a:cubicBezTo>
                    <a:cubicBezTo>
                      <a:pt x="759" y="4"/>
                      <a:pt x="760" y="5"/>
                      <a:pt x="760" y="7"/>
                    </a:cubicBezTo>
                    <a:cubicBezTo>
                      <a:pt x="760" y="8"/>
                      <a:pt x="760" y="10"/>
                      <a:pt x="759" y="12"/>
                    </a:cubicBezTo>
                    <a:lnTo>
                      <a:pt x="644" y="337"/>
                    </a:lnTo>
                    <a:close/>
                    <a:moveTo>
                      <a:pt x="950" y="266"/>
                    </a:moveTo>
                    <a:cubicBezTo>
                      <a:pt x="950" y="270"/>
                      <a:pt x="950" y="273"/>
                      <a:pt x="949" y="276"/>
                    </a:cubicBezTo>
                    <a:cubicBezTo>
                      <a:pt x="949" y="278"/>
                      <a:pt x="949" y="280"/>
                      <a:pt x="948" y="282"/>
                    </a:cubicBezTo>
                    <a:cubicBezTo>
                      <a:pt x="947" y="284"/>
                      <a:pt x="947" y="285"/>
                      <a:pt x="945" y="286"/>
                    </a:cubicBezTo>
                    <a:cubicBezTo>
                      <a:pt x="945" y="286"/>
                      <a:pt x="943" y="287"/>
                      <a:pt x="942" y="287"/>
                    </a:cubicBezTo>
                    <a:lnTo>
                      <a:pt x="798" y="287"/>
                    </a:lnTo>
                    <a:cubicBezTo>
                      <a:pt x="795" y="287"/>
                      <a:pt x="793" y="287"/>
                      <a:pt x="791" y="286"/>
                    </a:cubicBezTo>
                    <a:cubicBezTo>
                      <a:pt x="789" y="285"/>
                      <a:pt x="787" y="285"/>
                      <a:pt x="786" y="283"/>
                    </a:cubicBezTo>
                    <a:cubicBezTo>
                      <a:pt x="785" y="282"/>
                      <a:pt x="784" y="279"/>
                      <a:pt x="783" y="277"/>
                    </a:cubicBezTo>
                    <a:cubicBezTo>
                      <a:pt x="783" y="274"/>
                      <a:pt x="782" y="270"/>
                      <a:pt x="782" y="266"/>
                    </a:cubicBezTo>
                    <a:cubicBezTo>
                      <a:pt x="782" y="261"/>
                      <a:pt x="782" y="258"/>
                      <a:pt x="783" y="255"/>
                    </a:cubicBezTo>
                    <a:cubicBezTo>
                      <a:pt x="783" y="252"/>
                      <a:pt x="784" y="249"/>
                      <a:pt x="785" y="247"/>
                    </a:cubicBezTo>
                    <a:cubicBezTo>
                      <a:pt x="786" y="244"/>
                      <a:pt x="787" y="242"/>
                      <a:pt x="789" y="240"/>
                    </a:cubicBezTo>
                    <a:cubicBezTo>
                      <a:pt x="790" y="237"/>
                      <a:pt x="793" y="235"/>
                      <a:pt x="795" y="232"/>
                    </a:cubicBezTo>
                    <a:lnTo>
                      <a:pt x="838" y="186"/>
                    </a:lnTo>
                    <a:cubicBezTo>
                      <a:pt x="847" y="177"/>
                      <a:pt x="854" y="169"/>
                      <a:pt x="859" y="161"/>
                    </a:cubicBezTo>
                    <a:cubicBezTo>
                      <a:pt x="865" y="154"/>
                      <a:pt x="869" y="147"/>
                      <a:pt x="872" y="141"/>
                    </a:cubicBezTo>
                    <a:cubicBezTo>
                      <a:pt x="875" y="135"/>
                      <a:pt x="877" y="129"/>
                      <a:pt x="878" y="124"/>
                    </a:cubicBezTo>
                    <a:cubicBezTo>
                      <a:pt x="879" y="119"/>
                      <a:pt x="879" y="114"/>
                      <a:pt x="879" y="109"/>
                    </a:cubicBezTo>
                    <a:cubicBezTo>
                      <a:pt x="879" y="105"/>
                      <a:pt x="879" y="101"/>
                      <a:pt x="877" y="97"/>
                    </a:cubicBezTo>
                    <a:cubicBezTo>
                      <a:pt x="876" y="93"/>
                      <a:pt x="874" y="90"/>
                      <a:pt x="871" y="87"/>
                    </a:cubicBezTo>
                    <a:cubicBezTo>
                      <a:pt x="869" y="84"/>
                      <a:pt x="865" y="82"/>
                      <a:pt x="861" y="81"/>
                    </a:cubicBezTo>
                    <a:cubicBezTo>
                      <a:pt x="857" y="79"/>
                      <a:pt x="853" y="78"/>
                      <a:pt x="847" y="78"/>
                    </a:cubicBezTo>
                    <a:cubicBezTo>
                      <a:pt x="840" y="78"/>
                      <a:pt x="833" y="79"/>
                      <a:pt x="827" y="81"/>
                    </a:cubicBezTo>
                    <a:cubicBezTo>
                      <a:pt x="821" y="83"/>
                      <a:pt x="816" y="85"/>
                      <a:pt x="812" y="87"/>
                    </a:cubicBezTo>
                    <a:cubicBezTo>
                      <a:pt x="807" y="90"/>
                      <a:pt x="804" y="92"/>
                      <a:pt x="801" y="94"/>
                    </a:cubicBezTo>
                    <a:cubicBezTo>
                      <a:pt x="798" y="96"/>
                      <a:pt x="795" y="97"/>
                      <a:pt x="794" y="97"/>
                    </a:cubicBezTo>
                    <a:cubicBezTo>
                      <a:pt x="792" y="97"/>
                      <a:pt x="791" y="97"/>
                      <a:pt x="791" y="96"/>
                    </a:cubicBezTo>
                    <a:cubicBezTo>
                      <a:pt x="790" y="95"/>
                      <a:pt x="789" y="94"/>
                      <a:pt x="789" y="92"/>
                    </a:cubicBezTo>
                    <a:cubicBezTo>
                      <a:pt x="788" y="90"/>
                      <a:pt x="788" y="88"/>
                      <a:pt x="787" y="85"/>
                    </a:cubicBezTo>
                    <a:cubicBezTo>
                      <a:pt x="787" y="82"/>
                      <a:pt x="787" y="78"/>
                      <a:pt x="787" y="74"/>
                    </a:cubicBezTo>
                    <a:cubicBezTo>
                      <a:pt x="787" y="71"/>
                      <a:pt x="787" y="68"/>
                      <a:pt x="787" y="66"/>
                    </a:cubicBezTo>
                    <a:cubicBezTo>
                      <a:pt x="787" y="64"/>
                      <a:pt x="788" y="63"/>
                      <a:pt x="788" y="61"/>
                    </a:cubicBezTo>
                    <a:cubicBezTo>
                      <a:pt x="788" y="60"/>
                      <a:pt x="789" y="58"/>
                      <a:pt x="790" y="57"/>
                    </a:cubicBezTo>
                    <a:cubicBezTo>
                      <a:pt x="790" y="56"/>
                      <a:pt x="791" y="55"/>
                      <a:pt x="793" y="53"/>
                    </a:cubicBezTo>
                    <a:cubicBezTo>
                      <a:pt x="795" y="52"/>
                      <a:pt x="798" y="50"/>
                      <a:pt x="802" y="47"/>
                    </a:cubicBezTo>
                    <a:cubicBezTo>
                      <a:pt x="806" y="45"/>
                      <a:pt x="811" y="43"/>
                      <a:pt x="818" y="40"/>
                    </a:cubicBezTo>
                    <a:cubicBezTo>
                      <a:pt x="824" y="38"/>
                      <a:pt x="831" y="36"/>
                      <a:pt x="839" y="35"/>
                    </a:cubicBezTo>
                    <a:cubicBezTo>
                      <a:pt x="846" y="33"/>
                      <a:pt x="854" y="32"/>
                      <a:pt x="862" y="32"/>
                    </a:cubicBezTo>
                    <a:cubicBezTo>
                      <a:pt x="875" y="32"/>
                      <a:pt x="887" y="34"/>
                      <a:pt x="897" y="37"/>
                    </a:cubicBezTo>
                    <a:cubicBezTo>
                      <a:pt x="906" y="41"/>
                      <a:pt x="914" y="45"/>
                      <a:pt x="921" y="51"/>
                    </a:cubicBezTo>
                    <a:cubicBezTo>
                      <a:pt x="927" y="57"/>
                      <a:pt x="932" y="64"/>
                      <a:pt x="935" y="72"/>
                    </a:cubicBezTo>
                    <a:cubicBezTo>
                      <a:pt x="938" y="80"/>
                      <a:pt x="940" y="89"/>
                      <a:pt x="940" y="98"/>
                    </a:cubicBezTo>
                    <a:cubicBezTo>
                      <a:pt x="940" y="106"/>
                      <a:pt x="939" y="114"/>
                      <a:pt x="938" y="122"/>
                    </a:cubicBezTo>
                    <a:cubicBezTo>
                      <a:pt x="936" y="130"/>
                      <a:pt x="933" y="138"/>
                      <a:pt x="928" y="147"/>
                    </a:cubicBezTo>
                    <a:cubicBezTo>
                      <a:pt x="923" y="156"/>
                      <a:pt x="916" y="166"/>
                      <a:pt x="907" y="177"/>
                    </a:cubicBezTo>
                    <a:cubicBezTo>
                      <a:pt x="898" y="188"/>
                      <a:pt x="887" y="201"/>
                      <a:pt x="872" y="216"/>
                    </a:cubicBezTo>
                    <a:lnTo>
                      <a:pt x="843" y="246"/>
                    </a:lnTo>
                    <a:lnTo>
                      <a:pt x="941" y="246"/>
                    </a:lnTo>
                    <a:cubicBezTo>
                      <a:pt x="943" y="246"/>
                      <a:pt x="944" y="246"/>
                      <a:pt x="945" y="247"/>
                    </a:cubicBezTo>
                    <a:cubicBezTo>
                      <a:pt x="946" y="248"/>
                      <a:pt x="947" y="249"/>
                      <a:pt x="948" y="250"/>
                    </a:cubicBezTo>
                    <a:cubicBezTo>
                      <a:pt x="948" y="252"/>
                      <a:pt x="949" y="254"/>
                      <a:pt x="949" y="257"/>
                    </a:cubicBezTo>
                    <a:cubicBezTo>
                      <a:pt x="950" y="259"/>
                      <a:pt x="950" y="263"/>
                      <a:pt x="950" y="266"/>
                    </a:cubicBezTo>
                    <a:close/>
                    <a:moveTo>
                      <a:pt x="1149" y="214"/>
                    </a:moveTo>
                    <a:cubicBezTo>
                      <a:pt x="1149" y="226"/>
                      <a:pt x="1147" y="237"/>
                      <a:pt x="1142" y="247"/>
                    </a:cubicBezTo>
                    <a:cubicBezTo>
                      <a:pt x="1137" y="256"/>
                      <a:pt x="1131" y="265"/>
                      <a:pt x="1122" y="271"/>
                    </a:cubicBezTo>
                    <a:cubicBezTo>
                      <a:pt x="1114" y="278"/>
                      <a:pt x="1104" y="283"/>
                      <a:pt x="1092" y="286"/>
                    </a:cubicBezTo>
                    <a:cubicBezTo>
                      <a:pt x="1080" y="290"/>
                      <a:pt x="1067" y="291"/>
                      <a:pt x="1053" y="291"/>
                    </a:cubicBezTo>
                    <a:cubicBezTo>
                      <a:pt x="1044" y="291"/>
                      <a:pt x="1036" y="291"/>
                      <a:pt x="1029" y="289"/>
                    </a:cubicBezTo>
                    <a:cubicBezTo>
                      <a:pt x="1022" y="288"/>
                      <a:pt x="1015" y="287"/>
                      <a:pt x="1009" y="285"/>
                    </a:cubicBezTo>
                    <a:cubicBezTo>
                      <a:pt x="1003" y="283"/>
                      <a:pt x="999" y="281"/>
                      <a:pt x="995" y="279"/>
                    </a:cubicBezTo>
                    <a:cubicBezTo>
                      <a:pt x="991" y="277"/>
                      <a:pt x="989" y="276"/>
                      <a:pt x="988" y="275"/>
                    </a:cubicBezTo>
                    <a:cubicBezTo>
                      <a:pt x="986" y="274"/>
                      <a:pt x="986" y="273"/>
                      <a:pt x="985" y="271"/>
                    </a:cubicBezTo>
                    <a:cubicBezTo>
                      <a:pt x="984" y="270"/>
                      <a:pt x="984" y="269"/>
                      <a:pt x="983" y="267"/>
                    </a:cubicBezTo>
                    <a:cubicBezTo>
                      <a:pt x="983" y="265"/>
                      <a:pt x="983" y="263"/>
                      <a:pt x="982" y="260"/>
                    </a:cubicBezTo>
                    <a:cubicBezTo>
                      <a:pt x="982" y="258"/>
                      <a:pt x="982" y="254"/>
                      <a:pt x="982" y="251"/>
                    </a:cubicBezTo>
                    <a:cubicBezTo>
                      <a:pt x="982" y="244"/>
                      <a:pt x="983" y="240"/>
                      <a:pt x="984" y="238"/>
                    </a:cubicBezTo>
                    <a:cubicBezTo>
                      <a:pt x="985" y="235"/>
                      <a:pt x="986" y="234"/>
                      <a:pt x="988" y="234"/>
                    </a:cubicBezTo>
                    <a:cubicBezTo>
                      <a:pt x="990" y="234"/>
                      <a:pt x="992" y="235"/>
                      <a:pt x="995" y="237"/>
                    </a:cubicBezTo>
                    <a:cubicBezTo>
                      <a:pt x="998" y="239"/>
                      <a:pt x="1002" y="240"/>
                      <a:pt x="1007" y="243"/>
                    </a:cubicBezTo>
                    <a:cubicBezTo>
                      <a:pt x="1012" y="244"/>
                      <a:pt x="1018" y="246"/>
                      <a:pt x="1024" y="248"/>
                    </a:cubicBezTo>
                    <a:cubicBezTo>
                      <a:pt x="1031" y="250"/>
                      <a:pt x="1038" y="251"/>
                      <a:pt x="1047" y="251"/>
                    </a:cubicBezTo>
                    <a:cubicBezTo>
                      <a:pt x="1054" y="251"/>
                      <a:pt x="1060" y="250"/>
                      <a:pt x="1066" y="248"/>
                    </a:cubicBezTo>
                    <a:cubicBezTo>
                      <a:pt x="1071" y="247"/>
                      <a:pt x="1076" y="244"/>
                      <a:pt x="1079" y="241"/>
                    </a:cubicBezTo>
                    <a:cubicBezTo>
                      <a:pt x="1083" y="238"/>
                      <a:pt x="1086" y="234"/>
                      <a:pt x="1088" y="230"/>
                    </a:cubicBezTo>
                    <a:cubicBezTo>
                      <a:pt x="1090" y="226"/>
                      <a:pt x="1091" y="221"/>
                      <a:pt x="1091" y="216"/>
                    </a:cubicBezTo>
                    <a:cubicBezTo>
                      <a:pt x="1091" y="210"/>
                      <a:pt x="1089" y="205"/>
                      <a:pt x="1087" y="200"/>
                    </a:cubicBezTo>
                    <a:cubicBezTo>
                      <a:pt x="1085" y="195"/>
                      <a:pt x="1082" y="191"/>
                      <a:pt x="1077" y="188"/>
                    </a:cubicBezTo>
                    <a:cubicBezTo>
                      <a:pt x="1073" y="185"/>
                      <a:pt x="1067" y="182"/>
                      <a:pt x="1060" y="181"/>
                    </a:cubicBezTo>
                    <a:cubicBezTo>
                      <a:pt x="1054" y="179"/>
                      <a:pt x="1046" y="178"/>
                      <a:pt x="1037" y="178"/>
                    </a:cubicBezTo>
                    <a:lnTo>
                      <a:pt x="1015" y="178"/>
                    </a:lnTo>
                    <a:cubicBezTo>
                      <a:pt x="1013" y="178"/>
                      <a:pt x="1012" y="178"/>
                      <a:pt x="1011" y="177"/>
                    </a:cubicBezTo>
                    <a:cubicBezTo>
                      <a:pt x="1009" y="177"/>
                      <a:pt x="1008" y="176"/>
                      <a:pt x="1008" y="174"/>
                    </a:cubicBezTo>
                    <a:cubicBezTo>
                      <a:pt x="1007" y="173"/>
                      <a:pt x="1006" y="171"/>
                      <a:pt x="1006" y="169"/>
                    </a:cubicBezTo>
                    <a:cubicBezTo>
                      <a:pt x="1006" y="166"/>
                      <a:pt x="1006" y="163"/>
                      <a:pt x="1006" y="159"/>
                    </a:cubicBezTo>
                    <a:cubicBezTo>
                      <a:pt x="1006" y="155"/>
                      <a:pt x="1006" y="152"/>
                      <a:pt x="1006" y="149"/>
                    </a:cubicBezTo>
                    <a:cubicBezTo>
                      <a:pt x="1006" y="147"/>
                      <a:pt x="1007" y="145"/>
                      <a:pt x="1008" y="144"/>
                    </a:cubicBezTo>
                    <a:cubicBezTo>
                      <a:pt x="1008" y="143"/>
                      <a:pt x="1009" y="142"/>
                      <a:pt x="1010" y="141"/>
                    </a:cubicBezTo>
                    <a:cubicBezTo>
                      <a:pt x="1011" y="141"/>
                      <a:pt x="1013" y="141"/>
                      <a:pt x="1014" y="141"/>
                    </a:cubicBezTo>
                    <a:lnTo>
                      <a:pt x="1036" y="141"/>
                    </a:lnTo>
                    <a:cubicBezTo>
                      <a:pt x="1044" y="141"/>
                      <a:pt x="1050" y="140"/>
                      <a:pt x="1056" y="138"/>
                    </a:cubicBezTo>
                    <a:cubicBezTo>
                      <a:pt x="1062" y="136"/>
                      <a:pt x="1067" y="134"/>
                      <a:pt x="1071" y="131"/>
                    </a:cubicBezTo>
                    <a:cubicBezTo>
                      <a:pt x="1075" y="127"/>
                      <a:pt x="1078" y="123"/>
                      <a:pt x="1080" y="119"/>
                    </a:cubicBezTo>
                    <a:cubicBezTo>
                      <a:pt x="1082" y="114"/>
                      <a:pt x="1083" y="109"/>
                      <a:pt x="1083" y="104"/>
                    </a:cubicBezTo>
                    <a:cubicBezTo>
                      <a:pt x="1083" y="99"/>
                      <a:pt x="1082" y="95"/>
                      <a:pt x="1081" y="92"/>
                    </a:cubicBezTo>
                    <a:cubicBezTo>
                      <a:pt x="1079" y="88"/>
                      <a:pt x="1077" y="84"/>
                      <a:pt x="1074" y="82"/>
                    </a:cubicBezTo>
                    <a:cubicBezTo>
                      <a:pt x="1072" y="79"/>
                      <a:pt x="1068" y="77"/>
                      <a:pt x="1064" y="75"/>
                    </a:cubicBezTo>
                    <a:cubicBezTo>
                      <a:pt x="1059" y="74"/>
                      <a:pt x="1054" y="73"/>
                      <a:pt x="1048" y="73"/>
                    </a:cubicBezTo>
                    <a:cubicBezTo>
                      <a:pt x="1041" y="73"/>
                      <a:pt x="1035" y="74"/>
                      <a:pt x="1029" y="76"/>
                    </a:cubicBezTo>
                    <a:cubicBezTo>
                      <a:pt x="1023" y="78"/>
                      <a:pt x="1018" y="80"/>
                      <a:pt x="1013" y="82"/>
                    </a:cubicBezTo>
                    <a:cubicBezTo>
                      <a:pt x="1009" y="85"/>
                      <a:pt x="1005" y="87"/>
                      <a:pt x="1001" y="89"/>
                    </a:cubicBezTo>
                    <a:cubicBezTo>
                      <a:pt x="998" y="91"/>
                      <a:pt x="996" y="92"/>
                      <a:pt x="994" y="92"/>
                    </a:cubicBezTo>
                    <a:cubicBezTo>
                      <a:pt x="993" y="92"/>
                      <a:pt x="992" y="92"/>
                      <a:pt x="991" y="91"/>
                    </a:cubicBezTo>
                    <a:cubicBezTo>
                      <a:pt x="991" y="91"/>
                      <a:pt x="990" y="90"/>
                      <a:pt x="989" y="89"/>
                    </a:cubicBezTo>
                    <a:cubicBezTo>
                      <a:pt x="989" y="87"/>
                      <a:pt x="988" y="86"/>
                      <a:pt x="988" y="83"/>
                    </a:cubicBezTo>
                    <a:cubicBezTo>
                      <a:pt x="988" y="81"/>
                      <a:pt x="988" y="78"/>
                      <a:pt x="988" y="74"/>
                    </a:cubicBezTo>
                    <a:cubicBezTo>
                      <a:pt x="988" y="70"/>
                      <a:pt x="988" y="68"/>
                      <a:pt x="988" y="66"/>
                    </a:cubicBezTo>
                    <a:cubicBezTo>
                      <a:pt x="988" y="64"/>
                      <a:pt x="988" y="62"/>
                      <a:pt x="989" y="60"/>
                    </a:cubicBezTo>
                    <a:cubicBezTo>
                      <a:pt x="989" y="59"/>
                      <a:pt x="990" y="58"/>
                      <a:pt x="990" y="57"/>
                    </a:cubicBezTo>
                    <a:cubicBezTo>
                      <a:pt x="991" y="56"/>
                      <a:pt x="992" y="55"/>
                      <a:pt x="993" y="53"/>
                    </a:cubicBezTo>
                    <a:cubicBezTo>
                      <a:pt x="994" y="52"/>
                      <a:pt x="997" y="50"/>
                      <a:pt x="1001" y="48"/>
                    </a:cubicBezTo>
                    <a:cubicBezTo>
                      <a:pt x="1005" y="45"/>
                      <a:pt x="1010" y="43"/>
                      <a:pt x="1016" y="41"/>
                    </a:cubicBezTo>
                    <a:cubicBezTo>
                      <a:pt x="1022" y="38"/>
                      <a:pt x="1029" y="36"/>
                      <a:pt x="1037" y="35"/>
                    </a:cubicBezTo>
                    <a:cubicBezTo>
                      <a:pt x="1045" y="33"/>
                      <a:pt x="1054" y="32"/>
                      <a:pt x="1063" y="32"/>
                    </a:cubicBezTo>
                    <a:cubicBezTo>
                      <a:pt x="1075" y="32"/>
                      <a:pt x="1086" y="34"/>
                      <a:pt x="1095" y="37"/>
                    </a:cubicBezTo>
                    <a:cubicBezTo>
                      <a:pt x="1104" y="39"/>
                      <a:pt x="1112" y="44"/>
                      <a:pt x="1119" y="49"/>
                    </a:cubicBezTo>
                    <a:cubicBezTo>
                      <a:pt x="1125" y="54"/>
                      <a:pt x="1130" y="61"/>
                      <a:pt x="1133" y="69"/>
                    </a:cubicBezTo>
                    <a:cubicBezTo>
                      <a:pt x="1136" y="76"/>
                      <a:pt x="1138" y="85"/>
                      <a:pt x="1138" y="95"/>
                    </a:cubicBezTo>
                    <a:cubicBezTo>
                      <a:pt x="1138" y="103"/>
                      <a:pt x="1137" y="110"/>
                      <a:pt x="1135" y="116"/>
                    </a:cubicBezTo>
                    <a:cubicBezTo>
                      <a:pt x="1133" y="123"/>
                      <a:pt x="1130" y="129"/>
                      <a:pt x="1127" y="134"/>
                    </a:cubicBezTo>
                    <a:cubicBezTo>
                      <a:pt x="1123" y="139"/>
                      <a:pt x="1118" y="143"/>
                      <a:pt x="1113" y="147"/>
                    </a:cubicBezTo>
                    <a:cubicBezTo>
                      <a:pt x="1107" y="151"/>
                      <a:pt x="1100" y="153"/>
                      <a:pt x="1093" y="155"/>
                    </a:cubicBezTo>
                    <a:lnTo>
                      <a:pt x="1093" y="156"/>
                    </a:lnTo>
                    <a:cubicBezTo>
                      <a:pt x="1102" y="157"/>
                      <a:pt x="1110" y="159"/>
                      <a:pt x="1117" y="162"/>
                    </a:cubicBezTo>
                    <a:cubicBezTo>
                      <a:pt x="1124" y="166"/>
                      <a:pt x="1130" y="170"/>
                      <a:pt x="1134" y="175"/>
                    </a:cubicBezTo>
                    <a:cubicBezTo>
                      <a:pt x="1139" y="180"/>
                      <a:pt x="1143" y="186"/>
                      <a:pt x="1146" y="193"/>
                    </a:cubicBezTo>
                    <a:cubicBezTo>
                      <a:pt x="1148" y="199"/>
                      <a:pt x="1149" y="206"/>
                      <a:pt x="1149" y="214"/>
                    </a:cubicBezTo>
                    <a:close/>
                  </a:path>
                </a:pathLst>
              </a:custGeom>
              <a:solidFill>
                <a:srgbClr val="4C4C4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5" name="Freeform 1217"/>
              <p:cNvSpPr>
                <a:spLocks noEditPoints="1"/>
              </p:cNvSpPr>
              <p:nvPr/>
            </p:nvSpPr>
            <p:spPr bwMode="auto">
              <a:xfrm>
                <a:off x="1649" y="2602"/>
                <a:ext cx="704" cy="74"/>
              </a:xfrm>
              <a:custGeom>
                <a:avLst/>
                <a:gdLst/>
                <a:ahLst/>
                <a:cxnLst>
                  <a:cxn ang="0">
                    <a:pos x="320" y="321"/>
                  </a:cxn>
                  <a:cxn ang="0">
                    <a:pos x="210" y="322"/>
                  </a:cxn>
                  <a:cxn ang="0">
                    <a:pos x="63" y="52"/>
                  </a:cxn>
                  <a:cxn ang="0">
                    <a:pos x="16" y="324"/>
                  </a:cxn>
                  <a:cxn ang="0">
                    <a:pos x="68" y="1"/>
                  </a:cxn>
                  <a:cxn ang="0">
                    <a:pos x="261" y="39"/>
                  </a:cxn>
                  <a:cxn ang="0">
                    <a:pos x="369" y="8"/>
                  </a:cxn>
                  <a:cxn ang="0">
                    <a:pos x="700" y="324"/>
                  </a:cxn>
                  <a:cxn ang="0">
                    <a:pos x="501" y="249"/>
                  </a:cxn>
                  <a:cxn ang="0">
                    <a:pos x="418" y="320"/>
                  </a:cxn>
                  <a:cxn ang="0">
                    <a:pos x="562" y="0"/>
                  </a:cxn>
                  <a:cxn ang="0">
                    <a:pos x="560" y="63"/>
                  </a:cxn>
                  <a:cxn ang="0">
                    <a:pos x="927" y="53"/>
                  </a:cxn>
                  <a:cxn ang="0">
                    <a:pos x="809" y="324"/>
                  </a:cxn>
                  <a:cxn ang="0">
                    <a:pos x="692" y="53"/>
                  </a:cxn>
                  <a:cxn ang="0">
                    <a:pos x="696" y="1"/>
                  </a:cxn>
                  <a:cxn ang="0">
                    <a:pos x="1160" y="309"/>
                  </a:cxn>
                  <a:cxn ang="0">
                    <a:pos x="970" y="22"/>
                  </a:cxn>
                  <a:cxn ang="0">
                    <a:pos x="1160" y="27"/>
                  </a:cxn>
                  <a:cxn ang="0">
                    <a:pos x="1133" y="131"/>
                  </a:cxn>
                  <a:cxn ang="0">
                    <a:pos x="1137" y="180"/>
                  </a:cxn>
                  <a:cxn ang="0">
                    <a:pos x="1160" y="285"/>
                  </a:cxn>
                  <a:cxn ang="0">
                    <a:pos x="1547" y="324"/>
                  </a:cxn>
                  <a:cxn ang="0">
                    <a:pos x="1435" y="319"/>
                  </a:cxn>
                  <a:cxn ang="0">
                    <a:pos x="1371" y="314"/>
                  </a:cxn>
                  <a:cxn ang="0">
                    <a:pos x="1249" y="324"/>
                  </a:cxn>
                  <a:cxn ang="0">
                    <a:pos x="1243" y="1"/>
                  </a:cxn>
                  <a:cxn ang="0">
                    <a:pos x="1407" y="230"/>
                  </a:cxn>
                  <a:cxn ang="0">
                    <a:pos x="1579" y="3"/>
                  </a:cxn>
                  <a:cxn ang="0">
                    <a:pos x="1928" y="320"/>
                  </a:cxn>
                  <a:cxn ang="0">
                    <a:pos x="1840" y="249"/>
                  </a:cxn>
                  <a:cxn ang="0">
                    <a:pos x="1645" y="324"/>
                  </a:cxn>
                  <a:cxn ang="0">
                    <a:pos x="1760" y="0"/>
                  </a:cxn>
                  <a:cxn ang="0">
                    <a:pos x="1779" y="63"/>
                  </a:cxn>
                  <a:cxn ang="0">
                    <a:pos x="2148" y="49"/>
                  </a:cxn>
                  <a:cxn ang="0">
                    <a:pos x="2044" y="324"/>
                  </a:cxn>
                  <a:cxn ang="0">
                    <a:pos x="1915" y="55"/>
                  </a:cxn>
                  <a:cxn ang="0">
                    <a:pos x="1910" y="3"/>
                  </a:cxn>
                  <a:cxn ang="0">
                    <a:pos x="2451" y="314"/>
                  </a:cxn>
                  <a:cxn ang="0">
                    <a:pos x="2387" y="319"/>
                  </a:cxn>
                  <a:cxn ang="0">
                    <a:pos x="2375" y="127"/>
                  </a:cxn>
                  <a:cxn ang="0">
                    <a:pos x="2220" y="324"/>
                  </a:cxn>
                  <a:cxn ang="0">
                    <a:pos x="2196" y="2"/>
                  </a:cxn>
                  <a:cxn ang="0">
                    <a:pos x="2254" y="180"/>
                  </a:cxn>
                  <a:cxn ang="0">
                    <a:pos x="2393" y="5"/>
                  </a:cxn>
                  <a:cxn ang="0">
                    <a:pos x="2451" y="10"/>
                  </a:cxn>
                  <a:cxn ang="0">
                    <a:pos x="2708" y="324"/>
                  </a:cxn>
                  <a:cxn ang="0">
                    <a:pos x="2621" y="188"/>
                  </a:cxn>
                  <a:cxn ang="0">
                    <a:pos x="2553" y="324"/>
                  </a:cxn>
                  <a:cxn ang="0">
                    <a:pos x="2527" y="2"/>
                  </a:cxn>
                  <a:cxn ang="0">
                    <a:pos x="2586" y="131"/>
                  </a:cxn>
                  <a:cxn ang="0">
                    <a:pos x="2683" y="6"/>
                  </a:cxn>
                  <a:cxn ang="0">
                    <a:pos x="2748" y="10"/>
                  </a:cxn>
                  <a:cxn ang="0">
                    <a:pos x="2667" y="154"/>
                  </a:cxn>
                  <a:cxn ang="0">
                    <a:pos x="2758" y="308"/>
                  </a:cxn>
                  <a:cxn ang="0">
                    <a:pos x="3023" y="324"/>
                  </a:cxn>
                  <a:cxn ang="0">
                    <a:pos x="2840" y="318"/>
                  </a:cxn>
                  <a:cxn ang="0">
                    <a:pos x="2782" y="298"/>
                  </a:cxn>
                  <a:cxn ang="0">
                    <a:pos x="2960" y="2"/>
                  </a:cxn>
                  <a:cxn ang="0">
                    <a:pos x="2968" y="199"/>
                  </a:cxn>
                </a:cxnLst>
                <a:rect l="0" t="0" r="r" b="b"/>
                <a:pathLst>
                  <a:path w="3075" h="324">
                    <a:moveTo>
                      <a:pt x="375" y="314"/>
                    </a:moveTo>
                    <a:cubicBezTo>
                      <a:pt x="375" y="315"/>
                      <a:pt x="375" y="317"/>
                      <a:pt x="374" y="318"/>
                    </a:cubicBezTo>
                    <a:cubicBezTo>
                      <a:pt x="373" y="320"/>
                      <a:pt x="371" y="321"/>
                      <a:pt x="369" y="321"/>
                    </a:cubicBezTo>
                    <a:cubicBezTo>
                      <a:pt x="366" y="322"/>
                      <a:pt x="363" y="323"/>
                      <a:pt x="359" y="324"/>
                    </a:cubicBezTo>
                    <a:cubicBezTo>
                      <a:pt x="355" y="324"/>
                      <a:pt x="350" y="324"/>
                      <a:pt x="344" y="324"/>
                    </a:cubicBezTo>
                    <a:cubicBezTo>
                      <a:pt x="338" y="324"/>
                      <a:pt x="333" y="324"/>
                      <a:pt x="329" y="324"/>
                    </a:cubicBezTo>
                    <a:cubicBezTo>
                      <a:pt x="325" y="323"/>
                      <a:pt x="322" y="322"/>
                      <a:pt x="320" y="321"/>
                    </a:cubicBezTo>
                    <a:cubicBezTo>
                      <a:pt x="317" y="321"/>
                      <a:pt x="316" y="320"/>
                      <a:pt x="315" y="318"/>
                    </a:cubicBezTo>
                    <a:cubicBezTo>
                      <a:pt x="314" y="317"/>
                      <a:pt x="313" y="315"/>
                      <a:pt x="313" y="314"/>
                    </a:cubicBezTo>
                    <a:lnTo>
                      <a:pt x="313" y="52"/>
                    </a:lnTo>
                    <a:lnTo>
                      <a:pt x="313" y="52"/>
                    </a:lnTo>
                    <a:lnTo>
                      <a:pt x="219" y="314"/>
                    </a:lnTo>
                    <a:cubicBezTo>
                      <a:pt x="219" y="316"/>
                      <a:pt x="218" y="318"/>
                      <a:pt x="216" y="319"/>
                    </a:cubicBezTo>
                    <a:cubicBezTo>
                      <a:pt x="215" y="320"/>
                      <a:pt x="213" y="321"/>
                      <a:pt x="210" y="322"/>
                    </a:cubicBezTo>
                    <a:cubicBezTo>
                      <a:pt x="208" y="323"/>
                      <a:pt x="204" y="324"/>
                      <a:pt x="200" y="324"/>
                    </a:cubicBezTo>
                    <a:cubicBezTo>
                      <a:pt x="196" y="324"/>
                      <a:pt x="192" y="324"/>
                      <a:pt x="186" y="324"/>
                    </a:cubicBezTo>
                    <a:cubicBezTo>
                      <a:pt x="180" y="324"/>
                      <a:pt x="175" y="324"/>
                      <a:pt x="172" y="324"/>
                    </a:cubicBezTo>
                    <a:cubicBezTo>
                      <a:pt x="168" y="323"/>
                      <a:pt x="164" y="323"/>
                      <a:pt x="162" y="322"/>
                    </a:cubicBezTo>
                    <a:cubicBezTo>
                      <a:pt x="159" y="321"/>
                      <a:pt x="157" y="320"/>
                      <a:pt x="156" y="318"/>
                    </a:cubicBezTo>
                    <a:cubicBezTo>
                      <a:pt x="154" y="317"/>
                      <a:pt x="153" y="315"/>
                      <a:pt x="153" y="314"/>
                    </a:cubicBezTo>
                    <a:lnTo>
                      <a:pt x="63" y="52"/>
                    </a:lnTo>
                    <a:lnTo>
                      <a:pt x="62" y="52"/>
                    </a:lnTo>
                    <a:lnTo>
                      <a:pt x="62" y="314"/>
                    </a:lnTo>
                    <a:cubicBezTo>
                      <a:pt x="62" y="315"/>
                      <a:pt x="62" y="317"/>
                      <a:pt x="61" y="318"/>
                    </a:cubicBezTo>
                    <a:cubicBezTo>
                      <a:pt x="60" y="320"/>
                      <a:pt x="58" y="321"/>
                      <a:pt x="56" y="321"/>
                    </a:cubicBezTo>
                    <a:cubicBezTo>
                      <a:pt x="53" y="322"/>
                      <a:pt x="50" y="323"/>
                      <a:pt x="46" y="324"/>
                    </a:cubicBezTo>
                    <a:cubicBezTo>
                      <a:pt x="42" y="324"/>
                      <a:pt x="37" y="324"/>
                      <a:pt x="31" y="324"/>
                    </a:cubicBezTo>
                    <a:cubicBezTo>
                      <a:pt x="25" y="324"/>
                      <a:pt x="20" y="324"/>
                      <a:pt x="16" y="324"/>
                    </a:cubicBezTo>
                    <a:cubicBezTo>
                      <a:pt x="12" y="323"/>
                      <a:pt x="9" y="322"/>
                      <a:pt x="7" y="321"/>
                    </a:cubicBezTo>
                    <a:cubicBezTo>
                      <a:pt x="4" y="321"/>
                      <a:pt x="3" y="320"/>
                      <a:pt x="2" y="318"/>
                    </a:cubicBezTo>
                    <a:cubicBezTo>
                      <a:pt x="1" y="317"/>
                      <a:pt x="0" y="315"/>
                      <a:pt x="0" y="314"/>
                    </a:cubicBezTo>
                    <a:lnTo>
                      <a:pt x="0" y="27"/>
                    </a:lnTo>
                    <a:cubicBezTo>
                      <a:pt x="0" y="19"/>
                      <a:pt x="3" y="12"/>
                      <a:pt x="7" y="8"/>
                    </a:cubicBezTo>
                    <a:cubicBezTo>
                      <a:pt x="11" y="3"/>
                      <a:pt x="17" y="1"/>
                      <a:pt x="25" y="1"/>
                    </a:cubicBezTo>
                    <a:lnTo>
                      <a:pt x="68" y="1"/>
                    </a:lnTo>
                    <a:cubicBezTo>
                      <a:pt x="75" y="1"/>
                      <a:pt x="82" y="2"/>
                      <a:pt x="87" y="3"/>
                    </a:cubicBezTo>
                    <a:cubicBezTo>
                      <a:pt x="93" y="4"/>
                      <a:pt x="97" y="6"/>
                      <a:pt x="101" y="9"/>
                    </a:cubicBezTo>
                    <a:cubicBezTo>
                      <a:pt x="105" y="12"/>
                      <a:pt x="109" y="16"/>
                      <a:pt x="111" y="21"/>
                    </a:cubicBezTo>
                    <a:cubicBezTo>
                      <a:pt x="114" y="26"/>
                      <a:pt x="116" y="31"/>
                      <a:pt x="118" y="38"/>
                    </a:cubicBezTo>
                    <a:lnTo>
                      <a:pt x="188" y="230"/>
                    </a:lnTo>
                    <a:lnTo>
                      <a:pt x="189" y="230"/>
                    </a:lnTo>
                    <a:lnTo>
                      <a:pt x="261" y="39"/>
                    </a:lnTo>
                    <a:cubicBezTo>
                      <a:pt x="263" y="32"/>
                      <a:pt x="265" y="26"/>
                      <a:pt x="268" y="21"/>
                    </a:cubicBezTo>
                    <a:cubicBezTo>
                      <a:pt x="271" y="16"/>
                      <a:pt x="274" y="12"/>
                      <a:pt x="277" y="10"/>
                    </a:cubicBezTo>
                    <a:cubicBezTo>
                      <a:pt x="280" y="6"/>
                      <a:pt x="284" y="4"/>
                      <a:pt x="289" y="3"/>
                    </a:cubicBezTo>
                    <a:cubicBezTo>
                      <a:pt x="294" y="2"/>
                      <a:pt x="299" y="1"/>
                      <a:pt x="305" y="1"/>
                    </a:cubicBezTo>
                    <a:lnTo>
                      <a:pt x="349" y="1"/>
                    </a:lnTo>
                    <a:cubicBezTo>
                      <a:pt x="354" y="1"/>
                      <a:pt x="357" y="2"/>
                      <a:pt x="361" y="3"/>
                    </a:cubicBezTo>
                    <a:cubicBezTo>
                      <a:pt x="364" y="4"/>
                      <a:pt x="367" y="6"/>
                      <a:pt x="369" y="8"/>
                    </a:cubicBezTo>
                    <a:cubicBezTo>
                      <a:pt x="371" y="10"/>
                      <a:pt x="372" y="13"/>
                      <a:pt x="373" y="16"/>
                    </a:cubicBezTo>
                    <a:cubicBezTo>
                      <a:pt x="374" y="20"/>
                      <a:pt x="375" y="23"/>
                      <a:pt x="375" y="27"/>
                    </a:cubicBezTo>
                    <a:lnTo>
                      <a:pt x="375" y="314"/>
                    </a:lnTo>
                    <a:close/>
                    <a:moveTo>
                      <a:pt x="708" y="298"/>
                    </a:moveTo>
                    <a:cubicBezTo>
                      <a:pt x="710" y="304"/>
                      <a:pt x="712" y="309"/>
                      <a:pt x="712" y="313"/>
                    </a:cubicBezTo>
                    <a:cubicBezTo>
                      <a:pt x="713" y="316"/>
                      <a:pt x="712" y="319"/>
                      <a:pt x="710" y="320"/>
                    </a:cubicBezTo>
                    <a:cubicBezTo>
                      <a:pt x="708" y="322"/>
                      <a:pt x="705" y="323"/>
                      <a:pt x="700" y="324"/>
                    </a:cubicBezTo>
                    <a:cubicBezTo>
                      <a:pt x="696" y="324"/>
                      <a:pt x="689" y="324"/>
                      <a:pt x="681" y="324"/>
                    </a:cubicBezTo>
                    <a:cubicBezTo>
                      <a:pt x="673" y="324"/>
                      <a:pt x="666" y="324"/>
                      <a:pt x="661" y="324"/>
                    </a:cubicBezTo>
                    <a:cubicBezTo>
                      <a:pt x="657" y="324"/>
                      <a:pt x="653" y="323"/>
                      <a:pt x="651" y="322"/>
                    </a:cubicBezTo>
                    <a:cubicBezTo>
                      <a:pt x="648" y="322"/>
                      <a:pt x="646" y="321"/>
                      <a:pt x="645" y="319"/>
                    </a:cubicBezTo>
                    <a:cubicBezTo>
                      <a:pt x="645" y="318"/>
                      <a:pt x="644" y="316"/>
                      <a:pt x="643" y="314"/>
                    </a:cubicBezTo>
                    <a:lnTo>
                      <a:pt x="621" y="249"/>
                    </a:lnTo>
                    <a:lnTo>
                      <a:pt x="501" y="249"/>
                    </a:lnTo>
                    <a:lnTo>
                      <a:pt x="480" y="312"/>
                    </a:lnTo>
                    <a:cubicBezTo>
                      <a:pt x="480" y="315"/>
                      <a:pt x="479" y="317"/>
                      <a:pt x="478" y="318"/>
                    </a:cubicBezTo>
                    <a:cubicBezTo>
                      <a:pt x="477" y="320"/>
                      <a:pt x="475" y="321"/>
                      <a:pt x="472" y="322"/>
                    </a:cubicBezTo>
                    <a:cubicBezTo>
                      <a:pt x="470" y="323"/>
                      <a:pt x="467" y="323"/>
                      <a:pt x="462" y="324"/>
                    </a:cubicBezTo>
                    <a:cubicBezTo>
                      <a:pt x="458" y="324"/>
                      <a:pt x="452" y="324"/>
                      <a:pt x="445" y="324"/>
                    </a:cubicBezTo>
                    <a:cubicBezTo>
                      <a:pt x="437" y="324"/>
                      <a:pt x="431" y="324"/>
                      <a:pt x="427" y="324"/>
                    </a:cubicBezTo>
                    <a:cubicBezTo>
                      <a:pt x="423" y="323"/>
                      <a:pt x="420" y="322"/>
                      <a:pt x="418" y="320"/>
                    </a:cubicBezTo>
                    <a:cubicBezTo>
                      <a:pt x="417" y="318"/>
                      <a:pt x="416" y="315"/>
                      <a:pt x="416" y="312"/>
                    </a:cubicBezTo>
                    <a:cubicBezTo>
                      <a:pt x="417" y="308"/>
                      <a:pt x="418" y="304"/>
                      <a:pt x="420" y="298"/>
                    </a:cubicBezTo>
                    <a:lnTo>
                      <a:pt x="519" y="13"/>
                    </a:lnTo>
                    <a:cubicBezTo>
                      <a:pt x="520" y="10"/>
                      <a:pt x="521" y="8"/>
                      <a:pt x="523" y="6"/>
                    </a:cubicBezTo>
                    <a:cubicBezTo>
                      <a:pt x="524" y="4"/>
                      <a:pt x="526" y="3"/>
                      <a:pt x="529" y="2"/>
                    </a:cubicBezTo>
                    <a:cubicBezTo>
                      <a:pt x="532" y="1"/>
                      <a:pt x="536" y="0"/>
                      <a:pt x="541" y="0"/>
                    </a:cubicBezTo>
                    <a:cubicBezTo>
                      <a:pt x="546" y="0"/>
                      <a:pt x="553" y="0"/>
                      <a:pt x="562" y="0"/>
                    </a:cubicBezTo>
                    <a:cubicBezTo>
                      <a:pt x="571" y="0"/>
                      <a:pt x="579" y="0"/>
                      <a:pt x="585" y="0"/>
                    </a:cubicBezTo>
                    <a:cubicBezTo>
                      <a:pt x="591" y="0"/>
                      <a:pt x="595" y="1"/>
                      <a:pt x="598" y="2"/>
                    </a:cubicBezTo>
                    <a:cubicBezTo>
                      <a:pt x="602" y="3"/>
                      <a:pt x="604" y="4"/>
                      <a:pt x="605" y="6"/>
                    </a:cubicBezTo>
                    <a:cubicBezTo>
                      <a:pt x="607" y="8"/>
                      <a:pt x="608" y="10"/>
                      <a:pt x="609" y="13"/>
                    </a:cubicBezTo>
                    <a:lnTo>
                      <a:pt x="708" y="298"/>
                    </a:lnTo>
                    <a:close/>
                    <a:moveTo>
                      <a:pt x="561" y="63"/>
                    </a:moveTo>
                    <a:lnTo>
                      <a:pt x="560" y="63"/>
                    </a:lnTo>
                    <a:lnTo>
                      <a:pt x="515" y="199"/>
                    </a:lnTo>
                    <a:lnTo>
                      <a:pt x="606" y="199"/>
                    </a:lnTo>
                    <a:lnTo>
                      <a:pt x="561" y="63"/>
                    </a:lnTo>
                    <a:close/>
                    <a:moveTo>
                      <a:pt x="933" y="28"/>
                    </a:moveTo>
                    <a:cubicBezTo>
                      <a:pt x="933" y="33"/>
                      <a:pt x="932" y="37"/>
                      <a:pt x="932" y="40"/>
                    </a:cubicBezTo>
                    <a:cubicBezTo>
                      <a:pt x="931" y="44"/>
                      <a:pt x="931" y="47"/>
                      <a:pt x="930" y="49"/>
                    </a:cubicBezTo>
                    <a:cubicBezTo>
                      <a:pt x="929" y="51"/>
                      <a:pt x="928" y="52"/>
                      <a:pt x="927" y="53"/>
                    </a:cubicBezTo>
                    <a:cubicBezTo>
                      <a:pt x="926" y="54"/>
                      <a:pt x="924" y="55"/>
                      <a:pt x="923" y="55"/>
                    </a:cubicBezTo>
                    <a:lnTo>
                      <a:pt x="842" y="55"/>
                    </a:lnTo>
                    <a:lnTo>
                      <a:pt x="842" y="314"/>
                    </a:lnTo>
                    <a:cubicBezTo>
                      <a:pt x="842" y="315"/>
                      <a:pt x="842" y="317"/>
                      <a:pt x="841" y="318"/>
                    </a:cubicBezTo>
                    <a:cubicBezTo>
                      <a:pt x="840" y="320"/>
                      <a:pt x="838" y="321"/>
                      <a:pt x="835" y="321"/>
                    </a:cubicBezTo>
                    <a:cubicBezTo>
                      <a:pt x="833" y="322"/>
                      <a:pt x="829" y="323"/>
                      <a:pt x="825" y="324"/>
                    </a:cubicBezTo>
                    <a:cubicBezTo>
                      <a:pt x="821" y="324"/>
                      <a:pt x="816" y="324"/>
                      <a:pt x="809" y="324"/>
                    </a:cubicBezTo>
                    <a:cubicBezTo>
                      <a:pt x="803" y="324"/>
                      <a:pt x="798" y="324"/>
                      <a:pt x="794" y="324"/>
                    </a:cubicBezTo>
                    <a:cubicBezTo>
                      <a:pt x="790" y="323"/>
                      <a:pt x="786" y="322"/>
                      <a:pt x="784" y="321"/>
                    </a:cubicBezTo>
                    <a:cubicBezTo>
                      <a:pt x="781" y="321"/>
                      <a:pt x="779" y="320"/>
                      <a:pt x="778" y="318"/>
                    </a:cubicBezTo>
                    <a:cubicBezTo>
                      <a:pt x="777" y="317"/>
                      <a:pt x="777" y="315"/>
                      <a:pt x="777" y="314"/>
                    </a:cubicBezTo>
                    <a:lnTo>
                      <a:pt x="777" y="55"/>
                    </a:lnTo>
                    <a:lnTo>
                      <a:pt x="696" y="55"/>
                    </a:lnTo>
                    <a:cubicBezTo>
                      <a:pt x="695" y="55"/>
                      <a:pt x="693" y="54"/>
                      <a:pt x="692" y="53"/>
                    </a:cubicBezTo>
                    <a:cubicBezTo>
                      <a:pt x="691" y="52"/>
                      <a:pt x="690" y="51"/>
                      <a:pt x="689" y="49"/>
                    </a:cubicBezTo>
                    <a:cubicBezTo>
                      <a:pt x="688" y="47"/>
                      <a:pt x="688" y="44"/>
                      <a:pt x="687" y="40"/>
                    </a:cubicBezTo>
                    <a:cubicBezTo>
                      <a:pt x="687" y="37"/>
                      <a:pt x="687" y="33"/>
                      <a:pt x="687" y="28"/>
                    </a:cubicBezTo>
                    <a:cubicBezTo>
                      <a:pt x="687" y="23"/>
                      <a:pt x="687" y="19"/>
                      <a:pt x="687" y="15"/>
                    </a:cubicBezTo>
                    <a:cubicBezTo>
                      <a:pt x="688" y="12"/>
                      <a:pt x="688" y="9"/>
                      <a:pt x="689" y="7"/>
                    </a:cubicBezTo>
                    <a:cubicBezTo>
                      <a:pt x="690" y="5"/>
                      <a:pt x="691" y="4"/>
                      <a:pt x="692" y="3"/>
                    </a:cubicBezTo>
                    <a:cubicBezTo>
                      <a:pt x="693" y="2"/>
                      <a:pt x="695" y="1"/>
                      <a:pt x="696" y="1"/>
                    </a:cubicBezTo>
                    <a:lnTo>
                      <a:pt x="923" y="1"/>
                    </a:lnTo>
                    <a:cubicBezTo>
                      <a:pt x="924" y="1"/>
                      <a:pt x="926" y="2"/>
                      <a:pt x="927" y="3"/>
                    </a:cubicBezTo>
                    <a:cubicBezTo>
                      <a:pt x="928" y="4"/>
                      <a:pt x="929" y="5"/>
                      <a:pt x="930" y="7"/>
                    </a:cubicBezTo>
                    <a:cubicBezTo>
                      <a:pt x="931" y="9"/>
                      <a:pt x="931" y="12"/>
                      <a:pt x="932" y="15"/>
                    </a:cubicBezTo>
                    <a:cubicBezTo>
                      <a:pt x="932" y="19"/>
                      <a:pt x="933" y="23"/>
                      <a:pt x="933" y="28"/>
                    </a:cubicBezTo>
                    <a:close/>
                    <a:moveTo>
                      <a:pt x="1161" y="297"/>
                    </a:moveTo>
                    <a:cubicBezTo>
                      <a:pt x="1161" y="302"/>
                      <a:pt x="1161" y="306"/>
                      <a:pt x="1160" y="309"/>
                    </a:cubicBezTo>
                    <a:cubicBezTo>
                      <a:pt x="1160" y="312"/>
                      <a:pt x="1159" y="315"/>
                      <a:pt x="1159" y="317"/>
                    </a:cubicBezTo>
                    <a:cubicBezTo>
                      <a:pt x="1158" y="319"/>
                      <a:pt x="1157" y="320"/>
                      <a:pt x="1155" y="321"/>
                    </a:cubicBezTo>
                    <a:cubicBezTo>
                      <a:pt x="1154" y="322"/>
                      <a:pt x="1153" y="323"/>
                      <a:pt x="1151" y="323"/>
                    </a:cubicBezTo>
                    <a:lnTo>
                      <a:pt x="990" y="323"/>
                    </a:lnTo>
                    <a:cubicBezTo>
                      <a:pt x="984" y="323"/>
                      <a:pt x="980" y="321"/>
                      <a:pt x="976" y="318"/>
                    </a:cubicBezTo>
                    <a:cubicBezTo>
                      <a:pt x="972" y="315"/>
                      <a:pt x="970" y="309"/>
                      <a:pt x="970" y="302"/>
                    </a:cubicBezTo>
                    <a:lnTo>
                      <a:pt x="970" y="22"/>
                    </a:lnTo>
                    <a:cubicBezTo>
                      <a:pt x="970" y="15"/>
                      <a:pt x="972" y="9"/>
                      <a:pt x="976" y="6"/>
                    </a:cubicBezTo>
                    <a:cubicBezTo>
                      <a:pt x="980" y="3"/>
                      <a:pt x="984" y="1"/>
                      <a:pt x="990" y="1"/>
                    </a:cubicBezTo>
                    <a:lnTo>
                      <a:pt x="1150" y="1"/>
                    </a:lnTo>
                    <a:cubicBezTo>
                      <a:pt x="1152" y="1"/>
                      <a:pt x="1153" y="2"/>
                      <a:pt x="1154" y="3"/>
                    </a:cubicBezTo>
                    <a:cubicBezTo>
                      <a:pt x="1156" y="3"/>
                      <a:pt x="1156" y="5"/>
                      <a:pt x="1157" y="7"/>
                    </a:cubicBezTo>
                    <a:cubicBezTo>
                      <a:pt x="1158" y="9"/>
                      <a:pt x="1159" y="12"/>
                      <a:pt x="1159" y="15"/>
                    </a:cubicBezTo>
                    <a:cubicBezTo>
                      <a:pt x="1160" y="18"/>
                      <a:pt x="1160" y="22"/>
                      <a:pt x="1160" y="27"/>
                    </a:cubicBezTo>
                    <a:cubicBezTo>
                      <a:pt x="1160" y="32"/>
                      <a:pt x="1160" y="36"/>
                      <a:pt x="1159" y="39"/>
                    </a:cubicBezTo>
                    <a:cubicBezTo>
                      <a:pt x="1159" y="42"/>
                      <a:pt x="1158" y="45"/>
                      <a:pt x="1157" y="47"/>
                    </a:cubicBezTo>
                    <a:cubicBezTo>
                      <a:pt x="1156" y="49"/>
                      <a:pt x="1156" y="50"/>
                      <a:pt x="1154" y="51"/>
                    </a:cubicBezTo>
                    <a:cubicBezTo>
                      <a:pt x="1153" y="52"/>
                      <a:pt x="1152" y="52"/>
                      <a:pt x="1150" y="52"/>
                    </a:cubicBezTo>
                    <a:lnTo>
                      <a:pt x="1036" y="52"/>
                    </a:lnTo>
                    <a:lnTo>
                      <a:pt x="1036" y="131"/>
                    </a:lnTo>
                    <a:lnTo>
                      <a:pt x="1133" y="131"/>
                    </a:lnTo>
                    <a:cubicBezTo>
                      <a:pt x="1134" y="131"/>
                      <a:pt x="1136" y="131"/>
                      <a:pt x="1137" y="132"/>
                    </a:cubicBezTo>
                    <a:cubicBezTo>
                      <a:pt x="1138" y="133"/>
                      <a:pt x="1139" y="135"/>
                      <a:pt x="1140" y="137"/>
                    </a:cubicBezTo>
                    <a:cubicBezTo>
                      <a:pt x="1141" y="139"/>
                      <a:pt x="1141" y="141"/>
                      <a:pt x="1142" y="144"/>
                    </a:cubicBezTo>
                    <a:cubicBezTo>
                      <a:pt x="1142" y="147"/>
                      <a:pt x="1142" y="151"/>
                      <a:pt x="1142" y="156"/>
                    </a:cubicBezTo>
                    <a:cubicBezTo>
                      <a:pt x="1142" y="161"/>
                      <a:pt x="1142" y="165"/>
                      <a:pt x="1142" y="168"/>
                    </a:cubicBezTo>
                    <a:cubicBezTo>
                      <a:pt x="1141" y="171"/>
                      <a:pt x="1141" y="174"/>
                      <a:pt x="1140" y="176"/>
                    </a:cubicBezTo>
                    <a:cubicBezTo>
                      <a:pt x="1139" y="178"/>
                      <a:pt x="1138" y="179"/>
                      <a:pt x="1137" y="180"/>
                    </a:cubicBezTo>
                    <a:cubicBezTo>
                      <a:pt x="1136" y="180"/>
                      <a:pt x="1134" y="181"/>
                      <a:pt x="1133" y="181"/>
                    </a:cubicBezTo>
                    <a:lnTo>
                      <a:pt x="1036" y="181"/>
                    </a:lnTo>
                    <a:lnTo>
                      <a:pt x="1036" y="272"/>
                    </a:lnTo>
                    <a:lnTo>
                      <a:pt x="1151" y="272"/>
                    </a:lnTo>
                    <a:cubicBezTo>
                      <a:pt x="1153" y="272"/>
                      <a:pt x="1154" y="272"/>
                      <a:pt x="1155" y="273"/>
                    </a:cubicBezTo>
                    <a:cubicBezTo>
                      <a:pt x="1157" y="274"/>
                      <a:pt x="1158" y="275"/>
                      <a:pt x="1159" y="277"/>
                    </a:cubicBezTo>
                    <a:cubicBezTo>
                      <a:pt x="1159" y="279"/>
                      <a:pt x="1160" y="282"/>
                      <a:pt x="1160" y="285"/>
                    </a:cubicBezTo>
                    <a:cubicBezTo>
                      <a:pt x="1161" y="288"/>
                      <a:pt x="1161" y="292"/>
                      <a:pt x="1161" y="297"/>
                    </a:cubicBezTo>
                    <a:close/>
                    <a:moveTo>
                      <a:pt x="1593" y="314"/>
                    </a:moveTo>
                    <a:cubicBezTo>
                      <a:pt x="1593" y="315"/>
                      <a:pt x="1593" y="317"/>
                      <a:pt x="1592" y="318"/>
                    </a:cubicBezTo>
                    <a:cubicBezTo>
                      <a:pt x="1591" y="320"/>
                      <a:pt x="1589" y="321"/>
                      <a:pt x="1587" y="321"/>
                    </a:cubicBezTo>
                    <a:cubicBezTo>
                      <a:pt x="1585" y="322"/>
                      <a:pt x="1581" y="323"/>
                      <a:pt x="1577" y="324"/>
                    </a:cubicBezTo>
                    <a:cubicBezTo>
                      <a:pt x="1574" y="324"/>
                      <a:pt x="1568" y="324"/>
                      <a:pt x="1562" y="324"/>
                    </a:cubicBezTo>
                    <a:cubicBezTo>
                      <a:pt x="1556" y="324"/>
                      <a:pt x="1551" y="324"/>
                      <a:pt x="1547" y="324"/>
                    </a:cubicBezTo>
                    <a:cubicBezTo>
                      <a:pt x="1543" y="323"/>
                      <a:pt x="1540" y="322"/>
                      <a:pt x="1538" y="321"/>
                    </a:cubicBezTo>
                    <a:cubicBezTo>
                      <a:pt x="1536" y="321"/>
                      <a:pt x="1534" y="320"/>
                      <a:pt x="1533" y="318"/>
                    </a:cubicBezTo>
                    <a:cubicBezTo>
                      <a:pt x="1532" y="317"/>
                      <a:pt x="1532" y="315"/>
                      <a:pt x="1532" y="314"/>
                    </a:cubicBezTo>
                    <a:lnTo>
                      <a:pt x="1532" y="52"/>
                    </a:lnTo>
                    <a:lnTo>
                      <a:pt x="1531" y="52"/>
                    </a:lnTo>
                    <a:lnTo>
                      <a:pt x="1438" y="314"/>
                    </a:lnTo>
                    <a:cubicBezTo>
                      <a:pt x="1437" y="316"/>
                      <a:pt x="1436" y="318"/>
                      <a:pt x="1435" y="319"/>
                    </a:cubicBezTo>
                    <a:cubicBezTo>
                      <a:pt x="1433" y="320"/>
                      <a:pt x="1431" y="321"/>
                      <a:pt x="1429" y="322"/>
                    </a:cubicBezTo>
                    <a:cubicBezTo>
                      <a:pt x="1426" y="323"/>
                      <a:pt x="1423" y="324"/>
                      <a:pt x="1419" y="324"/>
                    </a:cubicBezTo>
                    <a:cubicBezTo>
                      <a:pt x="1415" y="324"/>
                      <a:pt x="1410" y="324"/>
                      <a:pt x="1404" y="324"/>
                    </a:cubicBezTo>
                    <a:cubicBezTo>
                      <a:pt x="1399" y="324"/>
                      <a:pt x="1394" y="324"/>
                      <a:pt x="1390" y="324"/>
                    </a:cubicBezTo>
                    <a:cubicBezTo>
                      <a:pt x="1386" y="323"/>
                      <a:pt x="1383" y="323"/>
                      <a:pt x="1380" y="322"/>
                    </a:cubicBezTo>
                    <a:cubicBezTo>
                      <a:pt x="1378" y="321"/>
                      <a:pt x="1375" y="320"/>
                      <a:pt x="1374" y="318"/>
                    </a:cubicBezTo>
                    <a:cubicBezTo>
                      <a:pt x="1373" y="317"/>
                      <a:pt x="1372" y="315"/>
                      <a:pt x="1371" y="314"/>
                    </a:cubicBezTo>
                    <a:lnTo>
                      <a:pt x="1281" y="52"/>
                    </a:lnTo>
                    <a:lnTo>
                      <a:pt x="1281" y="52"/>
                    </a:lnTo>
                    <a:lnTo>
                      <a:pt x="1281" y="314"/>
                    </a:lnTo>
                    <a:cubicBezTo>
                      <a:pt x="1281" y="315"/>
                      <a:pt x="1280" y="317"/>
                      <a:pt x="1279" y="318"/>
                    </a:cubicBezTo>
                    <a:cubicBezTo>
                      <a:pt x="1278" y="320"/>
                      <a:pt x="1277" y="321"/>
                      <a:pt x="1274" y="321"/>
                    </a:cubicBezTo>
                    <a:cubicBezTo>
                      <a:pt x="1272" y="322"/>
                      <a:pt x="1268" y="323"/>
                      <a:pt x="1265" y="324"/>
                    </a:cubicBezTo>
                    <a:cubicBezTo>
                      <a:pt x="1261" y="324"/>
                      <a:pt x="1256" y="324"/>
                      <a:pt x="1249" y="324"/>
                    </a:cubicBezTo>
                    <a:cubicBezTo>
                      <a:pt x="1244" y="324"/>
                      <a:pt x="1239" y="324"/>
                      <a:pt x="1235" y="324"/>
                    </a:cubicBezTo>
                    <a:cubicBezTo>
                      <a:pt x="1231" y="323"/>
                      <a:pt x="1227" y="322"/>
                      <a:pt x="1225" y="321"/>
                    </a:cubicBezTo>
                    <a:cubicBezTo>
                      <a:pt x="1223" y="321"/>
                      <a:pt x="1221" y="320"/>
                      <a:pt x="1220" y="318"/>
                    </a:cubicBezTo>
                    <a:cubicBezTo>
                      <a:pt x="1219" y="317"/>
                      <a:pt x="1219" y="315"/>
                      <a:pt x="1219" y="314"/>
                    </a:cubicBezTo>
                    <a:lnTo>
                      <a:pt x="1219" y="27"/>
                    </a:lnTo>
                    <a:cubicBezTo>
                      <a:pt x="1219" y="19"/>
                      <a:pt x="1221" y="12"/>
                      <a:pt x="1225" y="8"/>
                    </a:cubicBezTo>
                    <a:cubicBezTo>
                      <a:pt x="1230" y="3"/>
                      <a:pt x="1236" y="1"/>
                      <a:pt x="1243" y="1"/>
                    </a:cubicBezTo>
                    <a:lnTo>
                      <a:pt x="1286" y="1"/>
                    </a:lnTo>
                    <a:cubicBezTo>
                      <a:pt x="1294" y="1"/>
                      <a:pt x="1300" y="2"/>
                      <a:pt x="1306" y="3"/>
                    </a:cubicBezTo>
                    <a:cubicBezTo>
                      <a:pt x="1311" y="4"/>
                      <a:pt x="1316" y="6"/>
                      <a:pt x="1320" y="9"/>
                    </a:cubicBezTo>
                    <a:cubicBezTo>
                      <a:pt x="1324" y="12"/>
                      <a:pt x="1327" y="16"/>
                      <a:pt x="1330" y="21"/>
                    </a:cubicBezTo>
                    <a:cubicBezTo>
                      <a:pt x="1332" y="26"/>
                      <a:pt x="1335" y="31"/>
                      <a:pt x="1337" y="38"/>
                    </a:cubicBezTo>
                    <a:lnTo>
                      <a:pt x="1406" y="230"/>
                    </a:lnTo>
                    <a:lnTo>
                      <a:pt x="1407" y="230"/>
                    </a:lnTo>
                    <a:lnTo>
                      <a:pt x="1479" y="39"/>
                    </a:lnTo>
                    <a:cubicBezTo>
                      <a:pt x="1481" y="32"/>
                      <a:pt x="1484" y="26"/>
                      <a:pt x="1486" y="21"/>
                    </a:cubicBezTo>
                    <a:cubicBezTo>
                      <a:pt x="1489" y="16"/>
                      <a:pt x="1492" y="12"/>
                      <a:pt x="1495" y="10"/>
                    </a:cubicBezTo>
                    <a:cubicBezTo>
                      <a:pt x="1499" y="6"/>
                      <a:pt x="1503" y="4"/>
                      <a:pt x="1507" y="3"/>
                    </a:cubicBezTo>
                    <a:cubicBezTo>
                      <a:pt x="1512" y="2"/>
                      <a:pt x="1517" y="1"/>
                      <a:pt x="1524" y="1"/>
                    </a:cubicBezTo>
                    <a:lnTo>
                      <a:pt x="1567" y="1"/>
                    </a:lnTo>
                    <a:cubicBezTo>
                      <a:pt x="1572" y="1"/>
                      <a:pt x="1576" y="2"/>
                      <a:pt x="1579" y="3"/>
                    </a:cubicBezTo>
                    <a:cubicBezTo>
                      <a:pt x="1582" y="4"/>
                      <a:pt x="1585" y="6"/>
                      <a:pt x="1587" y="8"/>
                    </a:cubicBezTo>
                    <a:cubicBezTo>
                      <a:pt x="1589" y="10"/>
                      <a:pt x="1591" y="13"/>
                      <a:pt x="1592" y="16"/>
                    </a:cubicBezTo>
                    <a:cubicBezTo>
                      <a:pt x="1593" y="20"/>
                      <a:pt x="1593" y="23"/>
                      <a:pt x="1593" y="27"/>
                    </a:cubicBezTo>
                    <a:lnTo>
                      <a:pt x="1593" y="314"/>
                    </a:lnTo>
                    <a:close/>
                    <a:moveTo>
                      <a:pt x="1927" y="298"/>
                    </a:moveTo>
                    <a:cubicBezTo>
                      <a:pt x="1929" y="304"/>
                      <a:pt x="1930" y="309"/>
                      <a:pt x="1931" y="313"/>
                    </a:cubicBezTo>
                    <a:cubicBezTo>
                      <a:pt x="1931" y="316"/>
                      <a:pt x="1930" y="319"/>
                      <a:pt x="1928" y="320"/>
                    </a:cubicBezTo>
                    <a:cubicBezTo>
                      <a:pt x="1927" y="322"/>
                      <a:pt x="1923" y="323"/>
                      <a:pt x="1919" y="324"/>
                    </a:cubicBezTo>
                    <a:cubicBezTo>
                      <a:pt x="1914" y="324"/>
                      <a:pt x="1908" y="324"/>
                      <a:pt x="1900" y="324"/>
                    </a:cubicBezTo>
                    <a:cubicBezTo>
                      <a:pt x="1891" y="324"/>
                      <a:pt x="1885" y="324"/>
                      <a:pt x="1880" y="324"/>
                    </a:cubicBezTo>
                    <a:cubicBezTo>
                      <a:pt x="1875" y="324"/>
                      <a:pt x="1872" y="323"/>
                      <a:pt x="1869" y="322"/>
                    </a:cubicBezTo>
                    <a:cubicBezTo>
                      <a:pt x="1867" y="322"/>
                      <a:pt x="1865" y="321"/>
                      <a:pt x="1864" y="319"/>
                    </a:cubicBezTo>
                    <a:cubicBezTo>
                      <a:pt x="1863" y="318"/>
                      <a:pt x="1862" y="316"/>
                      <a:pt x="1861" y="314"/>
                    </a:cubicBezTo>
                    <a:lnTo>
                      <a:pt x="1840" y="249"/>
                    </a:lnTo>
                    <a:lnTo>
                      <a:pt x="1719" y="249"/>
                    </a:lnTo>
                    <a:lnTo>
                      <a:pt x="1699" y="312"/>
                    </a:lnTo>
                    <a:cubicBezTo>
                      <a:pt x="1698" y="315"/>
                      <a:pt x="1697" y="317"/>
                      <a:pt x="1696" y="318"/>
                    </a:cubicBezTo>
                    <a:cubicBezTo>
                      <a:pt x="1695" y="320"/>
                      <a:pt x="1693" y="321"/>
                      <a:pt x="1691" y="322"/>
                    </a:cubicBezTo>
                    <a:cubicBezTo>
                      <a:pt x="1688" y="323"/>
                      <a:pt x="1685" y="323"/>
                      <a:pt x="1681" y="324"/>
                    </a:cubicBezTo>
                    <a:cubicBezTo>
                      <a:pt x="1676" y="324"/>
                      <a:pt x="1671" y="324"/>
                      <a:pt x="1663" y="324"/>
                    </a:cubicBezTo>
                    <a:cubicBezTo>
                      <a:pt x="1656" y="324"/>
                      <a:pt x="1650" y="324"/>
                      <a:pt x="1645" y="324"/>
                    </a:cubicBezTo>
                    <a:cubicBezTo>
                      <a:pt x="1641" y="323"/>
                      <a:pt x="1638" y="322"/>
                      <a:pt x="1637" y="320"/>
                    </a:cubicBezTo>
                    <a:cubicBezTo>
                      <a:pt x="1635" y="318"/>
                      <a:pt x="1634" y="315"/>
                      <a:pt x="1635" y="312"/>
                    </a:cubicBezTo>
                    <a:cubicBezTo>
                      <a:pt x="1635" y="308"/>
                      <a:pt x="1637" y="304"/>
                      <a:pt x="1639" y="298"/>
                    </a:cubicBezTo>
                    <a:lnTo>
                      <a:pt x="1738" y="13"/>
                    </a:lnTo>
                    <a:cubicBezTo>
                      <a:pt x="1739" y="10"/>
                      <a:pt x="1740" y="8"/>
                      <a:pt x="1741" y="6"/>
                    </a:cubicBezTo>
                    <a:cubicBezTo>
                      <a:pt x="1743" y="4"/>
                      <a:pt x="1745" y="3"/>
                      <a:pt x="1748" y="2"/>
                    </a:cubicBezTo>
                    <a:cubicBezTo>
                      <a:pt x="1750" y="1"/>
                      <a:pt x="1754" y="0"/>
                      <a:pt x="1760" y="0"/>
                    </a:cubicBezTo>
                    <a:cubicBezTo>
                      <a:pt x="1765" y="0"/>
                      <a:pt x="1772" y="0"/>
                      <a:pt x="1780" y="0"/>
                    </a:cubicBezTo>
                    <a:cubicBezTo>
                      <a:pt x="1790" y="0"/>
                      <a:pt x="1797" y="0"/>
                      <a:pt x="1803" y="0"/>
                    </a:cubicBezTo>
                    <a:cubicBezTo>
                      <a:pt x="1809" y="0"/>
                      <a:pt x="1814" y="1"/>
                      <a:pt x="1817" y="2"/>
                    </a:cubicBezTo>
                    <a:cubicBezTo>
                      <a:pt x="1820" y="3"/>
                      <a:pt x="1822" y="4"/>
                      <a:pt x="1824" y="6"/>
                    </a:cubicBezTo>
                    <a:cubicBezTo>
                      <a:pt x="1825" y="8"/>
                      <a:pt x="1826" y="10"/>
                      <a:pt x="1827" y="13"/>
                    </a:cubicBezTo>
                    <a:lnTo>
                      <a:pt x="1927" y="298"/>
                    </a:lnTo>
                    <a:close/>
                    <a:moveTo>
                      <a:pt x="1779" y="63"/>
                    </a:moveTo>
                    <a:lnTo>
                      <a:pt x="1779" y="63"/>
                    </a:lnTo>
                    <a:lnTo>
                      <a:pt x="1733" y="199"/>
                    </a:lnTo>
                    <a:lnTo>
                      <a:pt x="1825" y="199"/>
                    </a:lnTo>
                    <a:lnTo>
                      <a:pt x="1779" y="63"/>
                    </a:lnTo>
                    <a:close/>
                    <a:moveTo>
                      <a:pt x="2151" y="28"/>
                    </a:moveTo>
                    <a:cubicBezTo>
                      <a:pt x="2151" y="33"/>
                      <a:pt x="2151" y="37"/>
                      <a:pt x="2150" y="40"/>
                    </a:cubicBezTo>
                    <a:cubicBezTo>
                      <a:pt x="2150" y="44"/>
                      <a:pt x="2149" y="47"/>
                      <a:pt x="2148" y="49"/>
                    </a:cubicBezTo>
                    <a:cubicBezTo>
                      <a:pt x="2148" y="51"/>
                      <a:pt x="2146" y="52"/>
                      <a:pt x="2145" y="53"/>
                    </a:cubicBezTo>
                    <a:cubicBezTo>
                      <a:pt x="2144" y="54"/>
                      <a:pt x="2143" y="55"/>
                      <a:pt x="2141" y="55"/>
                    </a:cubicBezTo>
                    <a:lnTo>
                      <a:pt x="2061" y="55"/>
                    </a:lnTo>
                    <a:lnTo>
                      <a:pt x="2061" y="314"/>
                    </a:lnTo>
                    <a:cubicBezTo>
                      <a:pt x="2061" y="315"/>
                      <a:pt x="2060" y="317"/>
                      <a:pt x="2059" y="318"/>
                    </a:cubicBezTo>
                    <a:cubicBezTo>
                      <a:pt x="2058" y="320"/>
                      <a:pt x="2056" y="321"/>
                      <a:pt x="2054" y="321"/>
                    </a:cubicBezTo>
                    <a:cubicBezTo>
                      <a:pt x="2051" y="322"/>
                      <a:pt x="2048" y="323"/>
                      <a:pt x="2044" y="324"/>
                    </a:cubicBezTo>
                    <a:cubicBezTo>
                      <a:pt x="2039" y="324"/>
                      <a:pt x="2034" y="324"/>
                      <a:pt x="2028" y="324"/>
                    </a:cubicBezTo>
                    <a:cubicBezTo>
                      <a:pt x="2022" y="324"/>
                      <a:pt x="2016" y="324"/>
                      <a:pt x="2012" y="324"/>
                    </a:cubicBezTo>
                    <a:cubicBezTo>
                      <a:pt x="2008" y="323"/>
                      <a:pt x="2005" y="322"/>
                      <a:pt x="2002" y="321"/>
                    </a:cubicBezTo>
                    <a:cubicBezTo>
                      <a:pt x="2000" y="321"/>
                      <a:pt x="1998" y="320"/>
                      <a:pt x="1997" y="318"/>
                    </a:cubicBezTo>
                    <a:cubicBezTo>
                      <a:pt x="1996" y="317"/>
                      <a:pt x="1995" y="315"/>
                      <a:pt x="1995" y="314"/>
                    </a:cubicBezTo>
                    <a:lnTo>
                      <a:pt x="1995" y="55"/>
                    </a:lnTo>
                    <a:lnTo>
                      <a:pt x="1915" y="55"/>
                    </a:lnTo>
                    <a:cubicBezTo>
                      <a:pt x="1913" y="55"/>
                      <a:pt x="1912" y="54"/>
                      <a:pt x="1910" y="53"/>
                    </a:cubicBezTo>
                    <a:cubicBezTo>
                      <a:pt x="1909" y="52"/>
                      <a:pt x="1908" y="51"/>
                      <a:pt x="1907" y="49"/>
                    </a:cubicBezTo>
                    <a:cubicBezTo>
                      <a:pt x="1907" y="47"/>
                      <a:pt x="1906" y="44"/>
                      <a:pt x="1905" y="40"/>
                    </a:cubicBezTo>
                    <a:cubicBezTo>
                      <a:pt x="1905" y="37"/>
                      <a:pt x="1905" y="33"/>
                      <a:pt x="1905" y="28"/>
                    </a:cubicBezTo>
                    <a:cubicBezTo>
                      <a:pt x="1905" y="23"/>
                      <a:pt x="1905" y="19"/>
                      <a:pt x="1905" y="15"/>
                    </a:cubicBezTo>
                    <a:cubicBezTo>
                      <a:pt x="1906" y="12"/>
                      <a:pt x="1907" y="9"/>
                      <a:pt x="1907" y="7"/>
                    </a:cubicBezTo>
                    <a:cubicBezTo>
                      <a:pt x="1908" y="5"/>
                      <a:pt x="1909" y="4"/>
                      <a:pt x="1910" y="3"/>
                    </a:cubicBezTo>
                    <a:cubicBezTo>
                      <a:pt x="1912" y="2"/>
                      <a:pt x="1913" y="1"/>
                      <a:pt x="1915" y="1"/>
                    </a:cubicBezTo>
                    <a:lnTo>
                      <a:pt x="2141" y="1"/>
                    </a:lnTo>
                    <a:cubicBezTo>
                      <a:pt x="2143" y="1"/>
                      <a:pt x="2144" y="2"/>
                      <a:pt x="2145" y="3"/>
                    </a:cubicBezTo>
                    <a:cubicBezTo>
                      <a:pt x="2146" y="4"/>
                      <a:pt x="2148" y="5"/>
                      <a:pt x="2148" y="7"/>
                    </a:cubicBezTo>
                    <a:cubicBezTo>
                      <a:pt x="2149" y="9"/>
                      <a:pt x="2150" y="12"/>
                      <a:pt x="2150" y="15"/>
                    </a:cubicBezTo>
                    <a:cubicBezTo>
                      <a:pt x="2151" y="19"/>
                      <a:pt x="2151" y="23"/>
                      <a:pt x="2151" y="28"/>
                    </a:cubicBezTo>
                    <a:close/>
                    <a:moveTo>
                      <a:pt x="2451" y="314"/>
                    </a:moveTo>
                    <a:cubicBezTo>
                      <a:pt x="2451" y="316"/>
                      <a:pt x="2450" y="317"/>
                      <a:pt x="2449" y="319"/>
                    </a:cubicBezTo>
                    <a:cubicBezTo>
                      <a:pt x="2448" y="320"/>
                      <a:pt x="2446" y="321"/>
                      <a:pt x="2444" y="322"/>
                    </a:cubicBezTo>
                    <a:cubicBezTo>
                      <a:pt x="2441" y="323"/>
                      <a:pt x="2438" y="323"/>
                      <a:pt x="2433" y="324"/>
                    </a:cubicBezTo>
                    <a:cubicBezTo>
                      <a:pt x="2429" y="324"/>
                      <a:pt x="2424" y="324"/>
                      <a:pt x="2418" y="324"/>
                    </a:cubicBezTo>
                    <a:cubicBezTo>
                      <a:pt x="2411" y="324"/>
                      <a:pt x="2406" y="324"/>
                      <a:pt x="2402" y="324"/>
                    </a:cubicBezTo>
                    <a:cubicBezTo>
                      <a:pt x="2398" y="323"/>
                      <a:pt x="2394" y="323"/>
                      <a:pt x="2392" y="322"/>
                    </a:cubicBezTo>
                    <a:cubicBezTo>
                      <a:pt x="2390" y="321"/>
                      <a:pt x="2388" y="320"/>
                      <a:pt x="2387" y="319"/>
                    </a:cubicBezTo>
                    <a:cubicBezTo>
                      <a:pt x="2386" y="317"/>
                      <a:pt x="2385" y="316"/>
                      <a:pt x="2385" y="314"/>
                    </a:cubicBezTo>
                    <a:lnTo>
                      <a:pt x="2385" y="145"/>
                    </a:lnTo>
                    <a:cubicBezTo>
                      <a:pt x="2385" y="138"/>
                      <a:pt x="2385" y="132"/>
                      <a:pt x="2386" y="126"/>
                    </a:cubicBezTo>
                    <a:cubicBezTo>
                      <a:pt x="2386" y="120"/>
                      <a:pt x="2386" y="114"/>
                      <a:pt x="2386" y="109"/>
                    </a:cubicBezTo>
                    <a:lnTo>
                      <a:pt x="2386" y="109"/>
                    </a:lnTo>
                    <a:cubicBezTo>
                      <a:pt x="2385" y="112"/>
                      <a:pt x="2383" y="114"/>
                      <a:pt x="2381" y="117"/>
                    </a:cubicBezTo>
                    <a:cubicBezTo>
                      <a:pt x="2379" y="121"/>
                      <a:pt x="2377" y="124"/>
                      <a:pt x="2375" y="127"/>
                    </a:cubicBezTo>
                    <a:cubicBezTo>
                      <a:pt x="2373" y="131"/>
                      <a:pt x="2371" y="134"/>
                      <a:pt x="2369" y="138"/>
                    </a:cubicBezTo>
                    <a:cubicBezTo>
                      <a:pt x="2366" y="141"/>
                      <a:pt x="2364" y="145"/>
                      <a:pt x="2362" y="148"/>
                    </a:cubicBezTo>
                    <a:lnTo>
                      <a:pt x="2250" y="315"/>
                    </a:lnTo>
                    <a:cubicBezTo>
                      <a:pt x="2249" y="316"/>
                      <a:pt x="2247" y="318"/>
                      <a:pt x="2246" y="319"/>
                    </a:cubicBezTo>
                    <a:cubicBezTo>
                      <a:pt x="2245" y="321"/>
                      <a:pt x="2243" y="322"/>
                      <a:pt x="2240" y="322"/>
                    </a:cubicBezTo>
                    <a:cubicBezTo>
                      <a:pt x="2238" y="323"/>
                      <a:pt x="2235" y="324"/>
                      <a:pt x="2232" y="324"/>
                    </a:cubicBezTo>
                    <a:cubicBezTo>
                      <a:pt x="2229" y="324"/>
                      <a:pt x="2225" y="324"/>
                      <a:pt x="2220" y="324"/>
                    </a:cubicBezTo>
                    <a:cubicBezTo>
                      <a:pt x="2213" y="324"/>
                      <a:pt x="2208" y="324"/>
                      <a:pt x="2204" y="324"/>
                    </a:cubicBezTo>
                    <a:cubicBezTo>
                      <a:pt x="2200" y="323"/>
                      <a:pt x="2197" y="323"/>
                      <a:pt x="2195" y="322"/>
                    </a:cubicBezTo>
                    <a:cubicBezTo>
                      <a:pt x="2193" y="321"/>
                      <a:pt x="2191" y="320"/>
                      <a:pt x="2190" y="319"/>
                    </a:cubicBezTo>
                    <a:cubicBezTo>
                      <a:pt x="2189" y="317"/>
                      <a:pt x="2189" y="316"/>
                      <a:pt x="2189" y="314"/>
                    </a:cubicBezTo>
                    <a:lnTo>
                      <a:pt x="2189" y="10"/>
                    </a:lnTo>
                    <a:cubicBezTo>
                      <a:pt x="2189" y="8"/>
                      <a:pt x="2189" y="7"/>
                      <a:pt x="2191" y="5"/>
                    </a:cubicBezTo>
                    <a:cubicBezTo>
                      <a:pt x="2192" y="4"/>
                      <a:pt x="2193" y="3"/>
                      <a:pt x="2196" y="2"/>
                    </a:cubicBezTo>
                    <a:cubicBezTo>
                      <a:pt x="2199" y="1"/>
                      <a:pt x="2202" y="1"/>
                      <a:pt x="2206" y="0"/>
                    </a:cubicBezTo>
                    <a:cubicBezTo>
                      <a:pt x="2210" y="0"/>
                      <a:pt x="2215" y="0"/>
                      <a:pt x="2222" y="0"/>
                    </a:cubicBezTo>
                    <a:cubicBezTo>
                      <a:pt x="2228" y="0"/>
                      <a:pt x="2233" y="0"/>
                      <a:pt x="2238" y="0"/>
                    </a:cubicBezTo>
                    <a:cubicBezTo>
                      <a:pt x="2242" y="1"/>
                      <a:pt x="2245" y="1"/>
                      <a:pt x="2247" y="2"/>
                    </a:cubicBezTo>
                    <a:cubicBezTo>
                      <a:pt x="2250" y="3"/>
                      <a:pt x="2252" y="4"/>
                      <a:pt x="2253" y="5"/>
                    </a:cubicBezTo>
                    <a:cubicBezTo>
                      <a:pt x="2254" y="7"/>
                      <a:pt x="2254" y="8"/>
                      <a:pt x="2254" y="10"/>
                    </a:cubicBezTo>
                    <a:lnTo>
                      <a:pt x="2254" y="180"/>
                    </a:lnTo>
                    <a:cubicBezTo>
                      <a:pt x="2254" y="185"/>
                      <a:pt x="2254" y="191"/>
                      <a:pt x="2254" y="197"/>
                    </a:cubicBezTo>
                    <a:cubicBezTo>
                      <a:pt x="2254" y="203"/>
                      <a:pt x="2254" y="209"/>
                      <a:pt x="2253" y="214"/>
                    </a:cubicBezTo>
                    <a:lnTo>
                      <a:pt x="2254" y="214"/>
                    </a:lnTo>
                    <a:cubicBezTo>
                      <a:pt x="2257" y="209"/>
                      <a:pt x="2260" y="204"/>
                      <a:pt x="2264" y="197"/>
                    </a:cubicBezTo>
                    <a:cubicBezTo>
                      <a:pt x="2269" y="190"/>
                      <a:pt x="2273" y="183"/>
                      <a:pt x="2278" y="176"/>
                    </a:cubicBezTo>
                    <a:lnTo>
                      <a:pt x="2390" y="10"/>
                    </a:lnTo>
                    <a:cubicBezTo>
                      <a:pt x="2391" y="8"/>
                      <a:pt x="2392" y="6"/>
                      <a:pt x="2393" y="5"/>
                    </a:cubicBezTo>
                    <a:cubicBezTo>
                      <a:pt x="2395" y="4"/>
                      <a:pt x="2396" y="3"/>
                      <a:pt x="2399" y="2"/>
                    </a:cubicBezTo>
                    <a:cubicBezTo>
                      <a:pt x="2401" y="1"/>
                      <a:pt x="2404" y="1"/>
                      <a:pt x="2407" y="0"/>
                    </a:cubicBezTo>
                    <a:cubicBezTo>
                      <a:pt x="2410" y="0"/>
                      <a:pt x="2415" y="0"/>
                      <a:pt x="2420" y="0"/>
                    </a:cubicBezTo>
                    <a:cubicBezTo>
                      <a:pt x="2426" y="0"/>
                      <a:pt x="2431" y="0"/>
                      <a:pt x="2435" y="0"/>
                    </a:cubicBezTo>
                    <a:cubicBezTo>
                      <a:pt x="2439" y="1"/>
                      <a:pt x="2442" y="1"/>
                      <a:pt x="2444" y="2"/>
                    </a:cubicBezTo>
                    <a:cubicBezTo>
                      <a:pt x="2447" y="3"/>
                      <a:pt x="2448" y="4"/>
                      <a:pt x="2449" y="5"/>
                    </a:cubicBezTo>
                    <a:cubicBezTo>
                      <a:pt x="2450" y="7"/>
                      <a:pt x="2451" y="8"/>
                      <a:pt x="2451" y="10"/>
                    </a:cubicBezTo>
                    <a:lnTo>
                      <a:pt x="2451" y="314"/>
                    </a:lnTo>
                    <a:close/>
                    <a:moveTo>
                      <a:pt x="2759" y="314"/>
                    </a:moveTo>
                    <a:cubicBezTo>
                      <a:pt x="2759" y="316"/>
                      <a:pt x="2758" y="317"/>
                      <a:pt x="2757" y="319"/>
                    </a:cubicBezTo>
                    <a:cubicBezTo>
                      <a:pt x="2756" y="320"/>
                      <a:pt x="2754" y="321"/>
                      <a:pt x="2752" y="322"/>
                    </a:cubicBezTo>
                    <a:cubicBezTo>
                      <a:pt x="2749" y="323"/>
                      <a:pt x="2746" y="323"/>
                      <a:pt x="2741" y="324"/>
                    </a:cubicBezTo>
                    <a:cubicBezTo>
                      <a:pt x="2737" y="324"/>
                      <a:pt x="2732" y="324"/>
                      <a:pt x="2725" y="324"/>
                    </a:cubicBezTo>
                    <a:cubicBezTo>
                      <a:pt x="2718" y="324"/>
                      <a:pt x="2712" y="324"/>
                      <a:pt x="2708" y="324"/>
                    </a:cubicBezTo>
                    <a:cubicBezTo>
                      <a:pt x="2703" y="323"/>
                      <a:pt x="2700" y="323"/>
                      <a:pt x="2697" y="322"/>
                    </a:cubicBezTo>
                    <a:cubicBezTo>
                      <a:pt x="2694" y="321"/>
                      <a:pt x="2692" y="319"/>
                      <a:pt x="2691" y="318"/>
                    </a:cubicBezTo>
                    <a:cubicBezTo>
                      <a:pt x="2690" y="316"/>
                      <a:pt x="2689" y="314"/>
                      <a:pt x="2688" y="312"/>
                    </a:cubicBezTo>
                    <a:lnTo>
                      <a:pt x="2662" y="241"/>
                    </a:lnTo>
                    <a:cubicBezTo>
                      <a:pt x="2659" y="230"/>
                      <a:pt x="2655" y="221"/>
                      <a:pt x="2651" y="214"/>
                    </a:cubicBezTo>
                    <a:cubicBezTo>
                      <a:pt x="2647" y="207"/>
                      <a:pt x="2642" y="202"/>
                      <a:pt x="2638" y="197"/>
                    </a:cubicBezTo>
                    <a:cubicBezTo>
                      <a:pt x="2633" y="193"/>
                      <a:pt x="2627" y="190"/>
                      <a:pt x="2621" y="188"/>
                    </a:cubicBezTo>
                    <a:cubicBezTo>
                      <a:pt x="2615" y="186"/>
                      <a:pt x="2608" y="185"/>
                      <a:pt x="2601" y="185"/>
                    </a:cubicBezTo>
                    <a:lnTo>
                      <a:pt x="2586" y="185"/>
                    </a:lnTo>
                    <a:lnTo>
                      <a:pt x="2586" y="314"/>
                    </a:lnTo>
                    <a:cubicBezTo>
                      <a:pt x="2586" y="316"/>
                      <a:pt x="2585" y="317"/>
                      <a:pt x="2584" y="318"/>
                    </a:cubicBezTo>
                    <a:cubicBezTo>
                      <a:pt x="2583" y="320"/>
                      <a:pt x="2582" y="321"/>
                      <a:pt x="2579" y="322"/>
                    </a:cubicBezTo>
                    <a:cubicBezTo>
                      <a:pt x="2577" y="323"/>
                      <a:pt x="2573" y="323"/>
                      <a:pt x="2569" y="324"/>
                    </a:cubicBezTo>
                    <a:cubicBezTo>
                      <a:pt x="2565" y="324"/>
                      <a:pt x="2560" y="324"/>
                      <a:pt x="2553" y="324"/>
                    </a:cubicBezTo>
                    <a:cubicBezTo>
                      <a:pt x="2547" y="324"/>
                      <a:pt x="2542" y="324"/>
                      <a:pt x="2538" y="324"/>
                    </a:cubicBezTo>
                    <a:cubicBezTo>
                      <a:pt x="2533" y="323"/>
                      <a:pt x="2530" y="323"/>
                      <a:pt x="2527" y="322"/>
                    </a:cubicBezTo>
                    <a:cubicBezTo>
                      <a:pt x="2525" y="321"/>
                      <a:pt x="2523" y="320"/>
                      <a:pt x="2522" y="318"/>
                    </a:cubicBezTo>
                    <a:cubicBezTo>
                      <a:pt x="2521" y="317"/>
                      <a:pt x="2521" y="316"/>
                      <a:pt x="2521" y="314"/>
                    </a:cubicBezTo>
                    <a:lnTo>
                      <a:pt x="2521" y="10"/>
                    </a:lnTo>
                    <a:cubicBezTo>
                      <a:pt x="2521" y="8"/>
                      <a:pt x="2521" y="7"/>
                      <a:pt x="2522" y="5"/>
                    </a:cubicBezTo>
                    <a:cubicBezTo>
                      <a:pt x="2523" y="4"/>
                      <a:pt x="2525" y="3"/>
                      <a:pt x="2527" y="2"/>
                    </a:cubicBezTo>
                    <a:cubicBezTo>
                      <a:pt x="2530" y="1"/>
                      <a:pt x="2533" y="1"/>
                      <a:pt x="2538" y="0"/>
                    </a:cubicBezTo>
                    <a:cubicBezTo>
                      <a:pt x="2542" y="0"/>
                      <a:pt x="2547" y="0"/>
                      <a:pt x="2553" y="0"/>
                    </a:cubicBezTo>
                    <a:cubicBezTo>
                      <a:pt x="2560" y="0"/>
                      <a:pt x="2565" y="0"/>
                      <a:pt x="2569" y="0"/>
                    </a:cubicBezTo>
                    <a:cubicBezTo>
                      <a:pt x="2573" y="1"/>
                      <a:pt x="2577" y="1"/>
                      <a:pt x="2579" y="2"/>
                    </a:cubicBezTo>
                    <a:cubicBezTo>
                      <a:pt x="2582" y="3"/>
                      <a:pt x="2583" y="4"/>
                      <a:pt x="2584" y="5"/>
                    </a:cubicBezTo>
                    <a:cubicBezTo>
                      <a:pt x="2585" y="7"/>
                      <a:pt x="2586" y="8"/>
                      <a:pt x="2586" y="10"/>
                    </a:cubicBezTo>
                    <a:lnTo>
                      <a:pt x="2586" y="131"/>
                    </a:lnTo>
                    <a:lnTo>
                      <a:pt x="2601" y="131"/>
                    </a:lnTo>
                    <a:cubicBezTo>
                      <a:pt x="2608" y="131"/>
                      <a:pt x="2615" y="130"/>
                      <a:pt x="2620" y="128"/>
                    </a:cubicBezTo>
                    <a:cubicBezTo>
                      <a:pt x="2626" y="126"/>
                      <a:pt x="2631" y="123"/>
                      <a:pt x="2635" y="118"/>
                    </a:cubicBezTo>
                    <a:cubicBezTo>
                      <a:pt x="2640" y="114"/>
                      <a:pt x="2644" y="108"/>
                      <a:pt x="2648" y="102"/>
                    </a:cubicBezTo>
                    <a:cubicBezTo>
                      <a:pt x="2652" y="95"/>
                      <a:pt x="2655" y="86"/>
                      <a:pt x="2659" y="76"/>
                    </a:cubicBezTo>
                    <a:lnTo>
                      <a:pt x="2680" y="12"/>
                    </a:lnTo>
                    <a:cubicBezTo>
                      <a:pt x="2681" y="10"/>
                      <a:pt x="2682" y="8"/>
                      <a:pt x="2683" y="6"/>
                    </a:cubicBezTo>
                    <a:cubicBezTo>
                      <a:pt x="2684" y="5"/>
                      <a:pt x="2686" y="3"/>
                      <a:pt x="2689" y="2"/>
                    </a:cubicBezTo>
                    <a:cubicBezTo>
                      <a:pt x="2691" y="1"/>
                      <a:pt x="2695" y="1"/>
                      <a:pt x="2699" y="0"/>
                    </a:cubicBezTo>
                    <a:cubicBezTo>
                      <a:pt x="2703" y="0"/>
                      <a:pt x="2709" y="0"/>
                      <a:pt x="2716" y="0"/>
                    </a:cubicBezTo>
                    <a:cubicBezTo>
                      <a:pt x="2723" y="0"/>
                      <a:pt x="2728" y="0"/>
                      <a:pt x="2732" y="0"/>
                    </a:cubicBezTo>
                    <a:cubicBezTo>
                      <a:pt x="2736" y="1"/>
                      <a:pt x="2740" y="1"/>
                      <a:pt x="2742" y="2"/>
                    </a:cubicBezTo>
                    <a:cubicBezTo>
                      <a:pt x="2744" y="3"/>
                      <a:pt x="2746" y="4"/>
                      <a:pt x="2747" y="5"/>
                    </a:cubicBezTo>
                    <a:cubicBezTo>
                      <a:pt x="2748" y="6"/>
                      <a:pt x="2748" y="8"/>
                      <a:pt x="2748" y="10"/>
                    </a:cubicBezTo>
                    <a:cubicBezTo>
                      <a:pt x="2748" y="12"/>
                      <a:pt x="2748" y="15"/>
                      <a:pt x="2747" y="18"/>
                    </a:cubicBezTo>
                    <a:cubicBezTo>
                      <a:pt x="2746" y="21"/>
                      <a:pt x="2745" y="25"/>
                      <a:pt x="2743" y="30"/>
                    </a:cubicBezTo>
                    <a:lnTo>
                      <a:pt x="2722" y="87"/>
                    </a:lnTo>
                    <a:cubicBezTo>
                      <a:pt x="2718" y="98"/>
                      <a:pt x="2714" y="107"/>
                      <a:pt x="2710" y="114"/>
                    </a:cubicBezTo>
                    <a:cubicBezTo>
                      <a:pt x="2706" y="122"/>
                      <a:pt x="2701" y="128"/>
                      <a:pt x="2697" y="133"/>
                    </a:cubicBezTo>
                    <a:cubicBezTo>
                      <a:pt x="2693" y="139"/>
                      <a:pt x="2688" y="143"/>
                      <a:pt x="2683" y="146"/>
                    </a:cubicBezTo>
                    <a:cubicBezTo>
                      <a:pt x="2678" y="149"/>
                      <a:pt x="2673" y="152"/>
                      <a:pt x="2667" y="154"/>
                    </a:cubicBezTo>
                    <a:lnTo>
                      <a:pt x="2667" y="155"/>
                    </a:lnTo>
                    <a:cubicBezTo>
                      <a:pt x="2674" y="157"/>
                      <a:pt x="2680" y="161"/>
                      <a:pt x="2685" y="164"/>
                    </a:cubicBezTo>
                    <a:cubicBezTo>
                      <a:pt x="2690" y="168"/>
                      <a:pt x="2695" y="172"/>
                      <a:pt x="2700" y="178"/>
                    </a:cubicBezTo>
                    <a:cubicBezTo>
                      <a:pt x="2705" y="183"/>
                      <a:pt x="2709" y="190"/>
                      <a:pt x="2714" y="198"/>
                    </a:cubicBezTo>
                    <a:cubicBezTo>
                      <a:pt x="2718" y="206"/>
                      <a:pt x="2722" y="215"/>
                      <a:pt x="2727" y="227"/>
                    </a:cubicBezTo>
                    <a:lnTo>
                      <a:pt x="2753" y="294"/>
                    </a:lnTo>
                    <a:cubicBezTo>
                      <a:pt x="2756" y="300"/>
                      <a:pt x="2757" y="305"/>
                      <a:pt x="2758" y="308"/>
                    </a:cubicBezTo>
                    <a:cubicBezTo>
                      <a:pt x="2758" y="310"/>
                      <a:pt x="2759" y="312"/>
                      <a:pt x="2759" y="314"/>
                    </a:cubicBezTo>
                    <a:close/>
                    <a:moveTo>
                      <a:pt x="3070" y="298"/>
                    </a:moveTo>
                    <a:cubicBezTo>
                      <a:pt x="3072" y="304"/>
                      <a:pt x="3074" y="309"/>
                      <a:pt x="3074" y="313"/>
                    </a:cubicBezTo>
                    <a:cubicBezTo>
                      <a:pt x="3075" y="316"/>
                      <a:pt x="3074" y="319"/>
                      <a:pt x="3072" y="320"/>
                    </a:cubicBezTo>
                    <a:cubicBezTo>
                      <a:pt x="3070" y="322"/>
                      <a:pt x="3067" y="323"/>
                      <a:pt x="3062" y="324"/>
                    </a:cubicBezTo>
                    <a:cubicBezTo>
                      <a:pt x="3058" y="324"/>
                      <a:pt x="3051" y="324"/>
                      <a:pt x="3043" y="324"/>
                    </a:cubicBezTo>
                    <a:cubicBezTo>
                      <a:pt x="3035" y="324"/>
                      <a:pt x="3028" y="324"/>
                      <a:pt x="3023" y="324"/>
                    </a:cubicBezTo>
                    <a:cubicBezTo>
                      <a:pt x="3019" y="324"/>
                      <a:pt x="3015" y="323"/>
                      <a:pt x="3013" y="322"/>
                    </a:cubicBezTo>
                    <a:cubicBezTo>
                      <a:pt x="3010" y="322"/>
                      <a:pt x="3008" y="321"/>
                      <a:pt x="3007" y="319"/>
                    </a:cubicBezTo>
                    <a:cubicBezTo>
                      <a:pt x="3007" y="318"/>
                      <a:pt x="3006" y="316"/>
                      <a:pt x="3005" y="314"/>
                    </a:cubicBezTo>
                    <a:lnTo>
                      <a:pt x="2983" y="249"/>
                    </a:lnTo>
                    <a:lnTo>
                      <a:pt x="2863" y="249"/>
                    </a:lnTo>
                    <a:lnTo>
                      <a:pt x="2842" y="312"/>
                    </a:lnTo>
                    <a:cubicBezTo>
                      <a:pt x="2842" y="315"/>
                      <a:pt x="2841" y="317"/>
                      <a:pt x="2840" y="318"/>
                    </a:cubicBezTo>
                    <a:cubicBezTo>
                      <a:pt x="2839" y="320"/>
                      <a:pt x="2837" y="321"/>
                      <a:pt x="2834" y="322"/>
                    </a:cubicBezTo>
                    <a:cubicBezTo>
                      <a:pt x="2832" y="323"/>
                      <a:pt x="2829" y="323"/>
                      <a:pt x="2824" y="324"/>
                    </a:cubicBezTo>
                    <a:cubicBezTo>
                      <a:pt x="2820" y="324"/>
                      <a:pt x="2814" y="324"/>
                      <a:pt x="2807" y="324"/>
                    </a:cubicBezTo>
                    <a:cubicBezTo>
                      <a:pt x="2799" y="324"/>
                      <a:pt x="2793" y="324"/>
                      <a:pt x="2789" y="324"/>
                    </a:cubicBezTo>
                    <a:cubicBezTo>
                      <a:pt x="2785" y="323"/>
                      <a:pt x="2782" y="322"/>
                      <a:pt x="2780" y="320"/>
                    </a:cubicBezTo>
                    <a:cubicBezTo>
                      <a:pt x="2779" y="318"/>
                      <a:pt x="2778" y="315"/>
                      <a:pt x="2778" y="312"/>
                    </a:cubicBezTo>
                    <a:cubicBezTo>
                      <a:pt x="2779" y="308"/>
                      <a:pt x="2780" y="304"/>
                      <a:pt x="2782" y="298"/>
                    </a:cubicBezTo>
                    <a:lnTo>
                      <a:pt x="2881" y="13"/>
                    </a:lnTo>
                    <a:cubicBezTo>
                      <a:pt x="2882" y="10"/>
                      <a:pt x="2883" y="8"/>
                      <a:pt x="2885" y="6"/>
                    </a:cubicBezTo>
                    <a:cubicBezTo>
                      <a:pt x="2886" y="4"/>
                      <a:pt x="2888" y="3"/>
                      <a:pt x="2891" y="2"/>
                    </a:cubicBezTo>
                    <a:cubicBezTo>
                      <a:pt x="2894" y="1"/>
                      <a:pt x="2898" y="0"/>
                      <a:pt x="2903" y="0"/>
                    </a:cubicBezTo>
                    <a:cubicBezTo>
                      <a:pt x="2908" y="0"/>
                      <a:pt x="2915" y="0"/>
                      <a:pt x="2924" y="0"/>
                    </a:cubicBezTo>
                    <a:cubicBezTo>
                      <a:pt x="2933" y="0"/>
                      <a:pt x="2941" y="0"/>
                      <a:pt x="2947" y="0"/>
                    </a:cubicBezTo>
                    <a:cubicBezTo>
                      <a:pt x="2953" y="0"/>
                      <a:pt x="2957" y="1"/>
                      <a:pt x="2960" y="2"/>
                    </a:cubicBezTo>
                    <a:cubicBezTo>
                      <a:pt x="2964" y="3"/>
                      <a:pt x="2966" y="4"/>
                      <a:pt x="2967" y="6"/>
                    </a:cubicBezTo>
                    <a:cubicBezTo>
                      <a:pt x="2969" y="8"/>
                      <a:pt x="2970" y="10"/>
                      <a:pt x="2971" y="13"/>
                    </a:cubicBezTo>
                    <a:lnTo>
                      <a:pt x="3070" y="298"/>
                    </a:lnTo>
                    <a:close/>
                    <a:moveTo>
                      <a:pt x="2923" y="63"/>
                    </a:moveTo>
                    <a:lnTo>
                      <a:pt x="2922" y="63"/>
                    </a:lnTo>
                    <a:lnTo>
                      <a:pt x="2877" y="199"/>
                    </a:lnTo>
                    <a:lnTo>
                      <a:pt x="2968" y="199"/>
                    </a:lnTo>
                    <a:lnTo>
                      <a:pt x="2923" y="63"/>
                    </a:lnTo>
                    <a:close/>
                  </a:path>
                </a:pathLst>
              </a:custGeom>
              <a:solidFill>
                <a:srgbClr val="198CC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6" name="Freeform 1218"/>
              <p:cNvSpPr>
                <a:spLocks noEditPoints="1"/>
              </p:cNvSpPr>
              <p:nvPr/>
            </p:nvSpPr>
            <p:spPr bwMode="auto">
              <a:xfrm>
                <a:off x="3021" y="2601"/>
                <a:ext cx="824" cy="76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187" y="51"/>
                  </a:cxn>
                  <a:cxn ang="0">
                    <a:pos x="172" y="160"/>
                  </a:cxn>
                  <a:cxn ang="0">
                    <a:pos x="188" y="281"/>
                  </a:cxn>
                  <a:cxn ang="0">
                    <a:pos x="422" y="322"/>
                  </a:cxn>
                  <a:cxn ang="0">
                    <a:pos x="310" y="11"/>
                  </a:cxn>
                  <a:cxn ang="0">
                    <a:pos x="458" y="56"/>
                  </a:cxn>
                  <a:cxn ang="0">
                    <a:pos x="339" y="63"/>
                  </a:cxn>
                  <a:cxn ang="0">
                    <a:pos x="427" y="263"/>
                  </a:cxn>
                  <a:cxn ang="0">
                    <a:pos x="717" y="53"/>
                  </a:cxn>
                  <a:cxn ang="0">
                    <a:pos x="581" y="328"/>
                  </a:cxn>
                  <a:cxn ang="0">
                    <a:pos x="474" y="32"/>
                  </a:cxn>
                  <a:cxn ang="0">
                    <a:pos x="720" y="32"/>
                  </a:cxn>
                  <a:cxn ang="0">
                    <a:pos x="758" y="26"/>
                  </a:cxn>
                  <a:cxn ang="0">
                    <a:pos x="945" y="51"/>
                  </a:cxn>
                  <a:cxn ang="0">
                    <a:pos x="930" y="160"/>
                  </a:cxn>
                  <a:cxn ang="0">
                    <a:pos x="946" y="281"/>
                  </a:cxn>
                  <a:cxn ang="0">
                    <a:pos x="1180" y="322"/>
                  </a:cxn>
                  <a:cxn ang="0">
                    <a:pos x="1068" y="11"/>
                  </a:cxn>
                  <a:cxn ang="0">
                    <a:pos x="1216" y="56"/>
                  </a:cxn>
                  <a:cxn ang="0">
                    <a:pos x="1097" y="63"/>
                  </a:cxn>
                  <a:cxn ang="0">
                    <a:pos x="1185" y="263"/>
                  </a:cxn>
                  <a:cxn ang="0">
                    <a:pos x="1475" y="53"/>
                  </a:cxn>
                  <a:cxn ang="0">
                    <a:pos x="1339" y="328"/>
                  </a:cxn>
                  <a:cxn ang="0">
                    <a:pos x="1232" y="32"/>
                  </a:cxn>
                  <a:cxn ang="0">
                    <a:pos x="1478" y="32"/>
                  </a:cxn>
                  <a:cxn ang="0">
                    <a:pos x="1522" y="322"/>
                  </a:cxn>
                  <a:cxn ang="0">
                    <a:pos x="1730" y="87"/>
                  </a:cxn>
                  <a:cxn ang="0">
                    <a:pos x="1664" y="95"/>
                  </a:cxn>
                  <a:cxn ang="0">
                    <a:pos x="1653" y="125"/>
                  </a:cxn>
                  <a:cxn ang="0">
                    <a:pos x="1580" y="277"/>
                  </a:cxn>
                  <a:cxn ang="0">
                    <a:pos x="2002" y="321"/>
                  </a:cxn>
                  <a:cxn ang="0">
                    <a:pos x="1941" y="0"/>
                  </a:cxn>
                  <a:cxn ang="0">
                    <a:pos x="1939" y="53"/>
                  </a:cxn>
                  <a:cxn ang="0">
                    <a:pos x="1978" y="270"/>
                  </a:cxn>
                  <a:cxn ang="0">
                    <a:pos x="2176" y="330"/>
                  </a:cxn>
                  <a:cxn ang="0">
                    <a:pos x="2129" y="259"/>
                  </a:cxn>
                  <a:cxn ang="0">
                    <a:pos x="2255" y="214"/>
                  </a:cxn>
                  <a:cxn ang="0">
                    <a:pos x="2147" y="149"/>
                  </a:cxn>
                  <a:cxn ang="0">
                    <a:pos x="2251" y="75"/>
                  </a:cxn>
                  <a:cxn ang="0">
                    <a:pos x="2128" y="68"/>
                  </a:cxn>
                  <a:cxn ang="0">
                    <a:pos x="2191" y="2"/>
                  </a:cxn>
                  <a:cxn ang="0">
                    <a:pos x="2266" y="157"/>
                  </a:cxn>
                  <a:cxn ang="0">
                    <a:pos x="2620" y="328"/>
                  </a:cxn>
                  <a:cxn ang="0">
                    <a:pos x="2450" y="322"/>
                  </a:cxn>
                  <a:cxn ang="0">
                    <a:pos x="2388" y="10"/>
                  </a:cxn>
                  <a:cxn ang="0">
                    <a:pos x="2572" y="132"/>
                  </a:cxn>
                  <a:cxn ang="0">
                    <a:pos x="2637" y="14"/>
                  </a:cxn>
                  <a:cxn ang="0">
                    <a:pos x="2908" y="323"/>
                  </a:cxn>
                  <a:cxn ang="0">
                    <a:pos x="2689" y="328"/>
                  </a:cxn>
                  <a:cxn ang="0">
                    <a:pos x="2847" y="4"/>
                  </a:cxn>
                  <a:cxn ang="0">
                    <a:pos x="2823" y="67"/>
                  </a:cxn>
                  <a:cxn ang="0">
                    <a:pos x="3201" y="318"/>
                  </a:cxn>
                  <a:cxn ang="0">
                    <a:pos x="3023" y="325"/>
                  </a:cxn>
                  <a:cxn ang="0">
                    <a:pos x="3074" y="7"/>
                  </a:cxn>
                  <a:cxn ang="0">
                    <a:pos x="3234" y="4"/>
                  </a:cxn>
                  <a:cxn ang="0">
                    <a:pos x="3581" y="328"/>
                  </a:cxn>
                  <a:cxn ang="0">
                    <a:pos x="3534" y="113"/>
                  </a:cxn>
                  <a:cxn ang="0">
                    <a:pos x="3367" y="328"/>
                  </a:cxn>
                  <a:cxn ang="0">
                    <a:pos x="3369" y="4"/>
                  </a:cxn>
                  <a:cxn ang="0">
                    <a:pos x="3412" y="201"/>
                  </a:cxn>
                  <a:cxn ang="0">
                    <a:pos x="3597" y="9"/>
                  </a:cxn>
                </a:cxnLst>
                <a:rect l="0" t="0" r="r" b="b"/>
                <a:pathLst>
                  <a:path w="3598" h="332">
                    <a:moveTo>
                      <a:pt x="191" y="301"/>
                    </a:moveTo>
                    <a:cubicBezTo>
                      <a:pt x="191" y="306"/>
                      <a:pt x="190" y="310"/>
                      <a:pt x="190" y="313"/>
                    </a:cubicBezTo>
                    <a:cubicBezTo>
                      <a:pt x="190" y="316"/>
                      <a:pt x="189" y="319"/>
                      <a:pt x="188" y="321"/>
                    </a:cubicBezTo>
                    <a:cubicBezTo>
                      <a:pt x="187" y="323"/>
                      <a:pt x="186" y="324"/>
                      <a:pt x="185" y="325"/>
                    </a:cubicBezTo>
                    <a:cubicBezTo>
                      <a:pt x="184" y="326"/>
                      <a:pt x="182" y="327"/>
                      <a:pt x="181" y="327"/>
                    </a:cubicBezTo>
                    <a:lnTo>
                      <a:pt x="19" y="327"/>
                    </a:lnTo>
                    <a:cubicBezTo>
                      <a:pt x="14" y="327"/>
                      <a:pt x="9" y="325"/>
                      <a:pt x="6" y="322"/>
                    </a:cubicBezTo>
                    <a:cubicBezTo>
                      <a:pt x="2" y="319"/>
                      <a:pt x="0" y="313"/>
                      <a:pt x="0" y="306"/>
                    </a:cubicBezTo>
                    <a:lnTo>
                      <a:pt x="0" y="26"/>
                    </a:lnTo>
                    <a:cubicBezTo>
                      <a:pt x="0" y="19"/>
                      <a:pt x="2" y="13"/>
                      <a:pt x="6" y="10"/>
                    </a:cubicBezTo>
                    <a:cubicBezTo>
                      <a:pt x="9" y="7"/>
                      <a:pt x="14" y="5"/>
                      <a:pt x="19" y="5"/>
                    </a:cubicBezTo>
                    <a:lnTo>
                      <a:pt x="180" y="5"/>
                    </a:lnTo>
                    <a:cubicBezTo>
                      <a:pt x="181" y="5"/>
                      <a:pt x="183" y="6"/>
                      <a:pt x="184" y="7"/>
                    </a:cubicBezTo>
                    <a:cubicBezTo>
                      <a:pt x="185" y="7"/>
                      <a:pt x="186" y="9"/>
                      <a:pt x="187" y="11"/>
                    </a:cubicBezTo>
                    <a:cubicBezTo>
                      <a:pt x="188" y="13"/>
                      <a:pt x="188" y="16"/>
                      <a:pt x="189" y="19"/>
                    </a:cubicBezTo>
                    <a:cubicBezTo>
                      <a:pt x="189" y="22"/>
                      <a:pt x="189" y="26"/>
                      <a:pt x="189" y="31"/>
                    </a:cubicBezTo>
                    <a:cubicBezTo>
                      <a:pt x="189" y="36"/>
                      <a:pt x="189" y="40"/>
                      <a:pt x="189" y="43"/>
                    </a:cubicBezTo>
                    <a:cubicBezTo>
                      <a:pt x="188" y="46"/>
                      <a:pt x="188" y="49"/>
                      <a:pt x="187" y="51"/>
                    </a:cubicBezTo>
                    <a:cubicBezTo>
                      <a:pt x="186" y="53"/>
                      <a:pt x="185" y="54"/>
                      <a:pt x="184" y="55"/>
                    </a:cubicBezTo>
                    <a:cubicBezTo>
                      <a:pt x="183" y="56"/>
                      <a:pt x="181" y="56"/>
                      <a:pt x="180" y="56"/>
                    </a:cubicBezTo>
                    <a:lnTo>
                      <a:pt x="65" y="56"/>
                    </a:lnTo>
                    <a:lnTo>
                      <a:pt x="65" y="135"/>
                    </a:lnTo>
                    <a:lnTo>
                      <a:pt x="162" y="135"/>
                    </a:lnTo>
                    <a:cubicBezTo>
                      <a:pt x="164" y="135"/>
                      <a:pt x="165" y="135"/>
                      <a:pt x="166" y="136"/>
                    </a:cubicBezTo>
                    <a:cubicBezTo>
                      <a:pt x="168" y="137"/>
                      <a:pt x="169" y="139"/>
                      <a:pt x="169" y="141"/>
                    </a:cubicBezTo>
                    <a:cubicBezTo>
                      <a:pt x="170" y="143"/>
                      <a:pt x="171" y="145"/>
                      <a:pt x="171" y="148"/>
                    </a:cubicBezTo>
                    <a:cubicBezTo>
                      <a:pt x="172" y="151"/>
                      <a:pt x="172" y="155"/>
                      <a:pt x="172" y="160"/>
                    </a:cubicBezTo>
                    <a:cubicBezTo>
                      <a:pt x="172" y="165"/>
                      <a:pt x="172" y="169"/>
                      <a:pt x="171" y="172"/>
                    </a:cubicBezTo>
                    <a:cubicBezTo>
                      <a:pt x="171" y="175"/>
                      <a:pt x="170" y="178"/>
                      <a:pt x="169" y="180"/>
                    </a:cubicBezTo>
                    <a:cubicBezTo>
                      <a:pt x="169" y="182"/>
                      <a:pt x="168" y="183"/>
                      <a:pt x="166" y="184"/>
                    </a:cubicBezTo>
                    <a:cubicBezTo>
                      <a:pt x="165" y="184"/>
                      <a:pt x="164" y="185"/>
                      <a:pt x="162" y="185"/>
                    </a:cubicBezTo>
                    <a:lnTo>
                      <a:pt x="65" y="185"/>
                    </a:lnTo>
                    <a:lnTo>
                      <a:pt x="65" y="276"/>
                    </a:lnTo>
                    <a:lnTo>
                      <a:pt x="181" y="276"/>
                    </a:lnTo>
                    <a:cubicBezTo>
                      <a:pt x="182" y="276"/>
                      <a:pt x="184" y="276"/>
                      <a:pt x="185" y="277"/>
                    </a:cubicBezTo>
                    <a:cubicBezTo>
                      <a:pt x="186" y="278"/>
                      <a:pt x="187" y="279"/>
                      <a:pt x="188" y="281"/>
                    </a:cubicBezTo>
                    <a:cubicBezTo>
                      <a:pt x="189" y="283"/>
                      <a:pt x="190" y="286"/>
                      <a:pt x="190" y="289"/>
                    </a:cubicBezTo>
                    <a:cubicBezTo>
                      <a:pt x="190" y="292"/>
                      <a:pt x="191" y="296"/>
                      <a:pt x="191" y="301"/>
                    </a:cubicBezTo>
                    <a:close/>
                    <a:moveTo>
                      <a:pt x="459" y="278"/>
                    </a:moveTo>
                    <a:cubicBezTo>
                      <a:pt x="459" y="282"/>
                      <a:pt x="459" y="286"/>
                      <a:pt x="459" y="289"/>
                    </a:cubicBezTo>
                    <a:cubicBezTo>
                      <a:pt x="458" y="291"/>
                      <a:pt x="458" y="294"/>
                      <a:pt x="458" y="296"/>
                    </a:cubicBezTo>
                    <a:cubicBezTo>
                      <a:pt x="457" y="298"/>
                      <a:pt x="456" y="300"/>
                      <a:pt x="456" y="301"/>
                    </a:cubicBezTo>
                    <a:cubicBezTo>
                      <a:pt x="455" y="303"/>
                      <a:pt x="453" y="305"/>
                      <a:pt x="452" y="307"/>
                    </a:cubicBezTo>
                    <a:cubicBezTo>
                      <a:pt x="450" y="308"/>
                      <a:pt x="446" y="311"/>
                      <a:pt x="441" y="314"/>
                    </a:cubicBezTo>
                    <a:cubicBezTo>
                      <a:pt x="436" y="317"/>
                      <a:pt x="429" y="320"/>
                      <a:pt x="422" y="322"/>
                    </a:cubicBezTo>
                    <a:cubicBezTo>
                      <a:pt x="414" y="325"/>
                      <a:pt x="406" y="327"/>
                      <a:pt x="396" y="329"/>
                    </a:cubicBezTo>
                    <a:cubicBezTo>
                      <a:pt x="386" y="331"/>
                      <a:pt x="376" y="332"/>
                      <a:pt x="365" y="332"/>
                    </a:cubicBezTo>
                    <a:cubicBezTo>
                      <a:pt x="343" y="332"/>
                      <a:pt x="323" y="329"/>
                      <a:pt x="305" y="322"/>
                    </a:cubicBezTo>
                    <a:cubicBezTo>
                      <a:pt x="287" y="315"/>
                      <a:pt x="272" y="305"/>
                      <a:pt x="260" y="291"/>
                    </a:cubicBezTo>
                    <a:cubicBezTo>
                      <a:pt x="247" y="278"/>
                      <a:pt x="238" y="261"/>
                      <a:pt x="231" y="241"/>
                    </a:cubicBezTo>
                    <a:cubicBezTo>
                      <a:pt x="225" y="221"/>
                      <a:pt x="221" y="197"/>
                      <a:pt x="221" y="170"/>
                    </a:cubicBezTo>
                    <a:cubicBezTo>
                      <a:pt x="221" y="143"/>
                      <a:pt x="225" y="119"/>
                      <a:pt x="232" y="97"/>
                    </a:cubicBezTo>
                    <a:cubicBezTo>
                      <a:pt x="240" y="76"/>
                      <a:pt x="250" y="58"/>
                      <a:pt x="263" y="44"/>
                    </a:cubicBezTo>
                    <a:cubicBezTo>
                      <a:pt x="276" y="30"/>
                      <a:pt x="292" y="19"/>
                      <a:pt x="310" y="11"/>
                    </a:cubicBezTo>
                    <a:cubicBezTo>
                      <a:pt x="328" y="4"/>
                      <a:pt x="348" y="0"/>
                      <a:pt x="370" y="0"/>
                    </a:cubicBezTo>
                    <a:cubicBezTo>
                      <a:pt x="379" y="0"/>
                      <a:pt x="388" y="1"/>
                      <a:pt x="396" y="2"/>
                    </a:cubicBezTo>
                    <a:cubicBezTo>
                      <a:pt x="405" y="4"/>
                      <a:pt x="412" y="6"/>
                      <a:pt x="419" y="8"/>
                    </a:cubicBezTo>
                    <a:cubicBezTo>
                      <a:pt x="426" y="11"/>
                      <a:pt x="433" y="13"/>
                      <a:pt x="438" y="16"/>
                    </a:cubicBezTo>
                    <a:cubicBezTo>
                      <a:pt x="444" y="20"/>
                      <a:pt x="448" y="22"/>
                      <a:pt x="450" y="25"/>
                    </a:cubicBezTo>
                    <a:cubicBezTo>
                      <a:pt x="452" y="27"/>
                      <a:pt x="454" y="29"/>
                      <a:pt x="455" y="30"/>
                    </a:cubicBezTo>
                    <a:cubicBezTo>
                      <a:pt x="455" y="32"/>
                      <a:pt x="456" y="34"/>
                      <a:pt x="457" y="36"/>
                    </a:cubicBezTo>
                    <a:cubicBezTo>
                      <a:pt x="457" y="38"/>
                      <a:pt x="457" y="41"/>
                      <a:pt x="458" y="44"/>
                    </a:cubicBezTo>
                    <a:cubicBezTo>
                      <a:pt x="458" y="47"/>
                      <a:pt x="458" y="51"/>
                      <a:pt x="458" y="56"/>
                    </a:cubicBezTo>
                    <a:cubicBezTo>
                      <a:pt x="458" y="61"/>
                      <a:pt x="458" y="65"/>
                      <a:pt x="458" y="68"/>
                    </a:cubicBezTo>
                    <a:cubicBezTo>
                      <a:pt x="457" y="72"/>
                      <a:pt x="457" y="75"/>
                      <a:pt x="456" y="77"/>
                    </a:cubicBezTo>
                    <a:cubicBezTo>
                      <a:pt x="455" y="79"/>
                      <a:pt x="454" y="81"/>
                      <a:pt x="453" y="82"/>
                    </a:cubicBezTo>
                    <a:cubicBezTo>
                      <a:pt x="452" y="83"/>
                      <a:pt x="450" y="83"/>
                      <a:pt x="449" y="83"/>
                    </a:cubicBezTo>
                    <a:cubicBezTo>
                      <a:pt x="446" y="83"/>
                      <a:pt x="443" y="82"/>
                      <a:pt x="439" y="79"/>
                    </a:cubicBezTo>
                    <a:cubicBezTo>
                      <a:pt x="436" y="76"/>
                      <a:pt x="431" y="73"/>
                      <a:pt x="425" y="69"/>
                    </a:cubicBezTo>
                    <a:cubicBezTo>
                      <a:pt x="419" y="65"/>
                      <a:pt x="411" y="62"/>
                      <a:pt x="403" y="59"/>
                    </a:cubicBezTo>
                    <a:cubicBezTo>
                      <a:pt x="395" y="56"/>
                      <a:pt x="385" y="55"/>
                      <a:pt x="373" y="55"/>
                    </a:cubicBezTo>
                    <a:cubicBezTo>
                      <a:pt x="360" y="55"/>
                      <a:pt x="349" y="58"/>
                      <a:pt x="339" y="63"/>
                    </a:cubicBezTo>
                    <a:cubicBezTo>
                      <a:pt x="329" y="68"/>
                      <a:pt x="320" y="76"/>
                      <a:pt x="313" y="85"/>
                    </a:cubicBezTo>
                    <a:cubicBezTo>
                      <a:pt x="306" y="95"/>
                      <a:pt x="301" y="107"/>
                      <a:pt x="297" y="120"/>
                    </a:cubicBezTo>
                    <a:cubicBezTo>
                      <a:pt x="294" y="134"/>
                      <a:pt x="292" y="150"/>
                      <a:pt x="292" y="167"/>
                    </a:cubicBezTo>
                    <a:cubicBezTo>
                      <a:pt x="292" y="186"/>
                      <a:pt x="294" y="202"/>
                      <a:pt x="298" y="216"/>
                    </a:cubicBezTo>
                    <a:cubicBezTo>
                      <a:pt x="302" y="230"/>
                      <a:pt x="307" y="241"/>
                      <a:pt x="314" y="250"/>
                    </a:cubicBezTo>
                    <a:cubicBezTo>
                      <a:pt x="322" y="259"/>
                      <a:pt x="330" y="266"/>
                      <a:pt x="340" y="270"/>
                    </a:cubicBezTo>
                    <a:cubicBezTo>
                      <a:pt x="351" y="274"/>
                      <a:pt x="362" y="277"/>
                      <a:pt x="375" y="277"/>
                    </a:cubicBezTo>
                    <a:cubicBezTo>
                      <a:pt x="387" y="277"/>
                      <a:pt x="397" y="275"/>
                      <a:pt x="405" y="273"/>
                    </a:cubicBezTo>
                    <a:cubicBezTo>
                      <a:pt x="413" y="270"/>
                      <a:pt x="421" y="267"/>
                      <a:pt x="427" y="263"/>
                    </a:cubicBezTo>
                    <a:cubicBezTo>
                      <a:pt x="433" y="260"/>
                      <a:pt x="438" y="257"/>
                      <a:pt x="442" y="254"/>
                    </a:cubicBezTo>
                    <a:cubicBezTo>
                      <a:pt x="446" y="252"/>
                      <a:pt x="448" y="251"/>
                      <a:pt x="451" y="251"/>
                    </a:cubicBezTo>
                    <a:cubicBezTo>
                      <a:pt x="452" y="251"/>
                      <a:pt x="454" y="251"/>
                      <a:pt x="455" y="251"/>
                    </a:cubicBezTo>
                    <a:cubicBezTo>
                      <a:pt x="456" y="252"/>
                      <a:pt x="456" y="253"/>
                      <a:pt x="457" y="255"/>
                    </a:cubicBezTo>
                    <a:cubicBezTo>
                      <a:pt x="458" y="257"/>
                      <a:pt x="458" y="260"/>
                      <a:pt x="459" y="264"/>
                    </a:cubicBezTo>
                    <a:cubicBezTo>
                      <a:pt x="459" y="267"/>
                      <a:pt x="459" y="272"/>
                      <a:pt x="459" y="278"/>
                    </a:cubicBezTo>
                    <a:close/>
                    <a:moveTo>
                      <a:pt x="720" y="32"/>
                    </a:moveTo>
                    <a:cubicBezTo>
                      <a:pt x="720" y="37"/>
                      <a:pt x="720" y="41"/>
                      <a:pt x="719" y="44"/>
                    </a:cubicBezTo>
                    <a:cubicBezTo>
                      <a:pt x="719" y="48"/>
                      <a:pt x="718" y="51"/>
                      <a:pt x="717" y="53"/>
                    </a:cubicBezTo>
                    <a:cubicBezTo>
                      <a:pt x="717" y="55"/>
                      <a:pt x="716" y="56"/>
                      <a:pt x="714" y="57"/>
                    </a:cubicBezTo>
                    <a:cubicBezTo>
                      <a:pt x="713" y="58"/>
                      <a:pt x="712" y="59"/>
                      <a:pt x="710" y="59"/>
                    </a:cubicBezTo>
                    <a:lnTo>
                      <a:pt x="630" y="59"/>
                    </a:lnTo>
                    <a:lnTo>
                      <a:pt x="630" y="318"/>
                    </a:lnTo>
                    <a:cubicBezTo>
                      <a:pt x="630" y="319"/>
                      <a:pt x="629" y="321"/>
                      <a:pt x="628" y="322"/>
                    </a:cubicBezTo>
                    <a:cubicBezTo>
                      <a:pt x="627" y="324"/>
                      <a:pt x="625" y="325"/>
                      <a:pt x="623" y="325"/>
                    </a:cubicBezTo>
                    <a:cubicBezTo>
                      <a:pt x="620" y="326"/>
                      <a:pt x="617" y="327"/>
                      <a:pt x="613" y="328"/>
                    </a:cubicBezTo>
                    <a:cubicBezTo>
                      <a:pt x="609" y="328"/>
                      <a:pt x="603" y="328"/>
                      <a:pt x="597" y="328"/>
                    </a:cubicBezTo>
                    <a:cubicBezTo>
                      <a:pt x="591" y="328"/>
                      <a:pt x="585" y="328"/>
                      <a:pt x="581" y="328"/>
                    </a:cubicBezTo>
                    <a:cubicBezTo>
                      <a:pt x="577" y="327"/>
                      <a:pt x="574" y="326"/>
                      <a:pt x="571" y="325"/>
                    </a:cubicBezTo>
                    <a:cubicBezTo>
                      <a:pt x="569" y="325"/>
                      <a:pt x="567" y="324"/>
                      <a:pt x="566" y="322"/>
                    </a:cubicBezTo>
                    <a:cubicBezTo>
                      <a:pt x="565" y="321"/>
                      <a:pt x="564" y="319"/>
                      <a:pt x="564" y="318"/>
                    </a:cubicBezTo>
                    <a:lnTo>
                      <a:pt x="564" y="59"/>
                    </a:lnTo>
                    <a:lnTo>
                      <a:pt x="484" y="59"/>
                    </a:lnTo>
                    <a:cubicBezTo>
                      <a:pt x="482" y="59"/>
                      <a:pt x="481" y="58"/>
                      <a:pt x="480" y="57"/>
                    </a:cubicBezTo>
                    <a:cubicBezTo>
                      <a:pt x="478" y="56"/>
                      <a:pt x="477" y="55"/>
                      <a:pt x="476" y="53"/>
                    </a:cubicBezTo>
                    <a:cubicBezTo>
                      <a:pt x="476" y="51"/>
                      <a:pt x="475" y="48"/>
                      <a:pt x="475" y="44"/>
                    </a:cubicBezTo>
                    <a:cubicBezTo>
                      <a:pt x="474" y="41"/>
                      <a:pt x="474" y="37"/>
                      <a:pt x="474" y="32"/>
                    </a:cubicBezTo>
                    <a:cubicBezTo>
                      <a:pt x="474" y="27"/>
                      <a:pt x="474" y="23"/>
                      <a:pt x="475" y="19"/>
                    </a:cubicBezTo>
                    <a:cubicBezTo>
                      <a:pt x="475" y="16"/>
                      <a:pt x="476" y="13"/>
                      <a:pt x="476" y="11"/>
                    </a:cubicBezTo>
                    <a:cubicBezTo>
                      <a:pt x="477" y="9"/>
                      <a:pt x="478" y="8"/>
                      <a:pt x="480" y="7"/>
                    </a:cubicBezTo>
                    <a:cubicBezTo>
                      <a:pt x="481" y="6"/>
                      <a:pt x="482" y="5"/>
                      <a:pt x="484" y="5"/>
                    </a:cubicBezTo>
                    <a:lnTo>
                      <a:pt x="710" y="5"/>
                    </a:lnTo>
                    <a:cubicBezTo>
                      <a:pt x="712" y="5"/>
                      <a:pt x="713" y="6"/>
                      <a:pt x="714" y="7"/>
                    </a:cubicBezTo>
                    <a:cubicBezTo>
                      <a:pt x="716" y="8"/>
                      <a:pt x="717" y="9"/>
                      <a:pt x="717" y="11"/>
                    </a:cubicBezTo>
                    <a:cubicBezTo>
                      <a:pt x="718" y="13"/>
                      <a:pt x="719" y="16"/>
                      <a:pt x="719" y="19"/>
                    </a:cubicBezTo>
                    <a:cubicBezTo>
                      <a:pt x="720" y="23"/>
                      <a:pt x="720" y="27"/>
                      <a:pt x="720" y="32"/>
                    </a:cubicBezTo>
                    <a:close/>
                    <a:moveTo>
                      <a:pt x="949" y="301"/>
                    </a:moveTo>
                    <a:cubicBezTo>
                      <a:pt x="949" y="306"/>
                      <a:pt x="948" y="310"/>
                      <a:pt x="948" y="313"/>
                    </a:cubicBezTo>
                    <a:cubicBezTo>
                      <a:pt x="948" y="316"/>
                      <a:pt x="947" y="319"/>
                      <a:pt x="946" y="321"/>
                    </a:cubicBezTo>
                    <a:cubicBezTo>
                      <a:pt x="945" y="323"/>
                      <a:pt x="944" y="324"/>
                      <a:pt x="943" y="325"/>
                    </a:cubicBezTo>
                    <a:cubicBezTo>
                      <a:pt x="942" y="326"/>
                      <a:pt x="940" y="327"/>
                      <a:pt x="939" y="327"/>
                    </a:cubicBezTo>
                    <a:lnTo>
                      <a:pt x="777" y="327"/>
                    </a:lnTo>
                    <a:cubicBezTo>
                      <a:pt x="772" y="327"/>
                      <a:pt x="767" y="325"/>
                      <a:pt x="764" y="322"/>
                    </a:cubicBezTo>
                    <a:cubicBezTo>
                      <a:pt x="760" y="319"/>
                      <a:pt x="758" y="313"/>
                      <a:pt x="758" y="306"/>
                    </a:cubicBezTo>
                    <a:lnTo>
                      <a:pt x="758" y="26"/>
                    </a:lnTo>
                    <a:cubicBezTo>
                      <a:pt x="758" y="19"/>
                      <a:pt x="760" y="13"/>
                      <a:pt x="764" y="10"/>
                    </a:cubicBezTo>
                    <a:cubicBezTo>
                      <a:pt x="767" y="7"/>
                      <a:pt x="772" y="5"/>
                      <a:pt x="777" y="5"/>
                    </a:cubicBezTo>
                    <a:lnTo>
                      <a:pt x="938" y="5"/>
                    </a:lnTo>
                    <a:cubicBezTo>
                      <a:pt x="939" y="5"/>
                      <a:pt x="941" y="6"/>
                      <a:pt x="942" y="7"/>
                    </a:cubicBezTo>
                    <a:cubicBezTo>
                      <a:pt x="943" y="7"/>
                      <a:pt x="944" y="9"/>
                      <a:pt x="945" y="11"/>
                    </a:cubicBezTo>
                    <a:cubicBezTo>
                      <a:pt x="946" y="13"/>
                      <a:pt x="946" y="16"/>
                      <a:pt x="947" y="19"/>
                    </a:cubicBezTo>
                    <a:cubicBezTo>
                      <a:pt x="947" y="22"/>
                      <a:pt x="947" y="26"/>
                      <a:pt x="947" y="31"/>
                    </a:cubicBezTo>
                    <a:cubicBezTo>
                      <a:pt x="947" y="36"/>
                      <a:pt x="947" y="40"/>
                      <a:pt x="947" y="43"/>
                    </a:cubicBezTo>
                    <a:cubicBezTo>
                      <a:pt x="946" y="46"/>
                      <a:pt x="946" y="49"/>
                      <a:pt x="945" y="51"/>
                    </a:cubicBezTo>
                    <a:cubicBezTo>
                      <a:pt x="944" y="53"/>
                      <a:pt x="943" y="54"/>
                      <a:pt x="942" y="55"/>
                    </a:cubicBezTo>
                    <a:cubicBezTo>
                      <a:pt x="941" y="56"/>
                      <a:pt x="939" y="56"/>
                      <a:pt x="938" y="56"/>
                    </a:cubicBezTo>
                    <a:lnTo>
                      <a:pt x="823" y="56"/>
                    </a:lnTo>
                    <a:lnTo>
                      <a:pt x="823" y="135"/>
                    </a:lnTo>
                    <a:lnTo>
                      <a:pt x="920" y="135"/>
                    </a:lnTo>
                    <a:cubicBezTo>
                      <a:pt x="922" y="135"/>
                      <a:pt x="923" y="135"/>
                      <a:pt x="924" y="136"/>
                    </a:cubicBezTo>
                    <a:cubicBezTo>
                      <a:pt x="926" y="137"/>
                      <a:pt x="927" y="139"/>
                      <a:pt x="927" y="141"/>
                    </a:cubicBezTo>
                    <a:cubicBezTo>
                      <a:pt x="928" y="143"/>
                      <a:pt x="929" y="145"/>
                      <a:pt x="929" y="148"/>
                    </a:cubicBezTo>
                    <a:cubicBezTo>
                      <a:pt x="930" y="151"/>
                      <a:pt x="930" y="155"/>
                      <a:pt x="930" y="160"/>
                    </a:cubicBezTo>
                    <a:cubicBezTo>
                      <a:pt x="930" y="165"/>
                      <a:pt x="930" y="169"/>
                      <a:pt x="929" y="172"/>
                    </a:cubicBezTo>
                    <a:cubicBezTo>
                      <a:pt x="929" y="175"/>
                      <a:pt x="928" y="178"/>
                      <a:pt x="927" y="180"/>
                    </a:cubicBezTo>
                    <a:cubicBezTo>
                      <a:pt x="927" y="182"/>
                      <a:pt x="926" y="183"/>
                      <a:pt x="924" y="184"/>
                    </a:cubicBezTo>
                    <a:cubicBezTo>
                      <a:pt x="923" y="184"/>
                      <a:pt x="922" y="185"/>
                      <a:pt x="920" y="185"/>
                    </a:cubicBezTo>
                    <a:lnTo>
                      <a:pt x="823" y="185"/>
                    </a:lnTo>
                    <a:lnTo>
                      <a:pt x="823" y="276"/>
                    </a:lnTo>
                    <a:lnTo>
                      <a:pt x="939" y="276"/>
                    </a:lnTo>
                    <a:cubicBezTo>
                      <a:pt x="940" y="276"/>
                      <a:pt x="942" y="276"/>
                      <a:pt x="943" y="277"/>
                    </a:cubicBezTo>
                    <a:cubicBezTo>
                      <a:pt x="944" y="278"/>
                      <a:pt x="945" y="279"/>
                      <a:pt x="946" y="281"/>
                    </a:cubicBezTo>
                    <a:cubicBezTo>
                      <a:pt x="947" y="283"/>
                      <a:pt x="948" y="286"/>
                      <a:pt x="948" y="289"/>
                    </a:cubicBezTo>
                    <a:cubicBezTo>
                      <a:pt x="948" y="292"/>
                      <a:pt x="949" y="296"/>
                      <a:pt x="949" y="301"/>
                    </a:cubicBezTo>
                    <a:close/>
                    <a:moveTo>
                      <a:pt x="1217" y="278"/>
                    </a:moveTo>
                    <a:cubicBezTo>
                      <a:pt x="1217" y="282"/>
                      <a:pt x="1217" y="286"/>
                      <a:pt x="1217" y="289"/>
                    </a:cubicBezTo>
                    <a:cubicBezTo>
                      <a:pt x="1217" y="291"/>
                      <a:pt x="1216" y="294"/>
                      <a:pt x="1216" y="296"/>
                    </a:cubicBezTo>
                    <a:cubicBezTo>
                      <a:pt x="1215" y="298"/>
                      <a:pt x="1214" y="300"/>
                      <a:pt x="1214" y="301"/>
                    </a:cubicBezTo>
                    <a:cubicBezTo>
                      <a:pt x="1213" y="303"/>
                      <a:pt x="1212" y="305"/>
                      <a:pt x="1210" y="307"/>
                    </a:cubicBezTo>
                    <a:cubicBezTo>
                      <a:pt x="1208" y="308"/>
                      <a:pt x="1204" y="311"/>
                      <a:pt x="1199" y="314"/>
                    </a:cubicBezTo>
                    <a:cubicBezTo>
                      <a:pt x="1194" y="317"/>
                      <a:pt x="1188" y="320"/>
                      <a:pt x="1180" y="322"/>
                    </a:cubicBezTo>
                    <a:cubicBezTo>
                      <a:pt x="1172" y="325"/>
                      <a:pt x="1164" y="327"/>
                      <a:pt x="1154" y="329"/>
                    </a:cubicBezTo>
                    <a:cubicBezTo>
                      <a:pt x="1144" y="331"/>
                      <a:pt x="1134" y="332"/>
                      <a:pt x="1123" y="332"/>
                    </a:cubicBezTo>
                    <a:cubicBezTo>
                      <a:pt x="1101" y="332"/>
                      <a:pt x="1081" y="329"/>
                      <a:pt x="1063" y="322"/>
                    </a:cubicBezTo>
                    <a:cubicBezTo>
                      <a:pt x="1045" y="315"/>
                      <a:pt x="1030" y="305"/>
                      <a:pt x="1018" y="291"/>
                    </a:cubicBezTo>
                    <a:cubicBezTo>
                      <a:pt x="1005" y="278"/>
                      <a:pt x="996" y="261"/>
                      <a:pt x="989" y="241"/>
                    </a:cubicBezTo>
                    <a:cubicBezTo>
                      <a:pt x="983" y="221"/>
                      <a:pt x="979" y="197"/>
                      <a:pt x="979" y="170"/>
                    </a:cubicBezTo>
                    <a:cubicBezTo>
                      <a:pt x="979" y="143"/>
                      <a:pt x="983" y="119"/>
                      <a:pt x="990" y="97"/>
                    </a:cubicBezTo>
                    <a:cubicBezTo>
                      <a:pt x="998" y="76"/>
                      <a:pt x="1008" y="58"/>
                      <a:pt x="1021" y="44"/>
                    </a:cubicBezTo>
                    <a:cubicBezTo>
                      <a:pt x="1034" y="30"/>
                      <a:pt x="1050" y="19"/>
                      <a:pt x="1068" y="11"/>
                    </a:cubicBezTo>
                    <a:cubicBezTo>
                      <a:pt x="1086" y="4"/>
                      <a:pt x="1106" y="0"/>
                      <a:pt x="1128" y="0"/>
                    </a:cubicBezTo>
                    <a:cubicBezTo>
                      <a:pt x="1137" y="0"/>
                      <a:pt x="1146" y="1"/>
                      <a:pt x="1154" y="2"/>
                    </a:cubicBezTo>
                    <a:cubicBezTo>
                      <a:pt x="1163" y="4"/>
                      <a:pt x="1170" y="6"/>
                      <a:pt x="1177" y="8"/>
                    </a:cubicBezTo>
                    <a:cubicBezTo>
                      <a:pt x="1184" y="11"/>
                      <a:pt x="1191" y="13"/>
                      <a:pt x="1196" y="16"/>
                    </a:cubicBezTo>
                    <a:cubicBezTo>
                      <a:pt x="1202" y="20"/>
                      <a:pt x="1206" y="22"/>
                      <a:pt x="1208" y="25"/>
                    </a:cubicBezTo>
                    <a:cubicBezTo>
                      <a:pt x="1210" y="27"/>
                      <a:pt x="1212" y="29"/>
                      <a:pt x="1213" y="30"/>
                    </a:cubicBezTo>
                    <a:cubicBezTo>
                      <a:pt x="1213" y="32"/>
                      <a:pt x="1214" y="34"/>
                      <a:pt x="1215" y="36"/>
                    </a:cubicBezTo>
                    <a:cubicBezTo>
                      <a:pt x="1215" y="38"/>
                      <a:pt x="1215" y="41"/>
                      <a:pt x="1216" y="44"/>
                    </a:cubicBezTo>
                    <a:cubicBezTo>
                      <a:pt x="1216" y="47"/>
                      <a:pt x="1216" y="51"/>
                      <a:pt x="1216" y="56"/>
                    </a:cubicBezTo>
                    <a:cubicBezTo>
                      <a:pt x="1216" y="61"/>
                      <a:pt x="1216" y="65"/>
                      <a:pt x="1216" y="68"/>
                    </a:cubicBezTo>
                    <a:cubicBezTo>
                      <a:pt x="1215" y="72"/>
                      <a:pt x="1215" y="75"/>
                      <a:pt x="1214" y="77"/>
                    </a:cubicBezTo>
                    <a:cubicBezTo>
                      <a:pt x="1213" y="79"/>
                      <a:pt x="1212" y="81"/>
                      <a:pt x="1211" y="82"/>
                    </a:cubicBezTo>
                    <a:cubicBezTo>
                      <a:pt x="1210" y="83"/>
                      <a:pt x="1208" y="83"/>
                      <a:pt x="1207" y="83"/>
                    </a:cubicBezTo>
                    <a:cubicBezTo>
                      <a:pt x="1204" y="83"/>
                      <a:pt x="1201" y="82"/>
                      <a:pt x="1198" y="79"/>
                    </a:cubicBezTo>
                    <a:cubicBezTo>
                      <a:pt x="1194" y="76"/>
                      <a:pt x="1189" y="73"/>
                      <a:pt x="1183" y="69"/>
                    </a:cubicBezTo>
                    <a:cubicBezTo>
                      <a:pt x="1177" y="65"/>
                      <a:pt x="1169" y="62"/>
                      <a:pt x="1161" y="59"/>
                    </a:cubicBezTo>
                    <a:cubicBezTo>
                      <a:pt x="1153" y="56"/>
                      <a:pt x="1143" y="55"/>
                      <a:pt x="1131" y="55"/>
                    </a:cubicBezTo>
                    <a:cubicBezTo>
                      <a:pt x="1118" y="55"/>
                      <a:pt x="1107" y="58"/>
                      <a:pt x="1097" y="63"/>
                    </a:cubicBezTo>
                    <a:cubicBezTo>
                      <a:pt x="1087" y="68"/>
                      <a:pt x="1078" y="76"/>
                      <a:pt x="1071" y="85"/>
                    </a:cubicBezTo>
                    <a:cubicBezTo>
                      <a:pt x="1064" y="95"/>
                      <a:pt x="1059" y="107"/>
                      <a:pt x="1055" y="120"/>
                    </a:cubicBezTo>
                    <a:cubicBezTo>
                      <a:pt x="1052" y="134"/>
                      <a:pt x="1050" y="150"/>
                      <a:pt x="1050" y="167"/>
                    </a:cubicBezTo>
                    <a:cubicBezTo>
                      <a:pt x="1050" y="186"/>
                      <a:pt x="1052" y="202"/>
                      <a:pt x="1056" y="216"/>
                    </a:cubicBezTo>
                    <a:cubicBezTo>
                      <a:pt x="1060" y="230"/>
                      <a:pt x="1065" y="241"/>
                      <a:pt x="1072" y="250"/>
                    </a:cubicBezTo>
                    <a:cubicBezTo>
                      <a:pt x="1080" y="259"/>
                      <a:pt x="1088" y="266"/>
                      <a:pt x="1098" y="270"/>
                    </a:cubicBezTo>
                    <a:cubicBezTo>
                      <a:pt x="1109" y="274"/>
                      <a:pt x="1120" y="277"/>
                      <a:pt x="1133" y="277"/>
                    </a:cubicBezTo>
                    <a:cubicBezTo>
                      <a:pt x="1145" y="277"/>
                      <a:pt x="1155" y="275"/>
                      <a:pt x="1163" y="273"/>
                    </a:cubicBezTo>
                    <a:cubicBezTo>
                      <a:pt x="1171" y="270"/>
                      <a:pt x="1179" y="267"/>
                      <a:pt x="1185" y="263"/>
                    </a:cubicBezTo>
                    <a:cubicBezTo>
                      <a:pt x="1191" y="260"/>
                      <a:pt x="1196" y="257"/>
                      <a:pt x="1200" y="254"/>
                    </a:cubicBezTo>
                    <a:cubicBezTo>
                      <a:pt x="1204" y="252"/>
                      <a:pt x="1207" y="251"/>
                      <a:pt x="1209" y="251"/>
                    </a:cubicBezTo>
                    <a:cubicBezTo>
                      <a:pt x="1210" y="251"/>
                      <a:pt x="1212" y="251"/>
                      <a:pt x="1213" y="251"/>
                    </a:cubicBezTo>
                    <a:cubicBezTo>
                      <a:pt x="1214" y="252"/>
                      <a:pt x="1214" y="253"/>
                      <a:pt x="1215" y="255"/>
                    </a:cubicBezTo>
                    <a:cubicBezTo>
                      <a:pt x="1216" y="257"/>
                      <a:pt x="1216" y="260"/>
                      <a:pt x="1217" y="264"/>
                    </a:cubicBezTo>
                    <a:cubicBezTo>
                      <a:pt x="1217" y="267"/>
                      <a:pt x="1217" y="272"/>
                      <a:pt x="1217" y="278"/>
                    </a:cubicBezTo>
                    <a:close/>
                    <a:moveTo>
                      <a:pt x="1478" y="32"/>
                    </a:moveTo>
                    <a:cubicBezTo>
                      <a:pt x="1478" y="37"/>
                      <a:pt x="1478" y="41"/>
                      <a:pt x="1477" y="44"/>
                    </a:cubicBezTo>
                    <a:cubicBezTo>
                      <a:pt x="1477" y="48"/>
                      <a:pt x="1476" y="51"/>
                      <a:pt x="1475" y="53"/>
                    </a:cubicBezTo>
                    <a:cubicBezTo>
                      <a:pt x="1475" y="55"/>
                      <a:pt x="1474" y="56"/>
                      <a:pt x="1472" y="57"/>
                    </a:cubicBezTo>
                    <a:cubicBezTo>
                      <a:pt x="1471" y="58"/>
                      <a:pt x="1470" y="59"/>
                      <a:pt x="1468" y="59"/>
                    </a:cubicBezTo>
                    <a:lnTo>
                      <a:pt x="1388" y="59"/>
                    </a:lnTo>
                    <a:lnTo>
                      <a:pt x="1388" y="318"/>
                    </a:lnTo>
                    <a:cubicBezTo>
                      <a:pt x="1388" y="319"/>
                      <a:pt x="1387" y="321"/>
                      <a:pt x="1386" y="322"/>
                    </a:cubicBezTo>
                    <a:cubicBezTo>
                      <a:pt x="1385" y="324"/>
                      <a:pt x="1383" y="325"/>
                      <a:pt x="1381" y="325"/>
                    </a:cubicBezTo>
                    <a:cubicBezTo>
                      <a:pt x="1378" y="326"/>
                      <a:pt x="1375" y="327"/>
                      <a:pt x="1371" y="328"/>
                    </a:cubicBezTo>
                    <a:cubicBezTo>
                      <a:pt x="1367" y="328"/>
                      <a:pt x="1361" y="328"/>
                      <a:pt x="1355" y="328"/>
                    </a:cubicBezTo>
                    <a:cubicBezTo>
                      <a:pt x="1349" y="328"/>
                      <a:pt x="1343" y="328"/>
                      <a:pt x="1339" y="328"/>
                    </a:cubicBezTo>
                    <a:cubicBezTo>
                      <a:pt x="1335" y="327"/>
                      <a:pt x="1332" y="326"/>
                      <a:pt x="1329" y="325"/>
                    </a:cubicBezTo>
                    <a:cubicBezTo>
                      <a:pt x="1327" y="325"/>
                      <a:pt x="1325" y="324"/>
                      <a:pt x="1324" y="322"/>
                    </a:cubicBezTo>
                    <a:cubicBezTo>
                      <a:pt x="1323" y="321"/>
                      <a:pt x="1322" y="319"/>
                      <a:pt x="1322" y="318"/>
                    </a:cubicBezTo>
                    <a:lnTo>
                      <a:pt x="1322" y="59"/>
                    </a:lnTo>
                    <a:lnTo>
                      <a:pt x="1242" y="59"/>
                    </a:lnTo>
                    <a:cubicBezTo>
                      <a:pt x="1240" y="59"/>
                      <a:pt x="1239" y="58"/>
                      <a:pt x="1238" y="57"/>
                    </a:cubicBezTo>
                    <a:cubicBezTo>
                      <a:pt x="1236" y="56"/>
                      <a:pt x="1235" y="55"/>
                      <a:pt x="1234" y="53"/>
                    </a:cubicBezTo>
                    <a:cubicBezTo>
                      <a:pt x="1234" y="51"/>
                      <a:pt x="1233" y="48"/>
                      <a:pt x="1233" y="44"/>
                    </a:cubicBezTo>
                    <a:cubicBezTo>
                      <a:pt x="1232" y="41"/>
                      <a:pt x="1232" y="37"/>
                      <a:pt x="1232" y="32"/>
                    </a:cubicBezTo>
                    <a:cubicBezTo>
                      <a:pt x="1232" y="27"/>
                      <a:pt x="1232" y="23"/>
                      <a:pt x="1233" y="19"/>
                    </a:cubicBezTo>
                    <a:cubicBezTo>
                      <a:pt x="1233" y="16"/>
                      <a:pt x="1234" y="13"/>
                      <a:pt x="1234" y="11"/>
                    </a:cubicBezTo>
                    <a:cubicBezTo>
                      <a:pt x="1235" y="9"/>
                      <a:pt x="1236" y="8"/>
                      <a:pt x="1238" y="7"/>
                    </a:cubicBezTo>
                    <a:cubicBezTo>
                      <a:pt x="1239" y="6"/>
                      <a:pt x="1240" y="5"/>
                      <a:pt x="1242" y="5"/>
                    </a:cubicBezTo>
                    <a:lnTo>
                      <a:pt x="1468" y="5"/>
                    </a:lnTo>
                    <a:cubicBezTo>
                      <a:pt x="1470" y="5"/>
                      <a:pt x="1471" y="6"/>
                      <a:pt x="1472" y="7"/>
                    </a:cubicBezTo>
                    <a:cubicBezTo>
                      <a:pt x="1474" y="8"/>
                      <a:pt x="1475" y="9"/>
                      <a:pt x="1475" y="11"/>
                    </a:cubicBezTo>
                    <a:cubicBezTo>
                      <a:pt x="1476" y="13"/>
                      <a:pt x="1477" y="16"/>
                      <a:pt x="1477" y="19"/>
                    </a:cubicBezTo>
                    <a:cubicBezTo>
                      <a:pt x="1478" y="23"/>
                      <a:pt x="1478" y="27"/>
                      <a:pt x="1478" y="32"/>
                    </a:cubicBezTo>
                    <a:close/>
                    <a:moveTo>
                      <a:pt x="1749" y="230"/>
                    </a:moveTo>
                    <a:cubicBezTo>
                      <a:pt x="1749" y="242"/>
                      <a:pt x="1747" y="252"/>
                      <a:pt x="1744" y="261"/>
                    </a:cubicBezTo>
                    <a:cubicBezTo>
                      <a:pt x="1741" y="271"/>
                      <a:pt x="1737" y="279"/>
                      <a:pt x="1731" y="286"/>
                    </a:cubicBezTo>
                    <a:cubicBezTo>
                      <a:pt x="1725" y="293"/>
                      <a:pt x="1719" y="299"/>
                      <a:pt x="1711" y="304"/>
                    </a:cubicBezTo>
                    <a:cubicBezTo>
                      <a:pt x="1704" y="310"/>
                      <a:pt x="1695" y="314"/>
                      <a:pt x="1686" y="317"/>
                    </a:cubicBezTo>
                    <a:cubicBezTo>
                      <a:pt x="1676" y="320"/>
                      <a:pt x="1667" y="323"/>
                      <a:pt x="1656" y="324"/>
                    </a:cubicBezTo>
                    <a:cubicBezTo>
                      <a:pt x="1646" y="326"/>
                      <a:pt x="1634" y="327"/>
                      <a:pt x="1621" y="327"/>
                    </a:cubicBezTo>
                    <a:lnTo>
                      <a:pt x="1535" y="327"/>
                    </a:lnTo>
                    <a:cubicBezTo>
                      <a:pt x="1530" y="327"/>
                      <a:pt x="1525" y="325"/>
                      <a:pt x="1522" y="322"/>
                    </a:cubicBezTo>
                    <a:cubicBezTo>
                      <a:pt x="1518" y="319"/>
                      <a:pt x="1516" y="313"/>
                      <a:pt x="1516" y="306"/>
                    </a:cubicBezTo>
                    <a:lnTo>
                      <a:pt x="1516" y="26"/>
                    </a:lnTo>
                    <a:cubicBezTo>
                      <a:pt x="1516" y="19"/>
                      <a:pt x="1518" y="13"/>
                      <a:pt x="1522" y="10"/>
                    </a:cubicBezTo>
                    <a:cubicBezTo>
                      <a:pt x="1525" y="7"/>
                      <a:pt x="1530" y="5"/>
                      <a:pt x="1535" y="5"/>
                    </a:cubicBezTo>
                    <a:lnTo>
                      <a:pt x="1616" y="5"/>
                    </a:lnTo>
                    <a:cubicBezTo>
                      <a:pt x="1636" y="5"/>
                      <a:pt x="1653" y="7"/>
                      <a:pt x="1666" y="10"/>
                    </a:cubicBezTo>
                    <a:cubicBezTo>
                      <a:pt x="1680" y="14"/>
                      <a:pt x="1691" y="19"/>
                      <a:pt x="1701" y="25"/>
                    </a:cubicBezTo>
                    <a:cubicBezTo>
                      <a:pt x="1710" y="32"/>
                      <a:pt x="1717" y="40"/>
                      <a:pt x="1722" y="51"/>
                    </a:cubicBezTo>
                    <a:cubicBezTo>
                      <a:pt x="1727" y="61"/>
                      <a:pt x="1730" y="73"/>
                      <a:pt x="1730" y="87"/>
                    </a:cubicBezTo>
                    <a:cubicBezTo>
                      <a:pt x="1730" y="95"/>
                      <a:pt x="1729" y="102"/>
                      <a:pt x="1727" y="109"/>
                    </a:cubicBezTo>
                    <a:cubicBezTo>
                      <a:pt x="1725" y="116"/>
                      <a:pt x="1722" y="122"/>
                      <a:pt x="1718" y="128"/>
                    </a:cubicBezTo>
                    <a:cubicBezTo>
                      <a:pt x="1714" y="133"/>
                      <a:pt x="1710" y="138"/>
                      <a:pt x="1704" y="143"/>
                    </a:cubicBezTo>
                    <a:cubicBezTo>
                      <a:pt x="1698" y="147"/>
                      <a:pt x="1692" y="150"/>
                      <a:pt x="1685" y="153"/>
                    </a:cubicBezTo>
                    <a:cubicBezTo>
                      <a:pt x="1694" y="155"/>
                      <a:pt x="1703" y="158"/>
                      <a:pt x="1710" y="162"/>
                    </a:cubicBezTo>
                    <a:cubicBezTo>
                      <a:pt x="1718" y="166"/>
                      <a:pt x="1725" y="171"/>
                      <a:pt x="1730" y="178"/>
                    </a:cubicBezTo>
                    <a:cubicBezTo>
                      <a:pt x="1736" y="184"/>
                      <a:pt x="1741" y="192"/>
                      <a:pt x="1744" y="201"/>
                    </a:cubicBezTo>
                    <a:cubicBezTo>
                      <a:pt x="1747" y="210"/>
                      <a:pt x="1749" y="219"/>
                      <a:pt x="1749" y="230"/>
                    </a:cubicBezTo>
                    <a:close/>
                    <a:moveTo>
                      <a:pt x="1664" y="95"/>
                    </a:moveTo>
                    <a:cubicBezTo>
                      <a:pt x="1664" y="88"/>
                      <a:pt x="1663" y="83"/>
                      <a:pt x="1661" y="78"/>
                    </a:cubicBezTo>
                    <a:cubicBezTo>
                      <a:pt x="1659" y="72"/>
                      <a:pt x="1656" y="68"/>
                      <a:pt x="1652" y="65"/>
                    </a:cubicBezTo>
                    <a:cubicBezTo>
                      <a:pt x="1648" y="61"/>
                      <a:pt x="1643" y="59"/>
                      <a:pt x="1637" y="57"/>
                    </a:cubicBezTo>
                    <a:cubicBezTo>
                      <a:pt x="1631" y="55"/>
                      <a:pt x="1623" y="54"/>
                      <a:pt x="1613" y="54"/>
                    </a:cubicBezTo>
                    <a:lnTo>
                      <a:pt x="1580" y="54"/>
                    </a:lnTo>
                    <a:lnTo>
                      <a:pt x="1580" y="138"/>
                    </a:lnTo>
                    <a:lnTo>
                      <a:pt x="1617" y="138"/>
                    </a:lnTo>
                    <a:cubicBezTo>
                      <a:pt x="1626" y="138"/>
                      <a:pt x="1634" y="137"/>
                      <a:pt x="1639" y="134"/>
                    </a:cubicBezTo>
                    <a:cubicBezTo>
                      <a:pt x="1645" y="132"/>
                      <a:pt x="1650" y="129"/>
                      <a:pt x="1653" y="125"/>
                    </a:cubicBezTo>
                    <a:cubicBezTo>
                      <a:pt x="1657" y="121"/>
                      <a:pt x="1660" y="117"/>
                      <a:pt x="1662" y="111"/>
                    </a:cubicBezTo>
                    <a:cubicBezTo>
                      <a:pt x="1663" y="106"/>
                      <a:pt x="1664" y="101"/>
                      <a:pt x="1664" y="95"/>
                    </a:cubicBezTo>
                    <a:close/>
                    <a:moveTo>
                      <a:pt x="1681" y="233"/>
                    </a:moveTo>
                    <a:cubicBezTo>
                      <a:pt x="1681" y="225"/>
                      <a:pt x="1680" y="218"/>
                      <a:pt x="1677" y="213"/>
                    </a:cubicBezTo>
                    <a:cubicBezTo>
                      <a:pt x="1675" y="207"/>
                      <a:pt x="1671" y="202"/>
                      <a:pt x="1666" y="198"/>
                    </a:cubicBezTo>
                    <a:cubicBezTo>
                      <a:pt x="1662" y="194"/>
                      <a:pt x="1655" y="191"/>
                      <a:pt x="1648" y="189"/>
                    </a:cubicBezTo>
                    <a:cubicBezTo>
                      <a:pt x="1641" y="187"/>
                      <a:pt x="1631" y="185"/>
                      <a:pt x="1619" y="185"/>
                    </a:cubicBezTo>
                    <a:lnTo>
                      <a:pt x="1580" y="185"/>
                    </a:lnTo>
                    <a:lnTo>
                      <a:pt x="1580" y="277"/>
                    </a:lnTo>
                    <a:lnTo>
                      <a:pt x="1627" y="277"/>
                    </a:lnTo>
                    <a:cubicBezTo>
                      <a:pt x="1636" y="277"/>
                      <a:pt x="1644" y="276"/>
                      <a:pt x="1650" y="274"/>
                    </a:cubicBezTo>
                    <a:cubicBezTo>
                      <a:pt x="1657" y="272"/>
                      <a:pt x="1662" y="269"/>
                      <a:pt x="1666" y="266"/>
                    </a:cubicBezTo>
                    <a:cubicBezTo>
                      <a:pt x="1671" y="262"/>
                      <a:pt x="1675" y="257"/>
                      <a:pt x="1677" y="252"/>
                    </a:cubicBezTo>
                    <a:cubicBezTo>
                      <a:pt x="1680" y="246"/>
                      <a:pt x="1681" y="240"/>
                      <a:pt x="1681" y="233"/>
                    </a:cubicBezTo>
                    <a:close/>
                    <a:moveTo>
                      <a:pt x="2090" y="162"/>
                    </a:moveTo>
                    <a:cubicBezTo>
                      <a:pt x="2090" y="189"/>
                      <a:pt x="2087" y="213"/>
                      <a:pt x="2080" y="234"/>
                    </a:cubicBezTo>
                    <a:cubicBezTo>
                      <a:pt x="2074" y="255"/>
                      <a:pt x="2064" y="273"/>
                      <a:pt x="2051" y="287"/>
                    </a:cubicBezTo>
                    <a:cubicBezTo>
                      <a:pt x="2038" y="302"/>
                      <a:pt x="2022" y="313"/>
                      <a:pt x="2002" y="321"/>
                    </a:cubicBezTo>
                    <a:cubicBezTo>
                      <a:pt x="1983" y="329"/>
                      <a:pt x="1961" y="332"/>
                      <a:pt x="1935" y="332"/>
                    </a:cubicBezTo>
                    <a:cubicBezTo>
                      <a:pt x="1910" y="332"/>
                      <a:pt x="1889" y="329"/>
                      <a:pt x="1870" y="323"/>
                    </a:cubicBezTo>
                    <a:cubicBezTo>
                      <a:pt x="1851" y="316"/>
                      <a:pt x="1836" y="306"/>
                      <a:pt x="1823" y="293"/>
                    </a:cubicBezTo>
                    <a:cubicBezTo>
                      <a:pt x="1811" y="279"/>
                      <a:pt x="1802" y="262"/>
                      <a:pt x="1795" y="242"/>
                    </a:cubicBezTo>
                    <a:cubicBezTo>
                      <a:pt x="1789" y="221"/>
                      <a:pt x="1786" y="196"/>
                      <a:pt x="1786" y="168"/>
                    </a:cubicBezTo>
                    <a:cubicBezTo>
                      <a:pt x="1786" y="142"/>
                      <a:pt x="1789" y="119"/>
                      <a:pt x="1796" y="98"/>
                    </a:cubicBezTo>
                    <a:cubicBezTo>
                      <a:pt x="1803" y="77"/>
                      <a:pt x="1812" y="59"/>
                      <a:pt x="1826" y="45"/>
                    </a:cubicBezTo>
                    <a:cubicBezTo>
                      <a:pt x="1839" y="30"/>
                      <a:pt x="1855" y="19"/>
                      <a:pt x="1874" y="11"/>
                    </a:cubicBezTo>
                    <a:cubicBezTo>
                      <a:pt x="1893" y="3"/>
                      <a:pt x="1916" y="0"/>
                      <a:pt x="1941" y="0"/>
                    </a:cubicBezTo>
                    <a:cubicBezTo>
                      <a:pt x="1966" y="0"/>
                      <a:pt x="1987" y="3"/>
                      <a:pt x="2006" y="9"/>
                    </a:cubicBezTo>
                    <a:cubicBezTo>
                      <a:pt x="2024" y="16"/>
                      <a:pt x="2040" y="26"/>
                      <a:pt x="2052" y="39"/>
                    </a:cubicBezTo>
                    <a:cubicBezTo>
                      <a:pt x="2065" y="53"/>
                      <a:pt x="2074" y="69"/>
                      <a:pt x="2081" y="90"/>
                    </a:cubicBezTo>
                    <a:cubicBezTo>
                      <a:pt x="2087" y="110"/>
                      <a:pt x="2090" y="134"/>
                      <a:pt x="2090" y="162"/>
                    </a:cubicBezTo>
                    <a:close/>
                    <a:moveTo>
                      <a:pt x="2022" y="166"/>
                    </a:moveTo>
                    <a:cubicBezTo>
                      <a:pt x="2022" y="149"/>
                      <a:pt x="2021" y="134"/>
                      <a:pt x="2018" y="120"/>
                    </a:cubicBezTo>
                    <a:cubicBezTo>
                      <a:pt x="2015" y="106"/>
                      <a:pt x="2011" y="94"/>
                      <a:pt x="2004" y="84"/>
                    </a:cubicBezTo>
                    <a:cubicBezTo>
                      <a:pt x="1998" y="74"/>
                      <a:pt x="1989" y="67"/>
                      <a:pt x="1979" y="61"/>
                    </a:cubicBezTo>
                    <a:cubicBezTo>
                      <a:pt x="1968" y="56"/>
                      <a:pt x="1955" y="53"/>
                      <a:pt x="1939" y="53"/>
                    </a:cubicBezTo>
                    <a:cubicBezTo>
                      <a:pt x="1923" y="53"/>
                      <a:pt x="1910" y="56"/>
                      <a:pt x="1899" y="62"/>
                    </a:cubicBezTo>
                    <a:cubicBezTo>
                      <a:pt x="1888" y="68"/>
                      <a:pt x="1879" y="76"/>
                      <a:pt x="1873" y="87"/>
                    </a:cubicBezTo>
                    <a:cubicBezTo>
                      <a:pt x="1866" y="97"/>
                      <a:pt x="1861" y="108"/>
                      <a:pt x="1859" y="122"/>
                    </a:cubicBezTo>
                    <a:cubicBezTo>
                      <a:pt x="1856" y="135"/>
                      <a:pt x="1855" y="150"/>
                      <a:pt x="1855" y="165"/>
                    </a:cubicBezTo>
                    <a:cubicBezTo>
                      <a:pt x="1855" y="182"/>
                      <a:pt x="1856" y="198"/>
                      <a:pt x="1859" y="212"/>
                    </a:cubicBezTo>
                    <a:cubicBezTo>
                      <a:pt x="1861" y="226"/>
                      <a:pt x="1866" y="238"/>
                      <a:pt x="1872" y="248"/>
                    </a:cubicBezTo>
                    <a:cubicBezTo>
                      <a:pt x="1878" y="258"/>
                      <a:pt x="1887" y="266"/>
                      <a:pt x="1897" y="271"/>
                    </a:cubicBezTo>
                    <a:cubicBezTo>
                      <a:pt x="1908" y="276"/>
                      <a:pt x="1921" y="279"/>
                      <a:pt x="1937" y="279"/>
                    </a:cubicBezTo>
                    <a:cubicBezTo>
                      <a:pt x="1953" y="279"/>
                      <a:pt x="1967" y="276"/>
                      <a:pt x="1978" y="270"/>
                    </a:cubicBezTo>
                    <a:cubicBezTo>
                      <a:pt x="1988" y="264"/>
                      <a:pt x="1997" y="256"/>
                      <a:pt x="2004" y="245"/>
                    </a:cubicBezTo>
                    <a:cubicBezTo>
                      <a:pt x="2010" y="235"/>
                      <a:pt x="2015" y="223"/>
                      <a:pt x="2018" y="209"/>
                    </a:cubicBezTo>
                    <a:cubicBezTo>
                      <a:pt x="2021" y="196"/>
                      <a:pt x="2022" y="181"/>
                      <a:pt x="2022" y="166"/>
                    </a:cubicBezTo>
                    <a:close/>
                    <a:moveTo>
                      <a:pt x="2334" y="234"/>
                    </a:moveTo>
                    <a:cubicBezTo>
                      <a:pt x="2334" y="250"/>
                      <a:pt x="2331" y="264"/>
                      <a:pt x="2325" y="276"/>
                    </a:cubicBezTo>
                    <a:cubicBezTo>
                      <a:pt x="2319" y="289"/>
                      <a:pt x="2310" y="299"/>
                      <a:pt x="2298" y="308"/>
                    </a:cubicBezTo>
                    <a:cubicBezTo>
                      <a:pt x="2287" y="316"/>
                      <a:pt x="2274" y="322"/>
                      <a:pt x="2258" y="326"/>
                    </a:cubicBezTo>
                    <a:cubicBezTo>
                      <a:pt x="2242" y="330"/>
                      <a:pt x="2224" y="332"/>
                      <a:pt x="2205" y="332"/>
                    </a:cubicBezTo>
                    <a:cubicBezTo>
                      <a:pt x="2195" y="332"/>
                      <a:pt x="2185" y="332"/>
                      <a:pt x="2176" y="330"/>
                    </a:cubicBezTo>
                    <a:cubicBezTo>
                      <a:pt x="2167" y="329"/>
                      <a:pt x="2159" y="327"/>
                      <a:pt x="2153" y="325"/>
                    </a:cubicBezTo>
                    <a:cubicBezTo>
                      <a:pt x="2146" y="322"/>
                      <a:pt x="2141" y="320"/>
                      <a:pt x="2137" y="318"/>
                    </a:cubicBezTo>
                    <a:cubicBezTo>
                      <a:pt x="2133" y="316"/>
                      <a:pt x="2130" y="314"/>
                      <a:pt x="2129" y="313"/>
                    </a:cubicBezTo>
                    <a:cubicBezTo>
                      <a:pt x="2127" y="311"/>
                      <a:pt x="2126" y="310"/>
                      <a:pt x="2125" y="308"/>
                    </a:cubicBezTo>
                    <a:cubicBezTo>
                      <a:pt x="2124" y="307"/>
                      <a:pt x="2123" y="305"/>
                      <a:pt x="2123" y="302"/>
                    </a:cubicBezTo>
                    <a:cubicBezTo>
                      <a:pt x="2122" y="299"/>
                      <a:pt x="2122" y="296"/>
                      <a:pt x="2122" y="292"/>
                    </a:cubicBezTo>
                    <a:cubicBezTo>
                      <a:pt x="2122" y="288"/>
                      <a:pt x="2121" y="283"/>
                      <a:pt x="2121" y="276"/>
                    </a:cubicBezTo>
                    <a:cubicBezTo>
                      <a:pt x="2121" y="269"/>
                      <a:pt x="2122" y="265"/>
                      <a:pt x="2123" y="262"/>
                    </a:cubicBezTo>
                    <a:cubicBezTo>
                      <a:pt x="2125" y="260"/>
                      <a:pt x="2126" y="259"/>
                      <a:pt x="2129" y="259"/>
                    </a:cubicBezTo>
                    <a:cubicBezTo>
                      <a:pt x="2131" y="259"/>
                      <a:pt x="2134" y="260"/>
                      <a:pt x="2137" y="262"/>
                    </a:cubicBezTo>
                    <a:cubicBezTo>
                      <a:pt x="2141" y="264"/>
                      <a:pt x="2146" y="266"/>
                      <a:pt x="2151" y="269"/>
                    </a:cubicBezTo>
                    <a:cubicBezTo>
                      <a:pt x="2157" y="272"/>
                      <a:pt x="2164" y="274"/>
                      <a:pt x="2172" y="276"/>
                    </a:cubicBezTo>
                    <a:cubicBezTo>
                      <a:pt x="2180" y="278"/>
                      <a:pt x="2189" y="279"/>
                      <a:pt x="2200" y="279"/>
                    </a:cubicBezTo>
                    <a:cubicBezTo>
                      <a:pt x="2209" y="279"/>
                      <a:pt x="2217" y="278"/>
                      <a:pt x="2224" y="276"/>
                    </a:cubicBezTo>
                    <a:cubicBezTo>
                      <a:pt x="2231" y="274"/>
                      <a:pt x="2237" y="271"/>
                      <a:pt x="2243" y="267"/>
                    </a:cubicBezTo>
                    <a:cubicBezTo>
                      <a:pt x="2248" y="263"/>
                      <a:pt x="2252" y="258"/>
                      <a:pt x="2254" y="253"/>
                    </a:cubicBezTo>
                    <a:cubicBezTo>
                      <a:pt x="2257" y="247"/>
                      <a:pt x="2259" y="241"/>
                      <a:pt x="2259" y="234"/>
                    </a:cubicBezTo>
                    <a:cubicBezTo>
                      <a:pt x="2259" y="227"/>
                      <a:pt x="2257" y="220"/>
                      <a:pt x="2255" y="214"/>
                    </a:cubicBezTo>
                    <a:cubicBezTo>
                      <a:pt x="2252" y="208"/>
                      <a:pt x="2248" y="203"/>
                      <a:pt x="2243" y="199"/>
                    </a:cubicBezTo>
                    <a:cubicBezTo>
                      <a:pt x="2237" y="195"/>
                      <a:pt x="2230" y="192"/>
                      <a:pt x="2222" y="189"/>
                    </a:cubicBezTo>
                    <a:cubicBezTo>
                      <a:pt x="2214" y="187"/>
                      <a:pt x="2203" y="186"/>
                      <a:pt x="2192" y="186"/>
                    </a:cubicBezTo>
                    <a:lnTo>
                      <a:pt x="2158" y="186"/>
                    </a:lnTo>
                    <a:cubicBezTo>
                      <a:pt x="2155" y="186"/>
                      <a:pt x="2153" y="186"/>
                      <a:pt x="2152" y="185"/>
                    </a:cubicBezTo>
                    <a:cubicBezTo>
                      <a:pt x="2150" y="184"/>
                      <a:pt x="2149" y="183"/>
                      <a:pt x="2148" y="181"/>
                    </a:cubicBezTo>
                    <a:cubicBezTo>
                      <a:pt x="2147" y="179"/>
                      <a:pt x="2147" y="177"/>
                      <a:pt x="2146" y="174"/>
                    </a:cubicBezTo>
                    <a:cubicBezTo>
                      <a:pt x="2146" y="170"/>
                      <a:pt x="2146" y="166"/>
                      <a:pt x="2146" y="161"/>
                    </a:cubicBezTo>
                    <a:cubicBezTo>
                      <a:pt x="2146" y="156"/>
                      <a:pt x="2146" y="152"/>
                      <a:pt x="2147" y="149"/>
                    </a:cubicBezTo>
                    <a:cubicBezTo>
                      <a:pt x="2147" y="146"/>
                      <a:pt x="2148" y="144"/>
                      <a:pt x="2148" y="142"/>
                    </a:cubicBezTo>
                    <a:cubicBezTo>
                      <a:pt x="2149" y="140"/>
                      <a:pt x="2151" y="139"/>
                      <a:pt x="2152" y="138"/>
                    </a:cubicBezTo>
                    <a:cubicBezTo>
                      <a:pt x="2153" y="137"/>
                      <a:pt x="2155" y="137"/>
                      <a:pt x="2157" y="137"/>
                    </a:cubicBezTo>
                    <a:lnTo>
                      <a:pt x="2192" y="137"/>
                    </a:lnTo>
                    <a:cubicBezTo>
                      <a:pt x="2202" y="137"/>
                      <a:pt x="2211" y="136"/>
                      <a:pt x="2218" y="134"/>
                    </a:cubicBezTo>
                    <a:cubicBezTo>
                      <a:pt x="2226" y="132"/>
                      <a:pt x="2233" y="129"/>
                      <a:pt x="2238" y="125"/>
                    </a:cubicBezTo>
                    <a:cubicBezTo>
                      <a:pt x="2243" y="121"/>
                      <a:pt x="2247" y="116"/>
                      <a:pt x="2250" y="111"/>
                    </a:cubicBezTo>
                    <a:cubicBezTo>
                      <a:pt x="2253" y="105"/>
                      <a:pt x="2254" y="99"/>
                      <a:pt x="2254" y="92"/>
                    </a:cubicBezTo>
                    <a:cubicBezTo>
                      <a:pt x="2254" y="86"/>
                      <a:pt x="2253" y="80"/>
                      <a:pt x="2251" y="75"/>
                    </a:cubicBezTo>
                    <a:cubicBezTo>
                      <a:pt x="2249" y="70"/>
                      <a:pt x="2246" y="66"/>
                      <a:pt x="2242" y="63"/>
                    </a:cubicBezTo>
                    <a:cubicBezTo>
                      <a:pt x="2238" y="59"/>
                      <a:pt x="2233" y="57"/>
                      <a:pt x="2227" y="55"/>
                    </a:cubicBezTo>
                    <a:cubicBezTo>
                      <a:pt x="2221" y="53"/>
                      <a:pt x="2214" y="52"/>
                      <a:pt x="2205" y="52"/>
                    </a:cubicBezTo>
                    <a:cubicBezTo>
                      <a:pt x="2195" y="52"/>
                      <a:pt x="2186" y="53"/>
                      <a:pt x="2178" y="55"/>
                    </a:cubicBezTo>
                    <a:cubicBezTo>
                      <a:pt x="2170" y="57"/>
                      <a:pt x="2163" y="60"/>
                      <a:pt x="2158" y="62"/>
                    </a:cubicBezTo>
                    <a:cubicBezTo>
                      <a:pt x="2152" y="65"/>
                      <a:pt x="2147" y="67"/>
                      <a:pt x="2143" y="69"/>
                    </a:cubicBezTo>
                    <a:cubicBezTo>
                      <a:pt x="2139" y="72"/>
                      <a:pt x="2136" y="73"/>
                      <a:pt x="2134" y="73"/>
                    </a:cubicBezTo>
                    <a:cubicBezTo>
                      <a:pt x="2133" y="73"/>
                      <a:pt x="2131" y="72"/>
                      <a:pt x="2131" y="72"/>
                    </a:cubicBezTo>
                    <a:cubicBezTo>
                      <a:pt x="2130" y="71"/>
                      <a:pt x="2129" y="70"/>
                      <a:pt x="2128" y="68"/>
                    </a:cubicBezTo>
                    <a:cubicBezTo>
                      <a:pt x="2128" y="66"/>
                      <a:pt x="2127" y="64"/>
                      <a:pt x="2127" y="61"/>
                    </a:cubicBezTo>
                    <a:cubicBezTo>
                      <a:pt x="2127" y="58"/>
                      <a:pt x="2127" y="54"/>
                      <a:pt x="2127" y="49"/>
                    </a:cubicBezTo>
                    <a:cubicBezTo>
                      <a:pt x="2127" y="46"/>
                      <a:pt x="2127" y="43"/>
                      <a:pt x="2127" y="40"/>
                    </a:cubicBezTo>
                    <a:cubicBezTo>
                      <a:pt x="2127" y="37"/>
                      <a:pt x="2127" y="35"/>
                      <a:pt x="2128" y="32"/>
                    </a:cubicBezTo>
                    <a:cubicBezTo>
                      <a:pt x="2128" y="30"/>
                      <a:pt x="2129" y="28"/>
                      <a:pt x="2130" y="26"/>
                    </a:cubicBezTo>
                    <a:cubicBezTo>
                      <a:pt x="2131" y="25"/>
                      <a:pt x="2132" y="23"/>
                      <a:pt x="2134" y="21"/>
                    </a:cubicBezTo>
                    <a:cubicBezTo>
                      <a:pt x="2135" y="20"/>
                      <a:pt x="2139" y="17"/>
                      <a:pt x="2144" y="15"/>
                    </a:cubicBezTo>
                    <a:cubicBezTo>
                      <a:pt x="2150" y="12"/>
                      <a:pt x="2156" y="10"/>
                      <a:pt x="2164" y="7"/>
                    </a:cubicBezTo>
                    <a:cubicBezTo>
                      <a:pt x="2172" y="5"/>
                      <a:pt x="2181" y="3"/>
                      <a:pt x="2191" y="2"/>
                    </a:cubicBezTo>
                    <a:cubicBezTo>
                      <a:pt x="2200" y="0"/>
                      <a:pt x="2211" y="0"/>
                      <a:pt x="2222" y="0"/>
                    </a:cubicBezTo>
                    <a:cubicBezTo>
                      <a:pt x="2239" y="0"/>
                      <a:pt x="2254" y="1"/>
                      <a:pt x="2267" y="5"/>
                    </a:cubicBezTo>
                    <a:cubicBezTo>
                      <a:pt x="2279" y="9"/>
                      <a:pt x="2290" y="14"/>
                      <a:pt x="2299" y="21"/>
                    </a:cubicBezTo>
                    <a:cubicBezTo>
                      <a:pt x="2307" y="28"/>
                      <a:pt x="2314" y="36"/>
                      <a:pt x="2318" y="46"/>
                    </a:cubicBezTo>
                    <a:cubicBezTo>
                      <a:pt x="2323" y="56"/>
                      <a:pt x="2325" y="68"/>
                      <a:pt x="2325" y="81"/>
                    </a:cubicBezTo>
                    <a:cubicBezTo>
                      <a:pt x="2325" y="91"/>
                      <a:pt x="2323" y="100"/>
                      <a:pt x="2320" y="109"/>
                    </a:cubicBezTo>
                    <a:cubicBezTo>
                      <a:pt x="2318" y="117"/>
                      <a:pt x="2314" y="125"/>
                      <a:pt x="2308" y="131"/>
                    </a:cubicBezTo>
                    <a:cubicBezTo>
                      <a:pt x="2303" y="137"/>
                      <a:pt x="2297" y="143"/>
                      <a:pt x="2290" y="147"/>
                    </a:cubicBezTo>
                    <a:cubicBezTo>
                      <a:pt x="2283" y="152"/>
                      <a:pt x="2275" y="155"/>
                      <a:pt x="2266" y="157"/>
                    </a:cubicBezTo>
                    <a:lnTo>
                      <a:pt x="2266" y="157"/>
                    </a:lnTo>
                    <a:cubicBezTo>
                      <a:pt x="2276" y="159"/>
                      <a:pt x="2285" y="161"/>
                      <a:pt x="2293" y="166"/>
                    </a:cubicBezTo>
                    <a:cubicBezTo>
                      <a:pt x="2302" y="170"/>
                      <a:pt x="2309" y="176"/>
                      <a:pt x="2315" y="182"/>
                    </a:cubicBezTo>
                    <a:cubicBezTo>
                      <a:pt x="2321" y="189"/>
                      <a:pt x="2326" y="197"/>
                      <a:pt x="2329" y="206"/>
                    </a:cubicBezTo>
                    <a:cubicBezTo>
                      <a:pt x="2332" y="214"/>
                      <a:pt x="2334" y="224"/>
                      <a:pt x="2334" y="234"/>
                    </a:cubicBezTo>
                    <a:close/>
                    <a:moveTo>
                      <a:pt x="2637" y="318"/>
                    </a:moveTo>
                    <a:cubicBezTo>
                      <a:pt x="2637" y="319"/>
                      <a:pt x="2637" y="321"/>
                      <a:pt x="2636" y="322"/>
                    </a:cubicBezTo>
                    <a:cubicBezTo>
                      <a:pt x="2635" y="324"/>
                      <a:pt x="2633" y="325"/>
                      <a:pt x="2630" y="325"/>
                    </a:cubicBezTo>
                    <a:cubicBezTo>
                      <a:pt x="2628" y="326"/>
                      <a:pt x="2625" y="327"/>
                      <a:pt x="2620" y="328"/>
                    </a:cubicBezTo>
                    <a:cubicBezTo>
                      <a:pt x="2616" y="328"/>
                      <a:pt x="2611" y="328"/>
                      <a:pt x="2605" y="328"/>
                    </a:cubicBezTo>
                    <a:cubicBezTo>
                      <a:pt x="2598" y="328"/>
                      <a:pt x="2593" y="328"/>
                      <a:pt x="2589" y="328"/>
                    </a:cubicBezTo>
                    <a:cubicBezTo>
                      <a:pt x="2585" y="327"/>
                      <a:pt x="2581" y="326"/>
                      <a:pt x="2579" y="325"/>
                    </a:cubicBezTo>
                    <a:cubicBezTo>
                      <a:pt x="2576" y="325"/>
                      <a:pt x="2575" y="324"/>
                      <a:pt x="2574" y="322"/>
                    </a:cubicBezTo>
                    <a:cubicBezTo>
                      <a:pt x="2572" y="321"/>
                      <a:pt x="2572" y="319"/>
                      <a:pt x="2572" y="318"/>
                    </a:cubicBezTo>
                    <a:lnTo>
                      <a:pt x="2572" y="188"/>
                    </a:lnTo>
                    <a:lnTo>
                      <a:pt x="2452" y="188"/>
                    </a:lnTo>
                    <a:lnTo>
                      <a:pt x="2452" y="318"/>
                    </a:lnTo>
                    <a:cubicBezTo>
                      <a:pt x="2452" y="319"/>
                      <a:pt x="2451" y="321"/>
                      <a:pt x="2450" y="322"/>
                    </a:cubicBezTo>
                    <a:cubicBezTo>
                      <a:pt x="2449" y="324"/>
                      <a:pt x="2447" y="325"/>
                      <a:pt x="2445" y="325"/>
                    </a:cubicBezTo>
                    <a:cubicBezTo>
                      <a:pt x="2442" y="326"/>
                      <a:pt x="2439" y="327"/>
                      <a:pt x="2435" y="328"/>
                    </a:cubicBezTo>
                    <a:cubicBezTo>
                      <a:pt x="2431" y="328"/>
                      <a:pt x="2426" y="328"/>
                      <a:pt x="2419" y="328"/>
                    </a:cubicBezTo>
                    <a:cubicBezTo>
                      <a:pt x="2413" y="328"/>
                      <a:pt x="2408" y="328"/>
                      <a:pt x="2403" y="328"/>
                    </a:cubicBezTo>
                    <a:cubicBezTo>
                      <a:pt x="2399" y="327"/>
                      <a:pt x="2396" y="326"/>
                      <a:pt x="2393" y="325"/>
                    </a:cubicBezTo>
                    <a:cubicBezTo>
                      <a:pt x="2391" y="325"/>
                      <a:pt x="2389" y="324"/>
                      <a:pt x="2388" y="322"/>
                    </a:cubicBezTo>
                    <a:cubicBezTo>
                      <a:pt x="2387" y="321"/>
                      <a:pt x="2386" y="319"/>
                      <a:pt x="2386" y="318"/>
                    </a:cubicBezTo>
                    <a:lnTo>
                      <a:pt x="2386" y="14"/>
                    </a:lnTo>
                    <a:cubicBezTo>
                      <a:pt x="2386" y="13"/>
                      <a:pt x="2387" y="11"/>
                      <a:pt x="2388" y="10"/>
                    </a:cubicBezTo>
                    <a:cubicBezTo>
                      <a:pt x="2389" y="8"/>
                      <a:pt x="2391" y="7"/>
                      <a:pt x="2393" y="7"/>
                    </a:cubicBezTo>
                    <a:cubicBezTo>
                      <a:pt x="2396" y="6"/>
                      <a:pt x="2399" y="5"/>
                      <a:pt x="2403" y="5"/>
                    </a:cubicBezTo>
                    <a:cubicBezTo>
                      <a:pt x="2408" y="4"/>
                      <a:pt x="2413" y="4"/>
                      <a:pt x="2419" y="4"/>
                    </a:cubicBezTo>
                    <a:cubicBezTo>
                      <a:pt x="2426" y="4"/>
                      <a:pt x="2431" y="4"/>
                      <a:pt x="2435" y="5"/>
                    </a:cubicBezTo>
                    <a:cubicBezTo>
                      <a:pt x="2439" y="5"/>
                      <a:pt x="2442" y="6"/>
                      <a:pt x="2445" y="7"/>
                    </a:cubicBezTo>
                    <a:cubicBezTo>
                      <a:pt x="2447" y="7"/>
                      <a:pt x="2449" y="8"/>
                      <a:pt x="2450" y="10"/>
                    </a:cubicBezTo>
                    <a:cubicBezTo>
                      <a:pt x="2451" y="11"/>
                      <a:pt x="2452" y="13"/>
                      <a:pt x="2452" y="14"/>
                    </a:cubicBezTo>
                    <a:lnTo>
                      <a:pt x="2452" y="132"/>
                    </a:lnTo>
                    <a:lnTo>
                      <a:pt x="2572" y="132"/>
                    </a:lnTo>
                    <a:lnTo>
                      <a:pt x="2572" y="14"/>
                    </a:lnTo>
                    <a:cubicBezTo>
                      <a:pt x="2572" y="13"/>
                      <a:pt x="2572" y="11"/>
                      <a:pt x="2574" y="10"/>
                    </a:cubicBezTo>
                    <a:cubicBezTo>
                      <a:pt x="2575" y="8"/>
                      <a:pt x="2576" y="7"/>
                      <a:pt x="2579" y="7"/>
                    </a:cubicBezTo>
                    <a:cubicBezTo>
                      <a:pt x="2581" y="6"/>
                      <a:pt x="2585" y="5"/>
                      <a:pt x="2589" y="5"/>
                    </a:cubicBezTo>
                    <a:cubicBezTo>
                      <a:pt x="2593" y="4"/>
                      <a:pt x="2598" y="4"/>
                      <a:pt x="2605" y="4"/>
                    </a:cubicBezTo>
                    <a:cubicBezTo>
                      <a:pt x="2611" y="4"/>
                      <a:pt x="2616" y="4"/>
                      <a:pt x="2620" y="5"/>
                    </a:cubicBezTo>
                    <a:cubicBezTo>
                      <a:pt x="2625" y="5"/>
                      <a:pt x="2628" y="6"/>
                      <a:pt x="2630" y="7"/>
                    </a:cubicBezTo>
                    <a:cubicBezTo>
                      <a:pt x="2633" y="7"/>
                      <a:pt x="2635" y="8"/>
                      <a:pt x="2636" y="10"/>
                    </a:cubicBezTo>
                    <a:cubicBezTo>
                      <a:pt x="2637" y="11"/>
                      <a:pt x="2637" y="13"/>
                      <a:pt x="2637" y="14"/>
                    </a:cubicBezTo>
                    <a:lnTo>
                      <a:pt x="2637" y="318"/>
                    </a:lnTo>
                    <a:close/>
                    <a:moveTo>
                      <a:pt x="2971" y="302"/>
                    </a:moveTo>
                    <a:cubicBezTo>
                      <a:pt x="2973" y="308"/>
                      <a:pt x="2974" y="313"/>
                      <a:pt x="2974" y="317"/>
                    </a:cubicBezTo>
                    <a:cubicBezTo>
                      <a:pt x="2975" y="320"/>
                      <a:pt x="2974" y="323"/>
                      <a:pt x="2972" y="324"/>
                    </a:cubicBezTo>
                    <a:cubicBezTo>
                      <a:pt x="2971" y="326"/>
                      <a:pt x="2967" y="327"/>
                      <a:pt x="2963" y="328"/>
                    </a:cubicBezTo>
                    <a:cubicBezTo>
                      <a:pt x="2958" y="328"/>
                      <a:pt x="2952" y="328"/>
                      <a:pt x="2944" y="328"/>
                    </a:cubicBezTo>
                    <a:cubicBezTo>
                      <a:pt x="2935" y="328"/>
                      <a:pt x="2929" y="328"/>
                      <a:pt x="2924" y="328"/>
                    </a:cubicBezTo>
                    <a:cubicBezTo>
                      <a:pt x="2919" y="328"/>
                      <a:pt x="2915" y="327"/>
                      <a:pt x="2913" y="326"/>
                    </a:cubicBezTo>
                    <a:cubicBezTo>
                      <a:pt x="2911" y="326"/>
                      <a:pt x="2909" y="325"/>
                      <a:pt x="2908" y="323"/>
                    </a:cubicBezTo>
                    <a:cubicBezTo>
                      <a:pt x="2907" y="322"/>
                      <a:pt x="2906" y="320"/>
                      <a:pt x="2905" y="318"/>
                    </a:cubicBezTo>
                    <a:lnTo>
                      <a:pt x="2884" y="253"/>
                    </a:lnTo>
                    <a:lnTo>
                      <a:pt x="2763" y="253"/>
                    </a:lnTo>
                    <a:lnTo>
                      <a:pt x="2743" y="316"/>
                    </a:lnTo>
                    <a:cubicBezTo>
                      <a:pt x="2742" y="319"/>
                      <a:pt x="2741" y="321"/>
                      <a:pt x="2740" y="322"/>
                    </a:cubicBezTo>
                    <a:cubicBezTo>
                      <a:pt x="2739" y="324"/>
                      <a:pt x="2737" y="325"/>
                      <a:pt x="2735" y="326"/>
                    </a:cubicBezTo>
                    <a:cubicBezTo>
                      <a:pt x="2732" y="327"/>
                      <a:pt x="2729" y="327"/>
                      <a:pt x="2725" y="328"/>
                    </a:cubicBezTo>
                    <a:cubicBezTo>
                      <a:pt x="2720" y="328"/>
                      <a:pt x="2714" y="328"/>
                      <a:pt x="2707" y="328"/>
                    </a:cubicBezTo>
                    <a:cubicBezTo>
                      <a:pt x="2700" y="328"/>
                      <a:pt x="2694" y="328"/>
                      <a:pt x="2689" y="328"/>
                    </a:cubicBezTo>
                    <a:cubicBezTo>
                      <a:pt x="2685" y="327"/>
                      <a:pt x="2682" y="326"/>
                      <a:pt x="2681" y="324"/>
                    </a:cubicBezTo>
                    <a:cubicBezTo>
                      <a:pt x="2679" y="322"/>
                      <a:pt x="2678" y="319"/>
                      <a:pt x="2679" y="316"/>
                    </a:cubicBezTo>
                    <a:cubicBezTo>
                      <a:pt x="2679" y="312"/>
                      <a:pt x="2681" y="308"/>
                      <a:pt x="2682" y="302"/>
                    </a:cubicBezTo>
                    <a:lnTo>
                      <a:pt x="2782" y="17"/>
                    </a:lnTo>
                    <a:cubicBezTo>
                      <a:pt x="2783" y="14"/>
                      <a:pt x="2784" y="12"/>
                      <a:pt x="2785" y="10"/>
                    </a:cubicBezTo>
                    <a:cubicBezTo>
                      <a:pt x="2786" y="8"/>
                      <a:pt x="2789" y="7"/>
                      <a:pt x="2791" y="6"/>
                    </a:cubicBezTo>
                    <a:cubicBezTo>
                      <a:pt x="2794" y="5"/>
                      <a:pt x="2798" y="4"/>
                      <a:pt x="2803" y="4"/>
                    </a:cubicBezTo>
                    <a:cubicBezTo>
                      <a:pt x="2809" y="4"/>
                      <a:pt x="2815" y="4"/>
                      <a:pt x="2824" y="4"/>
                    </a:cubicBezTo>
                    <a:cubicBezTo>
                      <a:pt x="2834" y="4"/>
                      <a:pt x="2841" y="4"/>
                      <a:pt x="2847" y="4"/>
                    </a:cubicBezTo>
                    <a:cubicBezTo>
                      <a:pt x="2853" y="4"/>
                      <a:pt x="2857" y="5"/>
                      <a:pt x="2861" y="6"/>
                    </a:cubicBezTo>
                    <a:cubicBezTo>
                      <a:pt x="2864" y="7"/>
                      <a:pt x="2866" y="8"/>
                      <a:pt x="2868" y="10"/>
                    </a:cubicBezTo>
                    <a:cubicBezTo>
                      <a:pt x="2869" y="12"/>
                      <a:pt x="2870" y="14"/>
                      <a:pt x="2871" y="17"/>
                    </a:cubicBezTo>
                    <a:lnTo>
                      <a:pt x="2971" y="302"/>
                    </a:lnTo>
                    <a:close/>
                    <a:moveTo>
                      <a:pt x="2823" y="67"/>
                    </a:moveTo>
                    <a:lnTo>
                      <a:pt x="2823" y="67"/>
                    </a:lnTo>
                    <a:lnTo>
                      <a:pt x="2777" y="203"/>
                    </a:lnTo>
                    <a:lnTo>
                      <a:pt x="2869" y="203"/>
                    </a:lnTo>
                    <a:lnTo>
                      <a:pt x="2823" y="67"/>
                    </a:lnTo>
                    <a:close/>
                    <a:moveTo>
                      <a:pt x="3267" y="318"/>
                    </a:moveTo>
                    <a:cubicBezTo>
                      <a:pt x="3267" y="319"/>
                      <a:pt x="3266" y="321"/>
                      <a:pt x="3265" y="322"/>
                    </a:cubicBezTo>
                    <a:cubicBezTo>
                      <a:pt x="3264" y="324"/>
                      <a:pt x="3262" y="325"/>
                      <a:pt x="3260" y="325"/>
                    </a:cubicBezTo>
                    <a:cubicBezTo>
                      <a:pt x="3257" y="326"/>
                      <a:pt x="3254" y="327"/>
                      <a:pt x="3250" y="328"/>
                    </a:cubicBezTo>
                    <a:cubicBezTo>
                      <a:pt x="3246" y="328"/>
                      <a:pt x="3240" y="328"/>
                      <a:pt x="3234" y="328"/>
                    </a:cubicBezTo>
                    <a:cubicBezTo>
                      <a:pt x="3228" y="328"/>
                      <a:pt x="3222" y="328"/>
                      <a:pt x="3218" y="328"/>
                    </a:cubicBezTo>
                    <a:cubicBezTo>
                      <a:pt x="3214" y="327"/>
                      <a:pt x="3210" y="326"/>
                      <a:pt x="3208" y="325"/>
                    </a:cubicBezTo>
                    <a:cubicBezTo>
                      <a:pt x="3206" y="325"/>
                      <a:pt x="3204" y="324"/>
                      <a:pt x="3203" y="322"/>
                    </a:cubicBezTo>
                    <a:cubicBezTo>
                      <a:pt x="3202" y="321"/>
                      <a:pt x="3201" y="319"/>
                      <a:pt x="3201" y="318"/>
                    </a:cubicBezTo>
                    <a:lnTo>
                      <a:pt x="3201" y="188"/>
                    </a:lnTo>
                    <a:lnTo>
                      <a:pt x="3081" y="188"/>
                    </a:lnTo>
                    <a:lnTo>
                      <a:pt x="3081" y="318"/>
                    </a:lnTo>
                    <a:cubicBezTo>
                      <a:pt x="3081" y="319"/>
                      <a:pt x="3080" y="321"/>
                      <a:pt x="3079" y="322"/>
                    </a:cubicBezTo>
                    <a:cubicBezTo>
                      <a:pt x="3078" y="324"/>
                      <a:pt x="3077" y="325"/>
                      <a:pt x="3074" y="325"/>
                    </a:cubicBezTo>
                    <a:cubicBezTo>
                      <a:pt x="3072" y="326"/>
                      <a:pt x="3068" y="327"/>
                      <a:pt x="3064" y="328"/>
                    </a:cubicBezTo>
                    <a:cubicBezTo>
                      <a:pt x="3060" y="328"/>
                      <a:pt x="3055" y="328"/>
                      <a:pt x="3048" y="328"/>
                    </a:cubicBezTo>
                    <a:cubicBezTo>
                      <a:pt x="3042" y="328"/>
                      <a:pt x="3037" y="328"/>
                      <a:pt x="3033" y="328"/>
                    </a:cubicBezTo>
                    <a:cubicBezTo>
                      <a:pt x="3028" y="327"/>
                      <a:pt x="3025" y="326"/>
                      <a:pt x="3023" y="325"/>
                    </a:cubicBezTo>
                    <a:cubicBezTo>
                      <a:pt x="3020" y="325"/>
                      <a:pt x="3018" y="324"/>
                      <a:pt x="3017" y="322"/>
                    </a:cubicBezTo>
                    <a:cubicBezTo>
                      <a:pt x="3016" y="321"/>
                      <a:pt x="3016" y="319"/>
                      <a:pt x="3016" y="318"/>
                    </a:cubicBezTo>
                    <a:lnTo>
                      <a:pt x="3016" y="14"/>
                    </a:lnTo>
                    <a:cubicBezTo>
                      <a:pt x="3016" y="13"/>
                      <a:pt x="3016" y="11"/>
                      <a:pt x="3017" y="10"/>
                    </a:cubicBezTo>
                    <a:cubicBezTo>
                      <a:pt x="3018" y="8"/>
                      <a:pt x="3020" y="7"/>
                      <a:pt x="3023" y="7"/>
                    </a:cubicBezTo>
                    <a:cubicBezTo>
                      <a:pt x="3025" y="6"/>
                      <a:pt x="3028" y="5"/>
                      <a:pt x="3033" y="5"/>
                    </a:cubicBezTo>
                    <a:cubicBezTo>
                      <a:pt x="3037" y="4"/>
                      <a:pt x="3042" y="4"/>
                      <a:pt x="3048" y="4"/>
                    </a:cubicBezTo>
                    <a:cubicBezTo>
                      <a:pt x="3055" y="4"/>
                      <a:pt x="3060" y="4"/>
                      <a:pt x="3064" y="5"/>
                    </a:cubicBezTo>
                    <a:cubicBezTo>
                      <a:pt x="3068" y="5"/>
                      <a:pt x="3072" y="6"/>
                      <a:pt x="3074" y="7"/>
                    </a:cubicBezTo>
                    <a:cubicBezTo>
                      <a:pt x="3077" y="7"/>
                      <a:pt x="3078" y="8"/>
                      <a:pt x="3079" y="10"/>
                    </a:cubicBezTo>
                    <a:cubicBezTo>
                      <a:pt x="3080" y="11"/>
                      <a:pt x="3081" y="13"/>
                      <a:pt x="3081" y="14"/>
                    </a:cubicBezTo>
                    <a:lnTo>
                      <a:pt x="3081" y="132"/>
                    </a:lnTo>
                    <a:lnTo>
                      <a:pt x="3201" y="132"/>
                    </a:lnTo>
                    <a:lnTo>
                      <a:pt x="3201" y="14"/>
                    </a:lnTo>
                    <a:cubicBezTo>
                      <a:pt x="3201" y="13"/>
                      <a:pt x="3202" y="11"/>
                      <a:pt x="3203" y="10"/>
                    </a:cubicBezTo>
                    <a:cubicBezTo>
                      <a:pt x="3204" y="8"/>
                      <a:pt x="3206" y="7"/>
                      <a:pt x="3208" y="7"/>
                    </a:cubicBezTo>
                    <a:cubicBezTo>
                      <a:pt x="3210" y="6"/>
                      <a:pt x="3214" y="5"/>
                      <a:pt x="3218" y="5"/>
                    </a:cubicBezTo>
                    <a:cubicBezTo>
                      <a:pt x="3222" y="4"/>
                      <a:pt x="3228" y="4"/>
                      <a:pt x="3234" y="4"/>
                    </a:cubicBezTo>
                    <a:cubicBezTo>
                      <a:pt x="3240" y="4"/>
                      <a:pt x="3246" y="4"/>
                      <a:pt x="3250" y="5"/>
                    </a:cubicBezTo>
                    <a:cubicBezTo>
                      <a:pt x="3254" y="5"/>
                      <a:pt x="3257" y="6"/>
                      <a:pt x="3260" y="7"/>
                    </a:cubicBezTo>
                    <a:cubicBezTo>
                      <a:pt x="3262" y="7"/>
                      <a:pt x="3264" y="8"/>
                      <a:pt x="3265" y="10"/>
                    </a:cubicBezTo>
                    <a:cubicBezTo>
                      <a:pt x="3266" y="11"/>
                      <a:pt x="3267" y="13"/>
                      <a:pt x="3267" y="14"/>
                    </a:cubicBezTo>
                    <a:lnTo>
                      <a:pt x="3267" y="318"/>
                    </a:lnTo>
                    <a:close/>
                    <a:moveTo>
                      <a:pt x="3598" y="318"/>
                    </a:moveTo>
                    <a:cubicBezTo>
                      <a:pt x="3598" y="320"/>
                      <a:pt x="3598" y="321"/>
                      <a:pt x="3597" y="323"/>
                    </a:cubicBezTo>
                    <a:cubicBezTo>
                      <a:pt x="3595" y="324"/>
                      <a:pt x="3594" y="325"/>
                      <a:pt x="3591" y="326"/>
                    </a:cubicBezTo>
                    <a:cubicBezTo>
                      <a:pt x="3589" y="327"/>
                      <a:pt x="3585" y="327"/>
                      <a:pt x="3581" y="328"/>
                    </a:cubicBezTo>
                    <a:cubicBezTo>
                      <a:pt x="3577" y="328"/>
                      <a:pt x="3572" y="328"/>
                      <a:pt x="3565" y="328"/>
                    </a:cubicBezTo>
                    <a:cubicBezTo>
                      <a:pt x="3559" y="328"/>
                      <a:pt x="3554" y="328"/>
                      <a:pt x="3550" y="328"/>
                    </a:cubicBezTo>
                    <a:cubicBezTo>
                      <a:pt x="3545" y="327"/>
                      <a:pt x="3542" y="327"/>
                      <a:pt x="3540" y="326"/>
                    </a:cubicBezTo>
                    <a:cubicBezTo>
                      <a:pt x="3537" y="325"/>
                      <a:pt x="3536" y="324"/>
                      <a:pt x="3535" y="323"/>
                    </a:cubicBezTo>
                    <a:cubicBezTo>
                      <a:pt x="3534" y="321"/>
                      <a:pt x="3533" y="320"/>
                      <a:pt x="3533" y="318"/>
                    </a:cubicBezTo>
                    <a:lnTo>
                      <a:pt x="3533" y="149"/>
                    </a:lnTo>
                    <a:cubicBezTo>
                      <a:pt x="3533" y="142"/>
                      <a:pt x="3533" y="136"/>
                      <a:pt x="3533" y="130"/>
                    </a:cubicBezTo>
                    <a:cubicBezTo>
                      <a:pt x="3533" y="124"/>
                      <a:pt x="3534" y="118"/>
                      <a:pt x="3534" y="113"/>
                    </a:cubicBezTo>
                    <a:lnTo>
                      <a:pt x="3534" y="113"/>
                    </a:lnTo>
                    <a:cubicBezTo>
                      <a:pt x="3532" y="116"/>
                      <a:pt x="3531" y="118"/>
                      <a:pt x="3529" y="121"/>
                    </a:cubicBezTo>
                    <a:cubicBezTo>
                      <a:pt x="3527" y="125"/>
                      <a:pt x="3525" y="128"/>
                      <a:pt x="3523" y="131"/>
                    </a:cubicBezTo>
                    <a:cubicBezTo>
                      <a:pt x="3521" y="135"/>
                      <a:pt x="3519" y="138"/>
                      <a:pt x="3516" y="142"/>
                    </a:cubicBezTo>
                    <a:cubicBezTo>
                      <a:pt x="3514" y="145"/>
                      <a:pt x="3512" y="149"/>
                      <a:pt x="3509" y="152"/>
                    </a:cubicBezTo>
                    <a:lnTo>
                      <a:pt x="3398" y="319"/>
                    </a:lnTo>
                    <a:cubicBezTo>
                      <a:pt x="3396" y="320"/>
                      <a:pt x="3395" y="322"/>
                      <a:pt x="3394" y="323"/>
                    </a:cubicBezTo>
                    <a:cubicBezTo>
                      <a:pt x="3392" y="325"/>
                      <a:pt x="3390" y="326"/>
                      <a:pt x="3388" y="326"/>
                    </a:cubicBezTo>
                    <a:cubicBezTo>
                      <a:pt x="3386" y="327"/>
                      <a:pt x="3383" y="328"/>
                      <a:pt x="3380" y="328"/>
                    </a:cubicBezTo>
                    <a:cubicBezTo>
                      <a:pt x="3377" y="328"/>
                      <a:pt x="3373" y="328"/>
                      <a:pt x="3367" y="328"/>
                    </a:cubicBezTo>
                    <a:cubicBezTo>
                      <a:pt x="3361" y="328"/>
                      <a:pt x="3356" y="328"/>
                      <a:pt x="3352" y="328"/>
                    </a:cubicBezTo>
                    <a:cubicBezTo>
                      <a:pt x="3348" y="327"/>
                      <a:pt x="3345" y="327"/>
                      <a:pt x="3342" y="326"/>
                    </a:cubicBezTo>
                    <a:cubicBezTo>
                      <a:pt x="3340" y="325"/>
                      <a:pt x="3339" y="324"/>
                      <a:pt x="3338" y="323"/>
                    </a:cubicBezTo>
                    <a:cubicBezTo>
                      <a:pt x="3337" y="321"/>
                      <a:pt x="3337" y="320"/>
                      <a:pt x="3337" y="318"/>
                    </a:cubicBezTo>
                    <a:lnTo>
                      <a:pt x="3337" y="14"/>
                    </a:lnTo>
                    <a:cubicBezTo>
                      <a:pt x="3337" y="12"/>
                      <a:pt x="3337" y="11"/>
                      <a:pt x="3338" y="9"/>
                    </a:cubicBezTo>
                    <a:cubicBezTo>
                      <a:pt x="3339" y="8"/>
                      <a:pt x="3341" y="7"/>
                      <a:pt x="3344" y="6"/>
                    </a:cubicBezTo>
                    <a:cubicBezTo>
                      <a:pt x="3346" y="5"/>
                      <a:pt x="3350" y="5"/>
                      <a:pt x="3354" y="4"/>
                    </a:cubicBezTo>
                    <a:cubicBezTo>
                      <a:pt x="3358" y="4"/>
                      <a:pt x="3363" y="4"/>
                      <a:pt x="3369" y="4"/>
                    </a:cubicBezTo>
                    <a:cubicBezTo>
                      <a:pt x="3376" y="4"/>
                      <a:pt x="3381" y="4"/>
                      <a:pt x="3385" y="4"/>
                    </a:cubicBezTo>
                    <a:cubicBezTo>
                      <a:pt x="3389" y="5"/>
                      <a:pt x="3393" y="5"/>
                      <a:pt x="3395" y="6"/>
                    </a:cubicBezTo>
                    <a:cubicBezTo>
                      <a:pt x="3398" y="7"/>
                      <a:pt x="3399" y="8"/>
                      <a:pt x="3400" y="9"/>
                    </a:cubicBezTo>
                    <a:cubicBezTo>
                      <a:pt x="3401" y="11"/>
                      <a:pt x="3402" y="12"/>
                      <a:pt x="3402" y="14"/>
                    </a:cubicBezTo>
                    <a:lnTo>
                      <a:pt x="3402" y="184"/>
                    </a:lnTo>
                    <a:cubicBezTo>
                      <a:pt x="3402" y="189"/>
                      <a:pt x="3402" y="195"/>
                      <a:pt x="3402" y="201"/>
                    </a:cubicBezTo>
                    <a:cubicBezTo>
                      <a:pt x="3402" y="207"/>
                      <a:pt x="3401" y="213"/>
                      <a:pt x="3401" y="218"/>
                    </a:cubicBezTo>
                    <a:lnTo>
                      <a:pt x="3401" y="218"/>
                    </a:lnTo>
                    <a:cubicBezTo>
                      <a:pt x="3404" y="213"/>
                      <a:pt x="3408" y="208"/>
                      <a:pt x="3412" y="201"/>
                    </a:cubicBezTo>
                    <a:cubicBezTo>
                      <a:pt x="3416" y="194"/>
                      <a:pt x="3421" y="187"/>
                      <a:pt x="3426" y="180"/>
                    </a:cubicBezTo>
                    <a:lnTo>
                      <a:pt x="3537" y="14"/>
                    </a:lnTo>
                    <a:cubicBezTo>
                      <a:pt x="3539" y="12"/>
                      <a:pt x="3540" y="10"/>
                      <a:pt x="3541" y="9"/>
                    </a:cubicBezTo>
                    <a:cubicBezTo>
                      <a:pt x="3542" y="8"/>
                      <a:pt x="3544" y="7"/>
                      <a:pt x="3546" y="6"/>
                    </a:cubicBezTo>
                    <a:cubicBezTo>
                      <a:pt x="3549" y="5"/>
                      <a:pt x="3551" y="5"/>
                      <a:pt x="3555" y="4"/>
                    </a:cubicBezTo>
                    <a:cubicBezTo>
                      <a:pt x="3558" y="4"/>
                      <a:pt x="3562" y="4"/>
                      <a:pt x="3567" y="4"/>
                    </a:cubicBezTo>
                    <a:cubicBezTo>
                      <a:pt x="3574" y="4"/>
                      <a:pt x="3579" y="4"/>
                      <a:pt x="3583" y="4"/>
                    </a:cubicBezTo>
                    <a:cubicBezTo>
                      <a:pt x="3587" y="5"/>
                      <a:pt x="3590" y="5"/>
                      <a:pt x="3592" y="6"/>
                    </a:cubicBezTo>
                    <a:cubicBezTo>
                      <a:pt x="3594" y="7"/>
                      <a:pt x="3596" y="8"/>
                      <a:pt x="3597" y="9"/>
                    </a:cubicBezTo>
                    <a:cubicBezTo>
                      <a:pt x="3598" y="11"/>
                      <a:pt x="3598" y="12"/>
                      <a:pt x="3598" y="14"/>
                    </a:cubicBezTo>
                    <a:lnTo>
                      <a:pt x="3598" y="318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7" name="Freeform 1219"/>
              <p:cNvSpPr>
                <a:spLocks/>
              </p:cNvSpPr>
              <p:nvPr/>
            </p:nvSpPr>
            <p:spPr bwMode="auto">
              <a:xfrm>
                <a:off x="3861" y="2602"/>
                <a:ext cx="43" cy="74"/>
              </a:xfrm>
              <a:custGeom>
                <a:avLst/>
                <a:gdLst/>
                <a:ahLst/>
                <a:cxnLst>
                  <a:cxn ang="0">
                    <a:pos x="191" y="296"/>
                  </a:cxn>
                  <a:cxn ang="0">
                    <a:pos x="190" y="308"/>
                  </a:cxn>
                  <a:cxn ang="0">
                    <a:pos x="188" y="316"/>
                  </a:cxn>
                  <a:cxn ang="0">
                    <a:pos x="185" y="320"/>
                  </a:cxn>
                  <a:cxn ang="0">
                    <a:pos x="181" y="322"/>
                  </a:cxn>
                  <a:cxn ang="0">
                    <a:pos x="20" y="322"/>
                  </a:cxn>
                  <a:cxn ang="0">
                    <a:pos x="6" y="317"/>
                  </a:cxn>
                  <a:cxn ang="0">
                    <a:pos x="0" y="301"/>
                  </a:cxn>
                  <a:cxn ang="0">
                    <a:pos x="0" y="21"/>
                  </a:cxn>
                  <a:cxn ang="0">
                    <a:pos x="6" y="5"/>
                  </a:cxn>
                  <a:cxn ang="0">
                    <a:pos x="20" y="0"/>
                  </a:cxn>
                  <a:cxn ang="0">
                    <a:pos x="180" y="0"/>
                  </a:cxn>
                  <a:cxn ang="0">
                    <a:pos x="184" y="2"/>
                  </a:cxn>
                  <a:cxn ang="0">
                    <a:pos x="187" y="6"/>
                  </a:cxn>
                  <a:cxn ang="0">
                    <a:pos x="189" y="14"/>
                  </a:cxn>
                  <a:cxn ang="0">
                    <a:pos x="190" y="26"/>
                  </a:cxn>
                  <a:cxn ang="0">
                    <a:pos x="189" y="38"/>
                  </a:cxn>
                  <a:cxn ang="0">
                    <a:pos x="187" y="46"/>
                  </a:cxn>
                  <a:cxn ang="0">
                    <a:pos x="184" y="50"/>
                  </a:cxn>
                  <a:cxn ang="0">
                    <a:pos x="180" y="51"/>
                  </a:cxn>
                  <a:cxn ang="0">
                    <a:pos x="65" y="51"/>
                  </a:cxn>
                  <a:cxn ang="0">
                    <a:pos x="65" y="130"/>
                  </a:cxn>
                  <a:cxn ang="0">
                    <a:pos x="162" y="130"/>
                  </a:cxn>
                  <a:cxn ang="0">
                    <a:pos x="167" y="131"/>
                  </a:cxn>
                  <a:cxn ang="0">
                    <a:pos x="170" y="136"/>
                  </a:cxn>
                  <a:cxn ang="0">
                    <a:pos x="172" y="143"/>
                  </a:cxn>
                  <a:cxn ang="0">
                    <a:pos x="172" y="155"/>
                  </a:cxn>
                  <a:cxn ang="0">
                    <a:pos x="172" y="167"/>
                  </a:cxn>
                  <a:cxn ang="0">
                    <a:pos x="170" y="175"/>
                  </a:cxn>
                  <a:cxn ang="0">
                    <a:pos x="167" y="179"/>
                  </a:cxn>
                  <a:cxn ang="0">
                    <a:pos x="162" y="180"/>
                  </a:cxn>
                  <a:cxn ang="0">
                    <a:pos x="65" y="180"/>
                  </a:cxn>
                  <a:cxn ang="0">
                    <a:pos x="65" y="271"/>
                  </a:cxn>
                  <a:cxn ang="0">
                    <a:pos x="181" y="271"/>
                  </a:cxn>
                  <a:cxn ang="0">
                    <a:pos x="185" y="272"/>
                  </a:cxn>
                  <a:cxn ang="0">
                    <a:pos x="188" y="276"/>
                  </a:cxn>
                  <a:cxn ang="0">
                    <a:pos x="190" y="284"/>
                  </a:cxn>
                  <a:cxn ang="0">
                    <a:pos x="191" y="296"/>
                  </a:cxn>
                </a:cxnLst>
                <a:rect l="0" t="0" r="r" b="b"/>
                <a:pathLst>
                  <a:path w="191" h="322">
                    <a:moveTo>
                      <a:pt x="191" y="296"/>
                    </a:moveTo>
                    <a:cubicBezTo>
                      <a:pt x="191" y="301"/>
                      <a:pt x="191" y="305"/>
                      <a:pt x="190" y="308"/>
                    </a:cubicBezTo>
                    <a:cubicBezTo>
                      <a:pt x="190" y="311"/>
                      <a:pt x="189" y="314"/>
                      <a:pt x="188" y="316"/>
                    </a:cubicBezTo>
                    <a:cubicBezTo>
                      <a:pt x="187" y="318"/>
                      <a:pt x="186" y="319"/>
                      <a:pt x="185" y="320"/>
                    </a:cubicBezTo>
                    <a:cubicBezTo>
                      <a:pt x="184" y="321"/>
                      <a:pt x="183" y="322"/>
                      <a:pt x="181" y="322"/>
                    </a:cubicBezTo>
                    <a:lnTo>
                      <a:pt x="20" y="322"/>
                    </a:lnTo>
                    <a:cubicBezTo>
                      <a:pt x="14" y="322"/>
                      <a:pt x="10" y="320"/>
                      <a:pt x="6" y="317"/>
                    </a:cubicBezTo>
                    <a:cubicBezTo>
                      <a:pt x="2" y="314"/>
                      <a:pt x="0" y="308"/>
                      <a:pt x="0" y="301"/>
                    </a:cubicBezTo>
                    <a:lnTo>
                      <a:pt x="0" y="21"/>
                    </a:lnTo>
                    <a:cubicBezTo>
                      <a:pt x="0" y="14"/>
                      <a:pt x="2" y="8"/>
                      <a:pt x="6" y="5"/>
                    </a:cubicBezTo>
                    <a:cubicBezTo>
                      <a:pt x="10" y="2"/>
                      <a:pt x="14" y="0"/>
                      <a:pt x="20" y="0"/>
                    </a:cubicBezTo>
                    <a:lnTo>
                      <a:pt x="180" y="0"/>
                    </a:lnTo>
                    <a:cubicBezTo>
                      <a:pt x="182" y="0"/>
                      <a:pt x="183" y="1"/>
                      <a:pt x="184" y="2"/>
                    </a:cubicBezTo>
                    <a:cubicBezTo>
                      <a:pt x="185" y="2"/>
                      <a:pt x="186" y="4"/>
                      <a:pt x="187" y="6"/>
                    </a:cubicBezTo>
                    <a:cubicBezTo>
                      <a:pt x="188" y="8"/>
                      <a:pt x="189" y="11"/>
                      <a:pt x="189" y="14"/>
                    </a:cubicBezTo>
                    <a:cubicBezTo>
                      <a:pt x="189" y="17"/>
                      <a:pt x="190" y="21"/>
                      <a:pt x="190" y="26"/>
                    </a:cubicBezTo>
                    <a:cubicBezTo>
                      <a:pt x="190" y="31"/>
                      <a:pt x="189" y="35"/>
                      <a:pt x="189" y="38"/>
                    </a:cubicBezTo>
                    <a:cubicBezTo>
                      <a:pt x="189" y="41"/>
                      <a:pt x="188" y="44"/>
                      <a:pt x="187" y="46"/>
                    </a:cubicBezTo>
                    <a:cubicBezTo>
                      <a:pt x="186" y="48"/>
                      <a:pt x="185" y="49"/>
                      <a:pt x="184" y="50"/>
                    </a:cubicBezTo>
                    <a:cubicBezTo>
                      <a:pt x="183" y="51"/>
                      <a:pt x="182" y="51"/>
                      <a:pt x="180" y="51"/>
                    </a:cubicBezTo>
                    <a:lnTo>
                      <a:pt x="65" y="51"/>
                    </a:lnTo>
                    <a:lnTo>
                      <a:pt x="65" y="130"/>
                    </a:lnTo>
                    <a:lnTo>
                      <a:pt x="162" y="130"/>
                    </a:lnTo>
                    <a:cubicBezTo>
                      <a:pt x="164" y="130"/>
                      <a:pt x="165" y="130"/>
                      <a:pt x="167" y="131"/>
                    </a:cubicBezTo>
                    <a:cubicBezTo>
                      <a:pt x="168" y="132"/>
                      <a:pt x="169" y="134"/>
                      <a:pt x="170" y="136"/>
                    </a:cubicBezTo>
                    <a:cubicBezTo>
                      <a:pt x="171" y="138"/>
                      <a:pt x="171" y="140"/>
                      <a:pt x="172" y="143"/>
                    </a:cubicBezTo>
                    <a:cubicBezTo>
                      <a:pt x="172" y="146"/>
                      <a:pt x="172" y="150"/>
                      <a:pt x="172" y="155"/>
                    </a:cubicBezTo>
                    <a:cubicBezTo>
                      <a:pt x="172" y="160"/>
                      <a:pt x="172" y="164"/>
                      <a:pt x="172" y="167"/>
                    </a:cubicBezTo>
                    <a:cubicBezTo>
                      <a:pt x="171" y="170"/>
                      <a:pt x="171" y="173"/>
                      <a:pt x="170" y="175"/>
                    </a:cubicBezTo>
                    <a:cubicBezTo>
                      <a:pt x="169" y="177"/>
                      <a:pt x="168" y="178"/>
                      <a:pt x="167" y="179"/>
                    </a:cubicBezTo>
                    <a:cubicBezTo>
                      <a:pt x="165" y="179"/>
                      <a:pt x="164" y="180"/>
                      <a:pt x="162" y="180"/>
                    </a:cubicBezTo>
                    <a:lnTo>
                      <a:pt x="65" y="180"/>
                    </a:lnTo>
                    <a:lnTo>
                      <a:pt x="65" y="271"/>
                    </a:lnTo>
                    <a:lnTo>
                      <a:pt x="181" y="271"/>
                    </a:lnTo>
                    <a:cubicBezTo>
                      <a:pt x="183" y="271"/>
                      <a:pt x="184" y="271"/>
                      <a:pt x="185" y="272"/>
                    </a:cubicBezTo>
                    <a:cubicBezTo>
                      <a:pt x="186" y="273"/>
                      <a:pt x="187" y="274"/>
                      <a:pt x="188" y="276"/>
                    </a:cubicBezTo>
                    <a:cubicBezTo>
                      <a:pt x="189" y="278"/>
                      <a:pt x="190" y="281"/>
                      <a:pt x="190" y="284"/>
                    </a:cubicBezTo>
                    <a:cubicBezTo>
                      <a:pt x="191" y="287"/>
                      <a:pt x="191" y="291"/>
                      <a:pt x="191" y="296"/>
                    </a:cubicBez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8" name="Freeform 1220"/>
              <p:cNvSpPr>
                <a:spLocks noEditPoints="1"/>
              </p:cNvSpPr>
              <p:nvPr/>
            </p:nvSpPr>
            <p:spPr bwMode="auto">
              <a:xfrm>
                <a:off x="2907" y="3045"/>
                <a:ext cx="786" cy="94"/>
              </a:xfrm>
              <a:custGeom>
                <a:avLst/>
                <a:gdLst/>
                <a:ahLst/>
                <a:cxnLst>
                  <a:cxn ang="0">
                    <a:pos x="185" y="313"/>
                  </a:cxn>
                  <a:cxn ang="0">
                    <a:pos x="6" y="320"/>
                  </a:cxn>
                  <a:cxn ang="0">
                    <a:pos x="250" y="313"/>
                  </a:cxn>
                  <a:cxn ang="0">
                    <a:pos x="379" y="296"/>
                  </a:cxn>
                  <a:cxn ang="0">
                    <a:pos x="316" y="401"/>
                  </a:cxn>
                  <a:cxn ang="0">
                    <a:pos x="369" y="91"/>
                  </a:cxn>
                  <a:cxn ang="0">
                    <a:pos x="539" y="199"/>
                  </a:cxn>
                  <a:cxn ang="0">
                    <a:pos x="379" y="166"/>
                  </a:cxn>
                  <a:cxn ang="0">
                    <a:pos x="789" y="212"/>
                  </a:cxn>
                  <a:cxn ang="0">
                    <a:pos x="766" y="267"/>
                  </a:cxn>
                  <a:cxn ang="0">
                    <a:pos x="779" y="309"/>
                  </a:cxn>
                  <a:cxn ang="0">
                    <a:pos x="584" y="151"/>
                  </a:cxn>
                  <a:cxn ang="0">
                    <a:pos x="733" y="178"/>
                  </a:cxn>
                  <a:cxn ang="0">
                    <a:pos x="866" y="398"/>
                  </a:cxn>
                  <a:cxn ang="0">
                    <a:pos x="816" y="273"/>
                  </a:cxn>
                  <a:cxn ang="0">
                    <a:pos x="896" y="84"/>
                  </a:cxn>
                  <a:cxn ang="0">
                    <a:pos x="1096" y="394"/>
                  </a:cxn>
                  <a:cxn ang="0">
                    <a:pos x="1041" y="321"/>
                  </a:cxn>
                  <a:cxn ang="0">
                    <a:pos x="995" y="270"/>
                  </a:cxn>
                  <a:cxn ang="0">
                    <a:pos x="1376" y="194"/>
                  </a:cxn>
                  <a:cxn ang="0">
                    <a:pos x="1354" y="189"/>
                  </a:cxn>
                  <a:cxn ang="0">
                    <a:pos x="1253" y="311"/>
                  </a:cxn>
                  <a:cxn ang="0">
                    <a:pos x="1194" y="180"/>
                  </a:cxn>
                  <a:cxn ang="0">
                    <a:pos x="1123" y="317"/>
                  </a:cxn>
                  <a:cxn ang="0">
                    <a:pos x="1244" y="116"/>
                  </a:cxn>
                  <a:cxn ang="0">
                    <a:pos x="1298" y="206"/>
                  </a:cxn>
                  <a:cxn ang="0">
                    <a:pos x="1425" y="104"/>
                  </a:cxn>
                  <a:cxn ang="0">
                    <a:pos x="1609" y="280"/>
                  </a:cxn>
                  <a:cxn ang="0">
                    <a:pos x="1691" y="294"/>
                  </a:cxn>
                  <a:cxn ang="0">
                    <a:pos x="1514" y="297"/>
                  </a:cxn>
                  <a:cxn ang="0">
                    <a:pos x="1696" y="142"/>
                  </a:cxn>
                  <a:cxn ang="0">
                    <a:pos x="1548" y="178"/>
                  </a:cxn>
                  <a:cxn ang="0">
                    <a:pos x="1850" y="317"/>
                  </a:cxn>
                  <a:cxn ang="0">
                    <a:pos x="1733" y="138"/>
                  </a:cxn>
                  <a:cxn ang="0">
                    <a:pos x="1907" y="83"/>
                  </a:cxn>
                  <a:cxn ang="0">
                    <a:pos x="2134" y="323"/>
                  </a:cxn>
                  <a:cxn ang="0">
                    <a:pos x="2007" y="320"/>
                  </a:cxn>
                  <a:cxn ang="0">
                    <a:pos x="1957" y="84"/>
                  </a:cxn>
                  <a:cxn ang="0">
                    <a:pos x="2103" y="91"/>
                  </a:cxn>
                  <a:cxn ang="0">
                    <a:pos x="2165" y="313"/>
                  </a:cxn>
                  <a:cxn ang="0">
                    <a:pos x="2465" y="313"/>
                  </a:cxn>
                  <a:cxn ang="0">
                    <a:pos x="2527" y="91"/>
                  </a:cxn>
                  <a:cxn ang="0">
                    <a:pos x="2426" y="274"/>
                  </a:cxn>
                  <a:cxn ang="0">
                    <a:pos x="2228" y="298"/>
                  </a:cxn>
                  <a:cxn ang="0">
                    <a:pos x="2369" y="242"/>
                  </a:cxn>
                  <a:cxn ang="0">
                    <a:pos x="2321" y="279"/>
                  </a:cxn>
                  <a:cxn ang="0">
                    <a:pos x="2674" y="275"/>
                  </a:cxn>
                  <a:cxn ang="0">
                    <a:pos x="2785" y="285"/>
                  </a:cxn>
                  <a:cxn ang="0">
                    <a:pos x="2644" y="319"/>
                  </a:cxn>
                  <a:cxn ang="0">
                    <a:pos x="2770" y="108"/>
                  </a:cxn>
                  <a:cxn ang="0">
                    <a:pos x="2645" y="156"/>
                  </a:cxn>
                  <a:cxn ang="0">
                    <a:pos x="3054" y="319"/>
                  </a:cxn>
                  <a:cxn ang="0">
                    <a:pos x="2968" y="409"/>
                  </a:cxn>
                  <a:cxn ang="0">
                    <a:pos x="3009" y="84"/>
                  </a:cxn>
                  <a:cxn ang="0">
                    <a:pos x="3164" y="113"/>
                  </a:cxn>
                  <a:cxn ang="0">
                    <a:pos x="3051" y="138"/>
                  </a:cxn>
                  <a:cxn ang="0">
                    <a:pos x="3119" y="203"/>
                  </a:cxn>
                  <a:cxn ang="0">
                    <a:pos x="3375" y="277"/>
                  </a:cxn>
                  <a:cxn ang="0">
                    <a:pos x="3428" y="301"/>
                  </a:cxn>
                  <a:cxn ang="0">
                    <a:pos x="3229" y="259"/>
                  </a:cxn>
                  <a:cxn ang="0">
                    <a:pos x="3439" y="185"/>
                  </a:cxn>
                  <a:cxn ang="0">
                    <a:pos x="3379" y="178"/>
                  </a:cxn>
                </a:cxnLst>
                <a:rect l="0" t="0" r="r" b="b"/>
                <a:pathLst>
                  <a:path w="3439" h="411">
                    <a:moveTo>
                      <a:pt x="250" y="313"/>
                    </a:moveTo>
                    <a:cubicBezTo>
                      <a:pt x="250" y="314"/>
                      <a:pt x="250" y="316"/>
                      <a:pt x="249" y="317"/>
                    </a:cubicBezTo>
                    <a:cubicBezTo>
                      <a:pt x="248" y="318"/>
                      <a:pt x="246" y="319"/>
                      <a:pt x="243" y="320"/>
                    </a:cubicBezTo>
                    <a:cubicBezTo>
                      <a:pt x="241" y="321"/>
                      <a:pt x="237" y="322"/>
                      <a:pt x="233" y="322"/>
                    </a:cubicBezTo>
                    <a:cubicBezTo>
                      <a:pt x="229" y="322"/>
                      <a:pt x="224" y="323"/>
                      <a:pt x="217" y="323"/>
                    </a:cubicBezTo>
                    <a:cubicBezTo>
                      <a:pt x="211" y="323"/>
                      <a:pt x="206" y="322"/>
                      <a:pt x="202" y="322"/>
                    </a:cubicBezTo>
                    <a:cubicBezTo>
                      <a:pt x="198" y="322"/>
                      <a:pt x="194" y="321"/>
                      <a:pt x="192" y="320"/>
                    </a:cubicBezTo>
                    <a:cubicBezTo>
                      <a:pt x="189" y="319"/>
                      <a:pt x="187" y="318"/>
                      <a:pt x="186" y="317"/>
                    </a:cubicBezTo>
                    <a:cubicBezTo>
                      <a:pt x="185" y="316"/>
                      <a:pt x="185" y="314"/>
                      <a:pt x="185" y="313"/>
                    </a:cubicBezTo>
                    <a:lnTo>
                      <a:pt x="185" y="54"/>
                    </a:lnTo>
                    <a:lnTo>
                      <a:pt x="65" y="54"/>
                    </a:lnTo>
                    <a:lnTo>
                      <a:pt x="65" y="313"/>
                    </a:lnTo>
                    <a:cubicBezTo>
                      <a:pt x="65" y="314"/>
                      <a:pt x="64" y="316"/>
                      <a:pt x="63" y="317"/>
                    </a:cubicBezTo>
                    <a:cubicBezTo>
                      <a:pt x="62" y="318"/>
                      <a:pt x="60" y="319"/>
                      <a:pt x="58" y="320"/>
                    </a:cubicBezTo>
                    <a:cubicBezTo>
                      <a:pt x="55" y="321"/>
                      <a:pt x="52" y="322"/>
                      <a:pt x="48" y="322"/>
                    </a:cubicBezTo>
                    <a:cubicBezTo>
                      <a:pt x="44" y="322"/>
                      <a:pt x="39" y="323"/>
                      <a:pt x="32" y="323"/>
                    </a:cubicBezTo>
                    <a:cubicBezTo>
                      <a:pt x="26" y="323"/>
                      <a:pt x="21" y="322"/>
                      <a:pt x="16" y="322"/>
                    </a:cubicBezTo>
                    <a:cubicBezTo>
                      <a:pt x="12" y="322"/>
                      <a:pt x="9" y="321"/>
                      <a:pt x="6" y="320"/>
                    </a:cubicBezTo>
                    <a:cubicBezTo>
                      <a:pt x="4" y="319"/>
                      <a:pt x="2" y="318"/>
                      <a:pt x="1" y="317"/>
                    </a:cubicBezTo>
                    <a:cubicBezTo>
                      <a:pt x="0" y="316"/>
                      <a:pt x="0" y="314"/>
                      <a:pt x="0" y="313"/>
                    </a:cubicBezTo>
                    <a:lnTo>
                      <a:pt x="0" y="20"/>
                    </a:lnTo>
                    <a:cubicBezTo>
                      <a:pt x="0" y="13"/>
                      <a:pt x="1" y="8"/>
                      <a:pt x="5" y="5"/>
                    </a:cubicBezTo>
                    <a:cubicBezTo>
                      <a:pt x="8" y="1"/>
                      <a:pt x="13" y="0"/>
                      <a:pt x="19" y="0"/>
                    </a:cubicBezTo>
                    <a:lnTo>
                      <a:pt x="231" y="0"/>
                    </a:lnTo>
                    <a:cubicBezTo>
                      <a:pt x="237" y="0"/>
                      <a:pt x="242" y="1"/>
                      <a:pt x="245" y="5"/>
                    </a:cubicBezTo>
                    <a:cubicBezTo>
                      <a:pt x="248" y="8"/>
                      <a:pt x="250" y="13"/>
                      <a:pt x="250" y="20"/>
                    </a:cubicBezTo>
                    <a:lnTo>
                      <a:pt x="250" y="313"/>
                    </a:lnTo>
                    <a:close/>
                    <a:moveTo>
                      <a:pt x="539" y="199"/>
                    </a:moveTo>
                    <a:cubicBezTo>
                      <a:pt x="539" y="218"/>
                      <a:pt x="537" y="236"/>
                      <a:pt x="533" y="252"/>
                    </a:cubicBezTo>
                    <a:cubicBezTo>
                      <a:pt x="529" y="268"/>
                      <a:pt x="523" y="281"/>
                      <a:pt x="515" y="292"/>
                    </a:cubicBezTo>
                    <a:cubicBezTo>
                      <a:pt x="506" y="303"/>
                      <a:pt x="496" y="312"/>
                      <a:pt x="484" y="318"/>
                    </a:cubicBezTo>
                    <a:cubicBezTo>
                      <a:pt x="472" y="324"/>
                      <a:pt x="458" y="327"/>
                      <a:pt x="443" y="327"/>
                    </a:cubicBezTo>
                    <a:cubicBezTo>
                      <a:pt x="436" y="327"/>
                      <a:pt x="430" y="326"/>
                      <a:pt x="425" y="325"/>
                    </a:cubicBezTo>
                    <a:cubicBezTo>
                      <a:pt x="420" y="324"/>
                      <a:pt x="414" y="322"/>
                      <a:pt x="409" y="319"/>
                    </a:cubicBezTo>
                    <a:cubicBezTo>
                      <a:pt x="404" y="317"/>
                      <a:pt x="399" y="314"/>
                      <a:pt x="394" y="310"/>
                    </a:cubicBezTo>
                    <a:cubicBezTo>
                      <a:pt x="389" y="306"/>
                      <a:pt x="384" y="302"/>
                      <a:pt x="379" y="296"/>
                    </a:cubicBezTo>
                    <a:lnTo>
                      <a:pt x="379" y="401"/>
                    </a:lnTo>
                    <a:cubicBezTo>
                      <a:pt x="379" y="402"/>
                      <a:pt x="378" y="404"/>
                      <a:pt x="377" y="405"/>
                    </a:cubicBezTo>
                    <a:cubicBezTo>
                      <a:pt x="376" y="406"/>
                      <a:pt x="375" y="408"/>
                      <a:pt x="372" y="409"/>
                    </a:cubicBezTo>
                    <a:cubicBezTo>
                      <a:pt x="370" y="409"/>
                      <a:pt x="367" y="410"/>
                      <a:pt x="363" y="411"/>
                    </a:cubicBezTo>
                    <a:cubicBezTo>
                      <a:pt x="359" y="411"/>
                      <a:pt x="354" y="411"/>
                      <a:pt x="348" y="411"/>
                    </a:cubicBezTo>
                    <a:cubicBezTo>
                      <a:pt x="342" y="411"/>
                      <a:pt x="336" y="411"/>
                      <a:pt x="333" y="411"/>
                    </a:cubicBezTo>
                    <a:cubicBezTo>
                      <a:pt x="329" y="410"/>
                      <a:pt x="325" y="409"/>
                      <a:pt x="323" y="409"/>
                    </a:cubicBezTo>
                    <a:cubicBezTo>
                      <a:pt x="320" y="408"/>
                      <a:pt x="319" y="406"/>
                      <a:pt x="318" y="405"/>
                    </a:cubicBezTo>
                    <a:cubicBezTo>
                      <a:pt x="317" y="404"/>
                      <a:pt x="316" y="402"/>
                      <a:pt x="316" y="401"/>
                    </a:cubicBezTo>
                    <a:lnTo>
                      <a:pt x="316" y="91"/>
                    </a:lnTo>
                    <a:cubicBezTo>
                      <a:pt x="316" y="90"/>
                      <a:pt x="317" y="88"/>
                      <a:pt x="318" y="87"/>
                    </a:cubicBezTo>
                    <a:cubicBezTo>
                      <a:pt x="318" y="86"/>
                      <a:pt x="320" y="85"/>
                      <a:pt x="322" y="84"/>
                    </a:cubicBezTo>
                    <a:cubicBezTo>
                      <a:pt x="324" y="83"/>
                      <a:pt x="327" y="82"/>
                      <a:pt x="330" y="82"/>
                    </a:cubicBezTo>
                    <a:cubicBezTo>
                      <a:pt x="334" y="81"/>
                      <a:pt x="338" y="81"/>
                      <a:pt x="343" y="81"/>
                    </a:cubicBezTo>
                    <a:cubicBezTo>
                      <a:pt x="348" y="81"/>
                      <a:pt x="352" y="81"/>
                      <a:pt x="356" y="82"/>
                    </a:cubicBezTo>
                    <a:cubicBezTo>
                      <a:pt x="359" y="82"/>
                      <a:pt x="362" y="83"/>
                      <a:pt x="364" y="84"/>
                    </a:cubicBezTo>
                    <a:cubicBezTo>
                      <a:pt x="366" y="85"/>
                      <a:pt x="367" y="86"/>
                      <a:pt x="368" y="87"/>
                    </a:cubicBezTo>
                    <a:cubicBezTo>
                      <a:pt x="369" y="88"/>
                      <a:pt x="369" y="90"/>
                      <a:pt x="369" y="91"/>
                    </a:cubicBezTo>
                    <a:lnTo>
                      <a:pt x="369" y="117"/>
                    </a:lnTo>
                    <a:cubicBezTo>
                      <a:pt x="376" y="111"/>
                      <a:pt x="382" y="105"/>
                      <a:pt x="388" y="100"/>
                    </a:cubicBezTo>
                    <a:cubicBezTo>
                      <a:pt x="395" y="95"/>
                      <a:pt x="401" y="90"/>
                      <a:pt x="407" y="87"/>
                    </a:cubicBezTo>
                    <a:cubicBezTo>
                      <a:pt x="414" y="84"/>
                      <a:pt x="420" y="81"/>
                      <a:pt x="427" y="79"/>
                    </a:cubicBezTo>
                    <a:cubicBezTo>
                      <a:pt x="434" y="78"/>
                      <a:pt x="441" y="77"/>
                      <a:pt x="449" y="77"/>
                    </a:cubicBezTo>
                    <a:cubicBezTo>
                      <a:pt x="465" y="77"/>
                      <a:pt x="479" y="80"/>
                      <a:pt x="491" y="87"/>
                    </a:cubicBezTo>
                    <a:cubicBezTo>
                      <a:pt x="502" y="93"/>
                      <a:pt x="511" y="102"/>
                      <a:pt x="519" y="113"/>
                    </a:cubicBezTo>
                    <a:cubicBezTo>
                      <a:pt x="526" y="124"/>
                      <a:pt x="531" y="137"/>
                      <a:pt x="534" y="151"/>
                    </a:cubicBezTo>
                    <a:cubicBezTo>
                      <a:pt x="538" y="166"/>
                      <a:pt x="539" y="182"/>
                      <a:pt x="539" y="199"/>
                    </a:cubicBezTo>
                    <a:close/>
                    <a:moveTo>
                      <a:pt x="474" y="203"/>
                    </a:moveTo>
                    <a:cubicBezTo>
                      <a:pt x="474" y="194"/>
                      <a:pt x="474" y="185"/>
                      <a:pt x="472" y="176"/>
                    </a:cubicBezTo>
                    <a:cubicBezTo>
                      <a:pt x="471" y="167"/>
                      <a:pt x="468" y="160"/>
                      <a:pt x="465" y="153"/>
                    </a:cubicBezTo>
                    <a:cubicBezTo>
                      <a:pt x="462" y="146"/>
                      <a:pt x="457" y="141"/>
                      <a:pt x="452" y="136"/>
                    </a:cubicBezTo>
                    <a:cubicBezTo>
                      <a:pt x="446" y="132"/>
                      <a:pt x="439" y="130"/>
                      <a:pt x="431" y="130"/>
                    </a:cubicBezTo>
                    <a:cubicBezTo>
                      <a:pt x="427" y="130"/>
                      <a:pt x="423" y="131"/>
                      <a:pt x="419" y="132"/>
                    </a:cubicBezTo>
                    <a:cubicBezTo>
                      <a:pt x="415" y="134"/>
                      <a:pt x="410" y="136"/>
                      <a:pt x="406" y="138"/>
                    </a:cubicBezTo>
                    <a:cubicBezTo>
                      <a:pt x="402" y="141"/>
                      <a:pt x="398" y="145"/>
                      <a:pt x="393" y="149"/>
                    </a:cubicBezTo>
                    <a:cubicBezTo>
                      <a:pt x="389" y="154"/>
                      <a:pt x="384" y="159"/>
                      <a:pt x="379" y="166"/>
                    </a:cubicBezTo>
                    <a:lnTo>
                      <a:pt x="379" y="239"/>
                    </a:lnTo>
                    <a:cubicBezTo>
                      <a:pt x="388" y="250"/>
                      <a:pt x="396" y="259"/>
                      <a:pt x="404" y="265"/>
                    </a:cubicBezTo>
                    <a:cubicBezTo>
                      <a:pt x="412" y="271"/>
                      <a:pt x="420" y="274"/>
                      <a:pt x="429" y="274"/>
                    </a:cubicBezTo>
                    <a:cubicBezTo>
                      <a:pt x="437" y="274"/>
                      <a:pt x="444" y="272"/>
                      <a:pt x="450" y="267"/>
                    </a:cubicBezTo>
                    <a:cubicBezTo>
                      <a:pt x="455" y="263"/>
                      <a:pt x="460" y="258"/>
                      <a:pt x="464" y="251"/>
                    </a:cubicBezTo>
                    <a:cubicBezTo>
                      <a:pt x="467" y="245"/>
                      <a:pt x="470" y="237"/>
                      <a:pt x="472" y="228"/>
                    </a:cubicBezTo>
                    <a:cubicBezTo>
                      <a:pt x="473" y="220"/>
                      <a:pt x="474" y="212"/>
                      <a:pt x="474" y="203"/>
                    </a:cubicBezTo>
                    <a:close/>
                    <a:moveTo>
                      <a:pt x="794" y="196"/>
                    </a:moveTo>
                    <a:cubicBezTo>
                      <a:pt x="794" y="203"/>
                      <a:pt x="792" y="209"/>
                      <a:pt x="789" y="212"/>
                    </a:cubicBezTo>
                    <a:cubicBezTo>
                      <a:pt x="786" y="216"/>
                      <a:pt x="781" y="218"/>
                      <a:pt x="775" y="218"/>
                    </a:cubicBezTo>
                    <a:lnTo>
                      <a:pt x="640" y="218"/>
                    </a:lnTo>
                    <a:cubicBezTo>
                      <a:pt x="640" y="227"/>
                      <a:pt x="641" y="236"/>
                      <a:pt x="643" y="243"/>
                    </a:cubicBezTo>
                    <a:cubicBezTo>
                      <a:pt x="646" y="251"/>
                      <a:pt x="649" y="258"/>
                      <a:pt x="654" y="263"/>
                    </a:cubicBezTo>
                    <a:cubicBezTo>
                      <a:pt x="659" y="269"/>
                      <a:pt x="665" y="273"/>
                      <a:pt x="673" y="275"/>
                    </a:cubicBezTo>
                    <a:cubicBezTo>
                      <a:pt x="681" y="278"/>
                      <a:pt x="690" y="280"/>
                      <a:pt x="701" y="280"/>
                    </a:cubicBezTo>
                    <a:cubicBezTo>
                      <a:pt x="712" y="280"/>
                      <a:pt x="721" y="279"/>
                      <a:pt x="729" y="277"/>
                    </a:cubicBezTo>
                    <a:cubicBezTo>
                      <a:pt x="738" y="276"/>
                      <a:pt x="745" y="274"/>
                      <a:pt x="751" y="272"/>
                    </a:cubicBezTo>
                    <a:cubicBezTo>
                      <a:pt x="757" y="270"/>
                      <a:pt x="762" y="268"/>
                      <a:pt x="766" y="267"/>
                    </a:cubicBezTo>
                    <a:cubicBezTo>
                      <a:pt x="770" y="265"/>
                      <a:pt x="773" y="265"/>
                      <a:pt x="776" y="265"/>
                    </a:cubicBezTo>
                    <a:cubicBezTo>
                      <a:pt x="777" y="265"/>
                      <a:pt x="779" y="265"/>
                      <a:pt x="779" y="265"/>
                    </a:cubicBezTo>
                    <a:cubicBezTo>
                      <a:pt x="780" y="266"/>
                      <a:pt x="781" y="267"/>
                      <a:pt x="782" y="269"/>
                    </a:cubicBezTo>
                    <a:cubicBezTo>
                      <a:pt x="783" y="270"/>
                      <a:pt x="783" y="272"/>
                      <a:pt x="783" y="275"/>
                    </a:cubicBezTo>
                    <a:cubicBezTo>
                      <a:pt x="784" y="278"/>
                      <a:pt x="784" y="281"/>
                      <a:pt x="784" y="285"/>
                    </a:cubicBezTo>
                    <a:cubicBezTo>
                      <a:pt x="784" y="289"/>
                      <a:pt x="784" y="292"/>
                      <a:pt x="783" y="294"/>
                    </a:cubicBezTo>
                    <a:cubicBezTo>
                      <a:pt x="783" y="297"/>
                      <a:pt x="783" y="299"/>
                      <a:pt x="783" y="301"/>
                    </a:cubicBezTo>
                    <a:cubicBezTo>
                      <a:pt x="782" y="303"/>
                      <a:pt x="782" y="304"/>
                      <a:pt x="781" y="306"/>
                    </a:cubicBezTo>
                    <a:cubicBezTo>
                      <a:pt x="781" y="307"/>
                      <a:pt x="780" y="308"/>
                      <a:pt x="779" y="309"/>
                    </a:cubicBezTo>
                    <a:cubicBezTo>
                      <a:pt x="777" y="310"/>
                      <a:pt x="775" y="312"/>
                      <a:pt x="770" y="314"/>
                    </a:cubicBezTo>
                    <a:cubicBezTo>
                      <a:pt x="765" y="316"/>
                      <a:pt x="759" y="318"/>
                      <a:pt x="751" y="320"/>
                    </a:cubicBezTo>
                    <a:cubicBezTo>
                      <a:pt x="744" y="322"/>
                      <a:pt x="735" y="323"/>
                      <a:pt x="726" y="325"/>
                    </a:cubicBezTo>
                    <a:cubicBezTo>
                      <a:pt x="716" y="326"/>
                      <a:pt x="706" y="327"/>
                      <a:pt x="695" y="327"/>
                    </a:cubicBezTo>
                    <a:cubicBezTo>
                      <a:pt x="675" y="327"/>
                      <a:pt x="658" y="324"/>
                      <a:pt x="643" y="319"/>
                    </a:cubicBezTo>
                    <a:cubicBezTo>
                      <a:pt x="628" y="314"/>
                      <a:pt x="616" y="307"/>
                      <a:pt x="606" y="297"/>
                    </a:cubicBezTo>
                    <a:cubicBezTo>
                      <a:pt x="596" y="287"/>
                      <a:pt x="589" y="274"/>
                      <a:pt x="584" y="259"/>
                    </a:cubicBezTo>
                    <a:cubicBezTo>
                      <a:pt x="579" y="243"/>
                      <a:pt x="577" y="225"/>
                      <a:pt x="577" y="204"/>
                    </a:cubicBezTo>
                    <a:cubicBezTo>
                      <a:pt x="577" y="185"/>
                      <a:pt x="579" y="167"/>
                      <a:pt x="584" y="151"/>
                    </a:cubicBezTo>
                    <a:cubicBezTo>
                      <a:pt x="589" y="135"/>
                      <a:pt x="597" y="122"/>
                      <a:pt x="607" y="111"/>
                    </a:cubicBezTo>
                    <a:cubicBezTo>
                      <a:pt x="616" y="100"/>
                      <a:pt x="628" y="91"/>
                      <a:pt x="642" y="86"/>
                    </a:cubicBezTo>
                    <a:cubicBezTo>
                      <a:pt x="656" y="80"/>
                      <a:pt x="672" y="77"/>
                      <a:pt x="690" y="77"/>
                    </a:cubicBezTo>
                    <a:cubicBezTo>
                      <a:pt x="708" y="77"/>
                      <a:pt x="724" y="80"/>
                      <a:pt x="737" y="85"/>
                    </a:cubicBezTo>
                    <a:cubicBezTo>
                      <a:pt x="750" y="91"/>
                      <a:pt x="761" y="98"/>
                      <a:pt x="770" y="108"/>
                    </a:cubicBezTo>
                    <a:cubicBezTo>
                      <a:pt x="778" y="118"/>
                      <a:pt x="784" y="129"/>
                      <a:pt x="788" y="142"/>
                    </a:cubicBezTo>
                    <a:cubicBezTo>
                      <a:pt x="792" y="156"/>
                      <a:pt x="794" y="170"/>
                      <a:pt x="794" y="185"/>
                    </a:cubicBezTo>
                    <a:lnTo>
                      <a:pt x="794" y="196"/>
                    </a:lnTo>
                    <a:close/>
                    <a:moveTo>
                      <a:pt x="733" y="178"/>
                    </a:moveTo>
                    <a:cubicBezTo>
                      <a:pt x="734" y="160"/>
                      <a:pt x="731" y="146"/>
                      <a:pt x="723" y="136"/>
                    </a:cubicBezTo>
                    <a:cubicBezTo>
                      <a:pt x="715" y="126"/>
                      <a:pt x="704" y="121"/>
                      <a:pt x="688" y="121"/>
                    </a:cubicBezTo>
                    <a:cubicBezTo>
                      <a:pt x="680" y="121"/>
                      <a:pt x="673" y="123"/>
                      <a:pt x="667" y="126"/>
                    </a:cubicBezTo>
                    <a:cubicBezTo>
                      <a:pt x="661" y="129"/>
                      <a:pt x="657" y="133"/>
                      <a:pt x="653" y="138"/>
                    </a:cubicBezTo>
                    <a:cubicBezTo>
                      <a:pt x="649" y="143"/>
                      <a:pt x="646" y="149"/>
                      <a:pt x="644" y="156"/>
                    </a:cubicBezTo>
                    <a:cubicBezTo>
                      <a:pt x="642" y="162"/>
                      <a:pt x="640" y="170"/>
                      <a:pt x="640" y="178"/>
                    </a:cubicBezTo>
                    <a:lnTo>
                      <a:pt x="733" y="178"/>
                    </a:lnTo>
                    <a:close/>
                    <a:moveTo>
                      <a:pt x="867" y="394"/>
                    </a:moveTo>
                    <a:cubicBezTo>
                      <a:pt x="867" y="395"/>
                      <a:pt x="867" y="396"/>
                      <a:pt x="866" y="398"/>
                    </a:cubicBezTo>
                    <a:cubicBezTo>
                      <a:pt x="865" y="399"/>
                      <a:pt x="864" y="400"/>
                      <a:pt x="862" y="400"/>
                    </a:cubicBezTo>
                    <a:cubicBezTo>
                      <a:pt x="860" y="401"/>
                      <a:pt x="857" y="402"/>
                      <a:pt x="853" y="402"/>
                    </a:cubicBezTo>
                    <a:cubicBezTo>
                      <a:pt x="850" y="402"/>
                      <a:pt x="846" y="403"/>
                      <a:pt x="841" y="403"/>
                    </a:cubicBezTo>
                    <a:cubicBezTo>
                      <a:pt x="835" y="403"/>
                      <a:pt x="831" y="402"/>
                      <a:pt x="827" y="402"/>
                    </a:cubicBezTo>
                    <a:cubicBezTo>
                      <a:pt x="824" y="402"/>
                      <a:pt x="821" y="401"/>
                      <a:pt x="819" y="400"/>
                    </a:cubicBezTo>
                    <a:cubicBezTo>
                      <a:pt x="817" y="400"/>
                      <a:pt x="815" y="399"/>
                      <a:pt x="815" y="398"/>
                    </a:cubicBezTo>
                    <a:cubicBezTo>
                      <a:pt x="814" y="396"/>
                      <a:pt x="813" y="395"/>
                      <a:pt x="813" y="394"/>
                    </a:cubicBezTo>
                    <a:lnTo>
                      <a:pt x="813" y="283"/>
                    </a:lnTo>
                    <a:cubicBezTo>
                      <a:pt x="813" y="278"/>
                      <a:pt x="814" y="274"/>
                      <a:pt x="816" y="273"/>
                    </a:cubicBezTo>
                    <a:cubicBezTo>
                      <a:pt x="817" y="271"/>
                      <a:pt x="821" y="270"/>
                      <a:pt x="825" y="270"/>
                    </a:cubicBezTo>
                    <a:lnTo>
                      <a:pt x="838" y="270"/>
                    </a:lnTo>
                    <a:cubicBezTo>
                      <a:pt x="843" y="263"/>
                      <a:pt x="848" y="255"/>
                      <a:pt x="853" y="246"/>
                    </a:cubicBezTo>
                    <a:cubicBezTo>
                      <a:pt x="857" y="238"/>
                      <a:pt x="862" y="227"/>
                      <a:pt x="866" y="214"/>
                    </a:cubicBezTo>
                    <a:cubicBezTo>
                      <a:pt x="870" y="201"/>
                      <a:pt x="873" y="185"/>
                      <a:pt x="877" y="167"/>
                    </a:cubicBezTo>
                    <a:cubicBezTo>
                      <a:pt x="880" y="149"/>
                      <a:pt x="883" y="127"/>
                      <a:pt x="886" y="102"/>
                    </a:cubicBezTo>
                    <a:cubicBezTo>
                      <a:pt x="887" y="99"/>
                      <a:pt x="887" y="96"/>
                      <a:pt x="888" y="94"/>
                    </a:cubicBezTo>
                    <a:cubicBezTo>
                      <a:pt x="889" y="91"/>
                      <a:pt x="890" y="89"/>
                      <a:pt x="891" y="88"/>
                    </a:cubicBezTo>
                    <a:cubicBezTo>
                      <a:pt x="892" y="86"/>
                      <a:pt x="894" y="85"/>
                      <a:pt x="896" y="84"/>
                    </a:cubicBezTo>
                    <a:cubicBezTo>
                      <a:pt x="898" y="83"/>
                      <a:pt x="901" y="83"/>
                      <a:pt x="904" y="83"/>
                    </a:cubicBezTo>
                    <a:lnTo>
                      <a:pt x="1041" y="83"/>
                    </a:lnTo>
                    <a:cubicBezTo>
                      <a:pt x="1047" y="83"/>
                      <a:pt x="1051" y="84"/>
                      <a:pt x="1054" y="88"/>
                    </a:cubicBezTo>
                    <a:cubicBezTo>
                      <a:pt x="1057" y="91"/>
                      <a:pt x="1058" y="96"/>
                      <a:pt x="1058" y="103"/>
                    </a:cubicBezTo>
                    <a:lnTo>
                      <a:pt x="1058" y="270"/>
                    </a:lnTo>
                    <a:lnTo>
                      <a:pt x="1083" y="270"/>
                    </a:lnTo>
                    <a:cubicBezTo>
                      <a:pt x="1088" y="270"/>
                      <a:pt x="1091" y="271"/>
                      <a:pt x="1093" y="273"/>
                    </a:cubicBezTo>
                    <a:cubicBezTo>
                      <a:pt x="1095" y="274"/>
                      <a:pt x="1096" y="278"/>
                      <a:pt x="1096" y="283"/>
                    </a:cubicBezTo>
                    <a:lnTo>
                      <a:pt x="1096" y="394"/>
                    </a:lnTo>
                    <a:cubicBezTo>
                      <a:pt x="1096" y="395"/>
                      <a:pt x="1095" y="396"/>
                      <a:pt x="1095" y="398"/>
                    </a:cubicBezTo>
                    <a:cubicBezTo>
                      <a:pt x="1094" y="399"/>
                      <a:pt x="1092" y="400"/>
                      <a:pt x="1090" y="400"/>
                    </a:cubicBezTo>
                    <a:cubicBezTo>
                      <a:pt x="1088" y="401"/>
                      <a:pt x="1085" y="402"/>
                      <a:pt x="1082" y="402"/>
                    </a:cubicBezTo>
                    <a:cubicBezTo>
                      <a:pt x="1078" y="402"/>
                      <a:pt x="1074" y="403"/>
                      <a:pt x="1068" y="403"/>
                    </a:cubicBezTo>
                    <a:cubicBezTo>
                      <a:pt x="1063" y="403"/>
                      <a:pt x="1059" y="402"/>
                      <a:pt x="1056" y="402"/>
                    </a:cubicBezTo>
                    <a:cubicBezTo>
                      <a:pt x="1052" y="402"/>
                      <a:pt x="1049" y="401"/>
                      <a:pt x="1047" y="400"/>
                    </a:cubicBezTo>
                    <a:cubicBezTo>
                      <a:pt x="1045" y="400"/>
                      <a:pt x="1044" y="399"/>
                      <a:pt x="1043" y="398"/>
                    </a:cubicBezTo>
                    <a:cubicBezTo>
                      <a:pt x="1042" y="396"/>
                      <a:pt x="1041" y="395"/>
                      <a:pt x="1041" y="394"/>
                    </a:cubicBezTo>
                    <a:lnTo>
                      <a:pt x="1041" y="321"/>
                    </a:lnTo>
                    <a:lnTo>
                      <a:pt x="867" y="321"/>
                    </a:lnTo>
                    <a:lnTo>
                      <a:pt x="867" y="394"/>
                    </a:lnTo>
                    <a:close/>
                    <a:moveTo>
                      <a:pt x="995" y="133"/>
                    </a:moveTo>
                    <a:lnTo>
                      <a:pt x="942" y="133"/>
                    </a:lnTo>
                    <a:cubicBezTo>
                      <a:pt x="939" y="153"/>
                      <a:pt x="936" y="171"/>
                      <a:pt x="933" y="186"/>
                    </a:cubicBezTo>
                    <a:cubicBezTo>
                      <a:pt x="930" y="201"/>
                      <a:pt x="926" y="214"/>
                      <a:pt x="923" y="225"/>
                    </a:cubicBezTo>
                    <a:cubicBezTo>
                      <a:pt x="919" y="236"/>
                      <a:pt x="915" y="245"/>
                      <a:pt x="911" y="252"/>
                    </a:cubicBezTo>
                    <a:cubicBezTo>
                      <a:pt x="907" y="259"/>
                      <a:pt x="903" y="265"/>
                      <a:pt x="899" y="270"/>
                    </a:cubicBezTo>
                    <a:lnTo>
                      <a:pt x="995" y="270"/>
                    </a:lnTo>
                    <a:lnTo>
                      <a:pt x="995" y="133"/>
                    </a:lnTo>
                    <a:close/>
                    <a:moveTo>
                      <a:pt x="1447" y="312"/>
                    </a:moveTo>
                    <a:cubicBezTo>
                      <a:pt x="1447" y="316"/>
                      <a:pt x="1445" y="319"/>
                      <a:pt x="1441" y="320"/>
                    </a:cubicBezTo>
                    <a:cubicBezTo>
                      <a:pt x="1437" y="322"/>
                      <a:pt x="1430" y="323"/>
                      <a:pt x="1419" y="323"/>
                    </a:cubicBezTo>
                    <a:cubicBezTo>
                      <a:pt x="1413" y="323"/>
                      <a:pt x="1408" y="323"/>
                      <a:pt x="1404" y="322"/>
                    </a:cubicBezTo>
                    <a:cubicBezTo>
                      <a:pt x="1400" y="322"/>
                      <a:pt x="1397" y="322"/>
                      <a:pt x="1395" y="321"/>
                    </a:cubicBezTo>
                    <a:cubicBezTo>
                      <a:pt x="1393" y="321"/>
                      <a:pt x="1391" y="320"/>
                      <a:pt x="1390" y="318"/>
                    </a:cubicBezTo>
                    <a:cubicBezTo>
                      <a:pt x="1390" y="317"/>
                      <a:pt x="1389" y="315"/>
                      <a:pt x="1389" y="313"/>
                    </a:cubicBezTo>
                    <a:lnTo>
                      <a:pt x="1376" y="194"/>
                    </a:lnTo>
                    <a:cubicBezTo>
                      <a:pt x="1375" y="190"/>
                      <a:pt x="1375" y="185"/>
                      <a:pt x="1375" y="180"/>
                    </a:cubicBezTo>
                    <a:cubicBezTo>
                      <a:pt x="1374" y="175"/>
                      <a:pt x="1374" y="169"/>
                      <a:pt x="1373" y="164"/>
                    </a:cubicBezTo>
                    <a:cubicBezTo>
                      <a:pt x="1373" y="158"/>
                      <a:pt x="1373" y="153"/>
                      <a:pt x="1372" y="148"/>
                    </a:cubicBezTo>
                    <a:cubicBezTo>
                      <a:pt x="1372" y="142"/>
                      <a:pt x="1371" y="137"/>
                      <a:pt x="1371" y="133"/>
                    </a:cubicBezTo>
                    <a:lnTo>
                      <a:pt x="1371" y="127"/>
                    </a:lnTo>
                    <a:cubicBezTo>
                      <a:pt x="1370" y="131"/>
                      <a:pt x="1369" y="136"/>
                      <a:pt x="1367" y="142"/>
                    </a:cubicBezTo>
                    <a:cubicBezTo>
                      <a:pt x="1366" y="147"/>
                      <a:pt x="1364" y="152"/>
                      <a:pt x="1363" y="158"/>
                    </a:cubicBezTo>
                    <a:cubicBezTo>
                      <a:pt x="1361" y="163"/>
                      <a:pt x="1360" y="169"/>
                      <a:pt x="1358" y="174"/>
                    </a:cubicBezTo>
                    <a:cubicBezTo>
                      <a:pt x="1357" y="179"/>
                      <a:pt x="1355" y="184"/>
                      <a:pt x="1354" y="189"/>
                    </a:cubicBezTo>
                    <a:lnTo>
                      <a:pt x="1315" y="311"/>
                    </a:lnTo>
                    <a:cubicBezTo>
                      <a:pt x="1314" y="313"/>
                      <a:pt x="1313" y="315"/>
                      <a:pt x="1312" y="316"/>
                    </a:cubicBezTo>
                    <a:cubicBezTo>
                      <a:pt x="1311" y="318"/>
                      <a:pt x="1309" y="319"/>
                      <a:pt x="1306" y="320"/>
                    </a:cubicBezTo>
                    <a:cubicBezTo>
                      <a:pt x="1304" y="321"/>
                      <a:pt x="1301" y="322"/>
                      <a:pt x="1297" y="322"/>
                    </a:cubicBezTo>
                    <a:cubicBezTo>
                      <a:pt x="1293" y="322"/>
                      <a:pt x="1289" y="323"/>
                      <a:pt x="1283" y="323"/>
                    </a:cubicBezTo>
                    <a:cubicBezTo>
                      <a:pt x="1278" y="323"/>
                      <a:pt x="1274" y="322"/>
                      <a:pt x="1270" y="322"/>
                    </a:cubicBezTo>
                    <a:cubicBezTo>
                      <a:pt x="1266" y="322"/>
                      <a:pt x="1263" y="321"/>
                      <a:pt x="1261" y="320"/>
                    </a:cubicBezTo>
                    <a:cubicBezTo>
                      <a:pt x="1259" y="319"/>
                      <a:pt x="1257" y="318"/>
                      <a:pt x="1255" y="316"/>
                    </a:cubicBezTo>
                    <a:cubicBezTo>
                      <a:pt x="1254" y="315"/>
                      <a:pt x="1253" y="313"/>
                      <a:pt x="1253" y="311"/>
                    </a:cubicBezTo>
                    <a:lnTo>
                      <a:pt x="1215" y="189"/>
                    </a:lnTo>
                    <a:cubicBezTo>
                      <a:pt x="1213" y="184"/>
                      <a:pt x="1212" y="179"/>
                      <a:pt x="1210" y="174"/>
                    </a:cubicBezTo>
                    <a:cubicBezTo>
                      <a:pt x="1209" y="169"/>
                      <a:pt x="1207" y="163"/>
                      <a:pt x="1206" y="158"/>
                    </a:cubicBezTo>
                    <a:cubicBezTo>
                      <a:pt x="1204" y="153"/>
                      <a:pt x="1203" y="147"/>
                      <a:pt x="1201" y="142"/>
                    </a:cubicBezTo>
                    <a:cubicBezTo>
                      <a:pt x="1200" y="136"/>
                      <a:pt x="1199" y="131"/>
                      <a:pt x="1198" y="127"/>
                    </a:cubicBezTo>
                    <a:lnTo>
                      <a:pt x="1198" y="133"/>
                    </a:lnTo>
                    <a:cubicBezTo>
                      <a:pt x="1197" y="137"/>
                      <a:pt x="1197" y="142"/>
                      <a:pt x="1197" y="148"/>
                    </a:cubicBezTo>
                    <a:cubicBezTo>
                      <a:pt x="1197" y="153"/>
                      <a:pt x="1196" y="158"/>
                      <a:pt x="1196" y="164"/>
                    </a:cubicBezTo>
                    <a:cubicBezTo>
                      <a:pt x="1195" y="169"/>
                      <a:pt x="1195" y="175"/>
                      <a:pt x="1194" y="180"/>
                    </a:cubicBezTo>
                    <a:cubicBezTo>
                      <a:pt x="1194" y="185"/>
                      <a:pt x="1193" y="190"/>
                      <a:pt x="1193" y="194"/>
                    </a:cubicBezTo>
                    <a:lnTo>
                      <a:pt x="1180" y="312"/>
                    </a:lnTo>
                    <a:cubicBezTo>
                      <a:pt x="1180" y="314"/>
                      <a:pt x="1179" y="316"/>
                      <a:pt x="1178" y="317"/>
                    </a:cubicBezTo>
                    <a:cubicBezTo>
                      <a:pt x="1178" y="319"/>
                      <a:pt x="1176" y="320"/>
                      <a:pt x="1174" y="321"/>
                    </a:cubicBezTo>
                    <a:cubicBezTo>
                      <a:pt x="1171" y="322"/>
                      <a:pt x="1168" y="322"/>
                      <a:pt x="1164" y="322"/>
                    </a:cubicBezTo>
                    <a:cubicBezTo>
                      <a:pt x="1160" y="323"/>
                      <a:pt x="1155" y="323"/>
                      <a:pt x="1149" y="323"/>
                    </a:cubicBezTo>
                    <a:cubicBezTo>
                      <a:pt x="1143" y="323"/>
                      <a:pt x="1138" y="323"/>
                      <a:pt x="1135" y="322"/>
                    </a:cubicBezTo>
                    <a:cubicBezTo>
                      <a:pt x="1131" y="322"/>
                      <a:pt x="1129" y="321"/>
                      <a:pt x="1127" y="320"/>
                    </a:cubicBezTo>
                    <a:cubicBezTo>
                      <a:pt x="1125" y="319"/>
                      <a:pt x="1124" y="318"/>
                      <a:pt x="1123" y="317"/>
                    </a:cubicBezTo>
                    <a:cubicBezTo>
                      <a:pt x="1122" y="315"/>
                      <a:pt x="1122" y="314"/>
                      <a:pt x="1122" y="312"/>
                    </a:cubicBezTo>
                    <a:lnTo>
                      <a:pt x="1144" y="104"/>
                    </a:lnTo>
                    <a:cubicBezTo>
                      <a:pt x="1145" y="97"/>
                      <a:pt x="1147" y="92"/>
                      <a:pt x="1151" y="88"/>
                    </a:cubicBezTo>
                    <a:cubicBezTo>
                      <a:pt x="1155" y="84"/>
                      <a:pt x="1161" y="83"/>
                      <a:pt x="1169" y="83"/>
                    </a:cubicBezTo>
                    <a:lnTo>
                      <a:pt x="1200" y="83"/>
                    </a:lnTo>
                    <a:cubicBezTo>
                      <a:pt x="1207" y="83"/>
                      <a:pt x="1212" y="83"/>
                      <a:pt x="1217" y="84"/>
                    </a:cubicBezTo>
                    <a:cubicBezTo>
                      <a:pt x="1222" y="85"/>
                      <a:pt x="1226" y="87"/>
                      <a:pt x="1229" y="89"/>
                    </a:cubicBezTo>
                    <a:cubicBezTo>
                      <a:pt x="1233" y="92"/>
                      <a:pt x="1236" y="95"/>
                      <a:pt x="1238" y="100"/>
                    </a:cubicBezTo>
                    <a:cubicBezTo>
                      <a:pt x="1240" y="104"/>
                      <a:pt x="1242" y="109"/>
                      <a:pt x="1244" y="116"/>
                    </a:cubicBezTo>
                    <a:lnTo>
                      <a:pt x="1269" y="192"/>
                    </a:lnTo>
                    <a:cubicBezTo>
                      <a:pt x="1270" y="197"/>
                      <a:pt x="1272" y="202"/>
                      <a:pt x="1273" y="207"/>
                    </a:cubicBezTo>
                    <a:cubicBezTo>
                      <a:pt x="1275" y="213"/>
                      <a:pt x="1276" y="218"/>
                      <a:pt x="1278" y="223"/>
                    </a:cubicBezTo>
                    <a:cubicBezTo>
                      <a:pt x="1279" y="229"/>
                      <a:pt x="1281" y="234"/>
                      <a:pt x="1282" y="239"/>
                    </a:cubicBezTo>
                    <a:cubicBezTo>
                      <a:pt x="1283" y="244"/>
                      <a:pt x="1284" y="249"/>
                      <a:pt x="1285" y="253"/>
                    </a:cubicBezTo>
                    <a:lnTo>
                      <a:pt x="1286" y="253"/>
                    </a:lnTo>
                    <a:cubicBezTo>
                      <a:pt x="1287" y="249"/>
                      <a:pt x="1288" y="244"/>
                      <a:pt x="1289" y="239"/>
                    </a:cubicBezTo>
                    <a:cubicBezTo>
                      <a:pt x="1290" y="233"/>
                      <a:pt x="1292" y="228"/>
                      <a:pt x="1293" y="223"/>
                    </a:cubicBezTo>
                    <a:cubicBezTo>
                      <a:pt x="1295" y="217"/>
                      <a:pt x="1296" y="212"/>
                      <a:pt x="1298" y="206"/>
                    </a:cubicBezTo>
                    <a:cubicBezTo>
                      <a:pt x="1299" y="201"/>
                      <a:pt x="1301" y="196"/>
                      <a:pt x="1302" y="192"/>
                    </a:cubicBezTo>
                    <a:lnTo>
                      <a:pt x="1327" y="116"/>
                    </a:lnTo>
                    <a:cubicBezTo>
                      <a:pt x="1329" y="110"/>
                      <a:pt x="1331" y="105"/>
                      <a:pt x="1332" y="100"/>
                    </a:cubicBezTo>
                    <a:cubicBezTo>
                      <a:pt x="1335" y="96"/>
                      <a:pt x="1337" y="93"/>
                      <a:pt x="1340" y="90"/>
                    </a:cubicBezTo>
                    <a:cubicBezTo>
                      <a:pt x="1343" y="88"/>
                      <a:pt x="1347" y="86"/>
                      <a:pt x="1352" y="85"/>
                    </a:cubicBezTo>
                    <a:cubicBezTo>
                      <a:pt x="1356" y="83"/>
                      <a:pt x="1362" y="83"/>
                      <a:pt x="1369" y="83"/>
                    </a:cubicBezTo>
                    <a:lnTo>
                      <a:pt x="1400" y="83"/>
                    </a:lnTo>
                    <a:cubicBezTo>
                      <a:pt x="1408" y="83"/>
                      <a:pt x="1414" y="84"/>
                      <a:pt x="1418" y="88"/>
                    </a:cubicBezTo>
                    <a:cubicBezTo>
                      <a:pt x="1422" y="92"/>
                      <a:pt x="1424" y="97"/>
                      <a:pt x="1425" y="104"/>
                    </a:cubicBezTo>
                    <a:lnTo>
                      <a:pt x="1447" y="312"/>
                    </a:lnTo>
                    <a:close/>
                    <a:moveTo>
                      <a:pt x="1702" y="196"/>
                    </a:moveTo>
                    <a:cubicBezTo>
                      <a:pt x="1702" y="203"/>
                      <a:pt x="1700" y="209"/>
                      <a:pt x="1697" y="212"/>
                    </a:cubicBezTo>
                    <a:cubicBezTo>
                      <a:pt x="1694" y="216"/>
                      <a:pt x="1689" y="218"/>
                      <a:pt x="1683" y="218"/>
                    </a:cubicBezTo>
                    <a:lnTo>
                      <a:pt x="1548" y="218"/>
                    </a:lnTo>
                    <a:cubicBezTo>
                      <a:pt x="1548" y="227"/>
                      <a:pt x="1549" y="236"/>
                      <a:pt x="1551" y="243"/>
                    </a:cubicBezTo>
                    <a:cubicBezTo>
                      <a:pt x="1554" y="251"/>
                      <a:pt x="1557" y="258"/>
                      <a:pt x="1562" y="263"/>
                    </a:cubicBezTo>
                    <a:cubicBezTo>
                      <a:pt x="1567" y="269"/>
                      <a:pt x="1573" y="273"/>
                      <a:pt x="1581" y="275"/>
                    </a:cubicBezTo>
                    <a:cubicBezTo>
                      <a:pt x="1589" y="278"/>
                      <a:pt x="1598" y="280"/>
                      <a:pt x="1609" y="280"/>
                    </a:cubicBezTo>
                    <a:cubicBezTo>
                      <a:pt x="1620" y="280"/>
                      <a:pt x="1629" y="279"/>
                      <a:pt x="1638" y="277"/>
                    </a:cubicBezTo>
                    <a:cubicBezTo>
                      <a:pt x="1646" y="276"/>
                      <a:pt x="1653" y="274"/>
                      <a:pt x="1659" y="272"/>
                    </a:cubicBezTo>
                    <a:cubicBezTo>
                      <a:pt x="1665" y="270"/>
                      <a:pt x="1670" y="268"/>
                      <a:pt x="1674" y="267"/>
                    </a:cubicBezTo>
                    <a:cubicBezTo>
                      <a:pt x="1678" y="265"/>
                      <a:pt x="1681" y="265"/>
                      <a:pt x="1684" y="265"/>
                    </a:cubicBezTo>
                    <a:cubicBezTo>
                      <a:pt x="1685" y="265"/>
                      <a:pt x="1687" y="265"/>
                      <a:pt x="1687" y="265"/>
                    </a:cubicBezTo>
                    <a:cubicBezTo>
                      <a:pt x="1688" y="266"/>
                      <a:pt x="1689" y="267"/>
                      <a:pt x="1690" y="269"/>
                    </a:cubicBezTo>
                    <a:cubicBezTo>
                      <a:pt x="1691" y="270"/>
                      <a:pt x="1691" y="272"/>
                      <a:pt x="1691" y="275"/>
                    </a:cubicBezTo>
                    <a:cubicBezTo>
                      <a:pt x="1692" y="278"/>
                      <a:pt x="1692" y="281"/>
                      <a:pt x="1692" y="285"/>
                    </a:cubicBezTo>
                    <a:cubicBezTo>
                      <a:pt x="1692" y="289"/>
                      <a:pt x="1692" y="292"/>
                      <a:pt x="1691" y="294"/>
                    </a:cubicBezTo>
                    <a:cubicBezTo>
                      <a:pt x="1691" y="297"/>
                      <a:pt x="1691" y="299"/>
                      <a:pt x="1691" y="301"/>
                    </a:cubicBezTo>
                    <a:cubicBezTo>
                      <a:pt x="1690" y="303"/>
                      <a:pt x="1690" y="304"/>
                      <a:pt x="1689" y="306"/>
                    </a:cubicBezTo>
                    <a:cubicBezTo>
                      <a:pt x="1689" y="307"/>
                      <a:pt x="1688" y="308"/>
                      <a:pt x="1687" y="309"/>
                    </a:cubicBezTo>
                    <a:cubicBezTo>
                      <a:pt x="1686" y="310"/>
                      <a:pt x="1683" y="312"/>
                      <a:pt x="1678" y="314"/>
                    </a:cubicBezTo>
                    <a:cubicBezTo>
                      <a:pt x="1673" y="316"/>
                      <a:pt x="1667" y="318"/>
                      <a:pt x="1659" y="320"/>
                    </a:cubicBezTo>
                    <a:cubicBezTo>
                      <a:pt x="1652" y="322"/>
                      <a:pt x="1643" y="323"/>
                      <a:pt x="1634" y="325"/>
                    </a:cubicBezTo>
                    <a:cubicBezTo>
                      <a:pt x="1624" y="326"/>
                      <a:pt x="1614" y="327"/>
                      <a:pt x="1603" y="327"/>
                    </a:cubicBezTo>
                    <a:cubicBezTo>
                      <a:pt x="1583" y="327"/>
                      <a:pt x="1566" y="324"/>
                      <a:pt x="1551" y="319"/>
                    </a:cubicBezTo>
                    <a:cubicBezTo>
                      <a:pt x="1536" y="314"/>
                      <a:pt x="1524" y="307"/>
                      <a:pt x="1514" y="297"/>
                    </a:cubicBezTo>
                    <a:cubicBezTo>
                      <a:pt x="1504" y="287"/>
                      <a:pt x="1497" y="274"/>
                      <a:pt x="1492" y="259"/>
                    </a:cubicBezTo>
                    <a:cubicBezTo>
                      <a:pt x="1487" y="243"/>
                      <a:pt x="1485" y="225"/>
                      <a:pt x="1485" y="204"/>
                    </a:cubicBezTo>
                    <a:cubicBezTo>
                      <a:pt x="1485" y="185"/>
                      <a:pt x="1487" y="167"/>
                      <a:pt x="1492" y="151"/>
                    </a:cubicBezTo>
                    <a:cubicBezTo>
                      <a:pt x="1497" y="135"/>
                      <a:pt x="1505" y="122"/>
                      <a:pt x="1515" y="111"/>
                    </a:cubicBezTo>
                    <a:cubicBezTo>
                      <a:pt x="1524" y="100"/>
                      <a:pt x="1536" y="91"/>
                      <a:pt x="1550" y="86"/>
                    </a:cubicBezTo>
                    <a:cubicBezTo>
                      <a:pt x="1564" y="80"/>
                      <a:pt x="1580" y="77"/>
                      <a:pt x="1598" y="77"/>
                    </a:cubicBezTo>
                    <a:cubicBezTo>
                      <a:pt x="1616" y="77"/>
                      <a:pt x="1632" y="80"/>
                      <a:pt x="1645" y="85"/>
                    </a:cubicBezTo>
                    <a:cubicBezTo>
                      <a:pt x="1658" y="91"/>
                      <a:pt x="1669" y="98"/>
                      <a:pt x="1678" y="108"/>
                    </a:cubicBezTo>
                    <a:cubicBezTo>
                      <a:pt x="1686" y="118"/>
                      <a:pt x="1692" y="129"/>
                      <a:pt x="1696" y="142"/>
                    </a:cubicBezTo>
                    <a:cubicBezTo>
                      <a:pt x="1700" y="156"/>
                      <a:pt x="1702" y="170"/>
                      <a:pt x="1702" y="185"/>
                    </a:cubicBezTo>
                    <a:lnTo>
                      <a:pt x="1702" y="196"/>
                    </a:lnTo>
                    <a:close/>
                    <a:moveTo>
                      <a:pt x="1641" y="178"/>
                    </a:moveTo>
                    <a:cubicBezTo>
                      <a:pt x="1642" y="160"/>
                      <a:pt x="1639" y="146"/>
                      <a:pt x="1631" y="136"/>
                    </a:cubicBezTo>
                    <a:cubicBezTo>
                      <a:pt x="1623" y="126"/>
                      <a:pt x="1612" y="121"/>
                      <a:pt x="1596" y="121"/>
                    </a:cubicBezTo>
                    <a:cubicBezTo>
                      <a:pt x="1588" y="121"/>
                      <a:pt x="1581" y="123"/>
                      <a:pt x="1575" y="126"/>
                    </a:cubicBezTo>
                    <a:cubicBezTo>
                      <a:pt x="1569" y="129"/>
                      <a:pt x="1565" y="133"/>
                      <a:pt x="1561" y="138"/>
                    </a:cubicBezTo>
                    <a:cubicBezTo>
                      <a:pt x="1557" y="143"/>
                      <a:pt x="1554" y="149"/>
                      <a:pt x="1552" y="156"/>
                    </a:cubicBezTo>
                    <a:cubicBezTo>
                      <a:pt x="1550" y="162"/>
                      <a:pt x="1548" y="170"/>
                      <a:pt x="1548" y="178"/>
                    </a:cubicBezTo>
                    <a:lnTo>
                      <a:pt x="1641" y="178"/>
                    </a:lnTo>
                    <a:close/>
                    <a:moveTo>
                      <a:pt x="1917" y="110"/>
                    </a:moveTo>
                    <a:cubicBezTo>
                      <a:pt x="1917" y="116"/>
                      <a:pt x="1917" y="120"/>
                      <a:pt x="1916" y="124"/>
                    </a:cubicBezTo>
                    <a:cubicBezTo>
                      <a:pt x="1916" y="128"/>
                      <a:pt x="1915" y="130"/>
                      <a:pt x="1914" y="133"/>
                    </a:cubicBezTo>
                    <a:cubicBezTo>
                      <a:pt x="1914" y="135"/>
                      <a:pt x="1912" y="136"/>
                      <a:pt x="1911" y="137"/>
                    </a:cubicBezTo>
                    <a:cubicBezTo>
                      <a:pt x="1910" y="138"/>
                      <a:pt x="1909" y="138"/>
                      <a:pt x="1907" y="138"/>
                    </a:cubicBezTo>
                    <a:lnTo>
                      <a:pt x="1851" y="138"/>
                    </a:lnTo>
                    <a:lnTo>
                      <a:pt x="1851" y="313"/>
                    </a:lnTo>
                    <a:cubicBezTo>
                      <a:pt x="1851" y="314"/>
                      <a:pt x="1851" y="316"/>
                      <a:pt x="1850" y="317"/>
                    </a:cubicBezTo>
                    <a:cubicBezTo>
                      <a:pt x="1849" y="318"/>
                      <a:pt x="1847" y="319"/>
                      <a:pt x="1845" y="320"/>
                    </a:cubicBezTo>
                    <a:cubicBezTo>
                      <a:pt x="1842" y="321"/>
                      <a:pt x="1839" y="322"/>
                      <a:pt x="1835" y="322"/>
                    </a:cubicBezTo>
                    <a:cubicBezTo>
                      <a:pt x="1831" y="322"/>
                      <a:pt x="1826" y="323"/>
                      <a:pt x="1820" y="323"/>
                    </a:cubicBezTo>
                    <a:cubicBezTo>
                      <a:pt x="1814" y="323"/>
                      <a:pt x="1809" y="322"/>
                      <a:pt x="1805" y="322"/>
                    </a:cubicBezTo>
                    <a:cubicBezTo>
                      <a:pt x="1801" y="322"/>
                      <a:pt x="1798" y="321"/>
                      <a:pt x="1795" y="320"/>
                    </a:cubicBezTo>
                    <a:cubicBezTo>
                      <a:pt x="1793" y="319"/>
                      <a:pt x="1791" y="318"/>
                      <a:pt x="1790" y="317"/>
                    </a:cubicBezTo>
                    <a:cubicBezTo>
                      <a:pt x="1790" y="316"/>
                      <a:pt x="1789" y="314"/>
                      <a:pt x="1789" y="313"/>
                    </a:cubicBezTo>
                    <a:lnTo>
                      <a:pt x="1789" y="138"/>
                    </a:lnTo>
                    <a:lnTo>
                      <a:pt x="1733" y="138"/>
                    </a:lnTo>
                    <a:cubicBezTo>
                      <a:pt x="1732" y="138"/>
                      <a:pt x="1730" y="138"/>
                      <a:pt x="1729" y="137"/>
                    </a:cubicBezTo>
                    <a:cubicBezTo>
                      <a:pt x="1728" y="136"/>
                      <a:pt x="1727" y="135"/>
                      <a:pt x="1726" y="132"/>
                    </a:cubicBezTo>
                    <a:cubicBezTo>
                      <a:pt x="1725" y="130"/>
                      <a:pt x="1724" y="127"/>
                      <a:pt x="1724" y="123"/>
                    </a:cubicBezTo>
                    <a:cubicBezTo>
                      <a:pt x="1723" y="120"/>
                      <a:pt x="1723" y="115"/>
                      <a:pt x="1723" y="110"/>
                    </a:cubicBezTo>
                    <a:cubicBezTo>
                      <a:pt x="1723" y="105"/>
                      <a:pt x="1723" y="100"/>
                      <a:pt x="1724" y="97"/>
                    </a:cubicBezTo>
                    <a:cubicBezTo>
                      <a:pt x="1725" y="94"/>
                      <a:pt x="1725" y="91"/>
                      <a:pt x="1726" y="89"/>
                    </a:cubicBezTo>
                    <a:cubicBezTo>
                      <a:pt x="1727" y="86"/>
                      <a:pt x="1728" y="85"/>
                      <a:pt x="1729" y="84"/>
                    </a:cubicBezTo>
                    <a:cubicBezTo>
                      <a:pt x="1730" y="83"/>
                      <a:pt x="1732" y="83"/>
                      <a:pt x="1733" y="83"/>
                    </a:cubicBezTo>
                    <a:lnTo>
                      <a:pt x="1907" y="83"/>
                    </a:lnTo>
                    <a:cubicBezTo>
                      <a:pt x="1909" y="83"/>
                      <a:pt x="1910" y="83"/>
                      <a:pt x="1911" y="84"/>
                    </a:cubicBezTo>
                    <a:cubicBezTo>
                      <a:pt x="1912" y="85"/>
                      <a:pt x="1914" y="86"/>
                      <a:pt x="1914" y="89"/>
                    </a:cubicBezTo>
                    <a:cubicBezTo>
                      <a:pt x="1915" y="91"/>
                      <a:pt x="1916" y="94"/>
                      <a:pt x="1916" y="97"/>
                    </a:cubicBezTo>
                    <a:cubicBezTo>
                      <a:pt x="1917" y="101"/>
                      <a:pt x="1917" y="105"/>
                      <a:pt x="1917" y="110"/>
                    </a:cubicBezTo>
                    <a:close/>
                    <a:moveTo>
                      <a:pt x="2165" y="313"/>
                    </a:moveTo>
                    <a:cubicBezTo>
                      <a:pt x="2165" y="314"/>
                      <a:pt x="2165" y="316"/>
                      <a:pt x="2164" y="317"/>
                    </a:cubicBezTo>
                    <a:cubicBezTo>
                      <a:pt x="2163" y="318"/>
                      <a:pt x="2161" y="319"/>
                      <a:pt x="2159" y="320"/>
                    </a:cubicBezTo>
                    <a:cubicBezTo>
                      <a:pt x="2156" y="321"/>
                      <a:pt x="2153" y="322"/>
                      <a:pt x="2149" y="322"/>
                    </a:cubicBezTo>
                    <a:cubicBezTo>
                      <a:pt x="2145" y="322"/>
                      <a:pt x="2140" y="323"/>
                      <a:pt x="2134" y="323"/>
                    </a:cubicBezTo>
                    <a:cubicBezTo>
                      <a:pt x="2128" y="323"/>
                      <a:pt x="2123" y="322"/>
                      <a:pt x="2119" y="322"/>
                    </a:cubicBezTo>
                    <a:cubicBezTo>
                      <a:pt x="2115" y="322"/>
                      <a:pt x="2112" y="321"/>
                      <a:pt x="2109" y="320"/>
                    </a:cubicBezTo>
                    <a:cubicBezTo>
                      <a:pt x="2107" y="319"/>
                      <a:pt x="2105" y="318"/>
                      <a:pt x="2104" y="317"/>
                    </a:cubicBezTo>
                    <a:cubicBezTo>
                      <a:pt x="2103" y="316"/>
                      <a:pt x="2103" y="314"/>
                      <a:pt x="2103" y="313"/>
                    </a:cubicBezTo>
                    <a:lnTo>
                      <a:pt x="2103" y="226"/>
                    </a:lnTo>
                    <a:lnTo>
                      <a:pt x="2013" y="226"/>
                    </a:lnTo>
                    <a:lnTo>
                      <a:pt x="2013" y="313"/>
                    </a:lnTo>
                    <a:cubicBezTo>
                      <a:pt x="2013" y="314"/>
                      <a:pt x="2013" y="316"/>
                      <a:pt x="2012" y="317"/>
                    </a:cubicBezTo>
                    <a:cubicBezTo>
                      <a:pt x="2011" y="318"/>
                      <a:pt x="2009" y="319"/>
                      <a:pt x="2007" y="320"/>
                    </a:cubicBezTo>
                    <a:cubicBezTo>
                      <a:pt x="2004" y="321"/>
                      <a:pt x="2001" y="322"/>
                      <a:pt x="1997" y="322"/>
                    </a:cubicBezTo>
                    <a:cubicBezTo>
                      <a:pt x="1993" y="322"/>
                      <a:pt x="1988" y="323"/>
                      <a:pt x="1982" y="323"/>
                    </a:cubicBezTo>
                    <a:cubicBezTo>
                      <a:pt x="1976" y="323"/>
                      <a:pt x="1971" y="322"/>
                      <a:pt x="1967" y="322"/>
                    </a:cubicBezTo>
                    <a:cubicBezTo>
                      <a:pt x="1963" y="322"/>
                      <a:pt x="1960" y="321"/>
                      <a:pt x="1957" y="320"/>
                    </a:cubicBezTo>
                    <a:cubicBezTo>
                      <a:pt x="1955" y="319"/>
                      <a:pt x="1953" y="318"/>
                      <a:pt x="1952" y="317"/>
                    </a:cubicBezTo>
                    <a:cubicBezTo>
                      <a:pt x="1951" y="316"/>
                      <a:pt x="1951" y="314"/>
                      <a:pt x="1951" y="313"/>
                    </a:cubicBezTo>
                    <a:lnTo>
                      <a:pt x="1951" y="91"/>
                    </a:lnTo>
                    <a:cubicBezTo>
                      <a:pt x="1951" y="90"/>
                      <a:pt x="1951" y="88"/>
                      <a:pt x="1952" y="87"/>
                    </a:cubicBezTo>
                    <a:cubicBezTo>
                      <a:pt x="1953" y="86"/>
                      <a:pt x="1955" y="85"/>
                      <a:pt x="1957" y="84"/>
                    </a:cubicBezTo>
                    <a:cubicBezTo>
                      <a:pt x="1960" y="83"/>
                      <a:pt x="1963" y="82"/>
                      <a:pt x="1967" y="82"/>
                    </a:cubicBezTo>
                    <a:cubicBezTo>
                      <a:pt x="1971" y="81"/>
                      <a:pt x="1976" y="81"/>
                      <a:pt x="1982" y="81"/>
                    </a:cubicBezTo>
                    <a:cubicBezTo>
                      <a:pt x="1988" y="81"/>
                      <a:pt x="1993" y="81"/>
                      <a:pt x="1997" y="82"/>
                    </a:cubicBezTo>
                    <a:cubicBezTo>
                      <a:pt x="2001" y="82"/>
                      <a:pt x="2004" y="83"/>
                      <a:pt x="2007" y="84"/>
                    </a:cubicBezTo>
                    <a:cubicBezTo>
                      <a:pt x="2009" y="85"/>
                      <a:pt x="2011" y="86"/>
                      <a:pt x="2012" y="87"/>
                    </a:cubicBezTo>
                    <a:cubicBezTo>
                      <a:pt x="2013" y="88"/>
                      <a:pt x="2013" y="90"/>
                      <a:pt x="2013" y="91"/>
                    </a:cubicBezTo>
                    <a:lnTo>
                      <a:pt x="2013" y="174"/>
                    </a:lnTo>
                    <a:lnTo>
                      <a:pt x="2103" y="174"/>
                    </a:lnTo>
                    <a:lnTo>
                      <a:pt x="2103" y="91"/>
                    </a:lnTo>
                    <a:cubicBezTo>
                      <a:pt x="2103" y="90"/>
                      <a:pt x="2103" y="88"/>
                      <a:pt x="2104" y="87"/>
                    </a:cubicBezTo>
                    <a:cubicBezTo>
                      <a:pt x="2105" y="86"/>
                      <a:pt x="2107" y="85"/>
                      <a:pt x="2109" y="84"/>
                    </a:cubicBezTo>
                    <a:cubicBezTo>
                      <a:pt x="2112" y="83"/>
                      <a:pt x="2115" y="82"/>
                      <a:pt x="2119" y="82"/>
                    </a:cubicBezTo>
                    <a:cubicBezTo>
                      <a:pt x="2123" y="81"/>
                      <a:pt x="2128" y="81"/>
                      <a:pt x="2134" y="81"/>
                    </a:cubicBezTo>
                    <a:cubicBezTo>
                      <a:pt x="2140" y="81"/>
                      <a:pt x="2145" y="81"/>
                      <a:pt x="2149" y="82"/>
                    </a:cubicBezTo>
                    <a:cubicBezTo>
                      <a:pt x="2153" y="82"/>
                      <a:pt x="2156" y="83"/>
                      <a:pt x="2159" y="84"/>
                    </a:cubicBezTo>
                    <a:cubicBezTo>
                      <a:pt x="2161" y="85"/>
                      <a:pt x="2163" y="86"/>
                      <a:pt x="2164" y="87"/>
                    </a:cubicBezTo>
                    <a:cubicBezTo>
                      <a:pt x="2165" y="88"/>
                      <a:pt x="2165" y="90"/>
                      <a:pt x="2165" y="91"/>
                    </a:cubicBezTo>
                    <a:lnTo>
                      <a:pt x="2165" y="313"/>
                    </a:lnTo>
                    <a:close/>
                    <a:moveTo>
                      <a:pt x="2527" y="313"/>
                    </a:moveTo>
                    <a:cubicBezTo>
                      <a:pt x="2527" y="314"/>
                      <a:pt x="2527" y="316"/>
                      <a:pt x="2526" y="317"/>
                    </a:cubicBezTo>
                    <a:cubicBezTo>
                      <a:pt x="2525" y="318"/>
                      <a:pt x="2523" y="319"/>
                      <a:pt x="2521" y="320"/>
                    </a:cubicBezTo>
                    <a:cubicBezTo>
                      <a:pt x="2519" y="321"/>
                      <a:pt x="2516" y="322"/>
                      <a:pt x="2512" y="322"/>
                    </a:cubicBezTo>
                    <a:cubicBezTo>
                      <a:pt x="2508" y="322"/>
                      <a:pt x="2502" y="323"/>
                      <a:pt x="2496" y="323"/>
                    </a:cubicBezTo>
                    <a:cubicBezTo>
                      <a:pt x="2490" y="323"/>
                      <a:pt x="2485" y="322"/>
                      <a:pt x="2481" y="322"/>
                    </a:cubicBezTo>
                    <a:cubicBezTo>
                      <a:pt x="2477" y="322"/>
                      <a:pt x="2474" y="321"/>
                      <a:pt x="2472" y="320"/>
                    </a:cubicBezTo>
                    <a:cubicBezTo>
                      <a:pt x="2469" y="319"/>
                      <a:pt x="2468" y="318"/>
                      <a:pt x="2467" y="317"/>
                    </a:cubicBezTo>
                    <a:cubicBezTo>
                      <a:pt x="2466" y="316"/>
                      <a:pt x="2465" y="314"/>
                      <a:pt x="2465" y="313"/>
                    </a:cubicBezTo>
                    <a:lnTo>
                      <a:pt x="2465" y="91"/>
                    </a:lnTo>
                    <a:cubicBezTo>
                      <a:pt x="2465" y="90"/>
                      <a:pt x="2466" y="88"/>
                      <a:pt x="2467" y="87"/>
                    </a:cubicBezTo>
                    <a:cubicBezTo>
                      <a:pt x="2468" y="86"/>
                      <a:pt x="2469" y="85"/>
                      <a:pt x="2472" y="84"/>
                    </a:cubicBezTo>
                    <a:cubicBezTo>
                      <a:pt x="2474" y="83"/>
                      <a:pt x="2477" y="82"/>
                      <a:pt x="2481" y="82"/>
                    </a:cubicBezTo>
                    <a:cubicBezTo>
                      <a:pt x="2485" y="81"/>
                      <a:pt x="2490" y="81"/>
                      <a:pt x="2496" y="81"/>
                    </a:cubicBezTo>
                    <a:cubicBezTo>
                      <a:pt x="2502" y="81"/>
                      <a:pt x="2508" y="81"/>
                      <a:pt x="2512" y="82"/>
                    </a:cubicBezTo>
                    <a:cubicBezTo>
                      <a:pt x="2516" y="82"/>
                      <a:pt x="2519" y="83"/>
                      <a:pt x="2521" y="84"/>
                    </a:cubicBezTo>
                    <a:cubicBezTo>
                      <a:pt x="2523" y="85"/>
                      <a:pt x="2525" y="86"/>
                      <a:pt x="2526" y="87"/>
                    </a:cubicBezTo>
                    <a:cubicBezTo>
                      <a:pt x="2527" y="88"/>
                      <a:pt x="2527" y="90"/>
                      <a:pt x="2527" y="91"/>
                    </a:cubicBezTo>
                    <a:lnTo>
                      <a:pt x="2527" y="313"/>
                    </a:lnTo>
                    <a:close/>
                    <a:moveTo>
                      <a:pt x="2291" y="159"/>
                    </a:moveTo>
                    <a:cubicBezTo>
                      <a:pt x="2296" y="159"/>
                      <a:pt x="2302" y="159"/>
                      <a:pt x="2308" y="158"/>
                    </a:cubicBezTo>
                    <a:cubicBezTo>
                      <a:pt x="2314" y="158"/>
                      <a:pt x="2320" y="158"/>
                      <a:pt x="2327" y="158"/>
                    </a:cubicBezTo>
                    <a:cubicBezTo>
                      <a:pt x="2345" y="158"/>
                      <a:pt x="2361" y="160"/>
                      <a:pt x="2374" y="163"/>
                    </a:cubicBezTo>
                    <a:cubicBezTo>
                      <a:pt x="2388" y="167"/>
                      <a:pt x="2399" y="172"/>
                      <a:pt x="2407" y="179"/>
                    </a:cubicBezTo>
                    <a:cubicBezTo>
                      <a:pt x="2416" y="186"/>
                      <a:pt x="2422" y="195"/>
                      <a:pt x="2426" y="205"/>
                    </a:cubicBezTo>
                    <a:cubicBezTo>
                      <a:pt x="2431" y="214"/>
                      <a:pt x="2433" y="226"/>
                      <a:pt x="2433" y="238"/>
                    </a:cubicBezTo>
                    <a:cubicBezTo>
                      <a:pt x="2433" y="251"/>
                      <a:pt x="2430" y="263"/>
                      <a:pt x="2426" y="274"/>
                    </a:cubicBezTo>
                    <a:cubicBezTo>
                      <a:pt x="2421" y="285"/>
                      <a:pt x="2414" y="294"/>
                      <a:pt x="2404" y="302"/>
                    </a:cubicBezTo>
                    <a:cubicBezTo>
                      <a:pt x="2395" y="310"/>
                      <a:pt x="2382" y="316"/>
                      <a:pt x="2367" y="320"/>
                    </a:cubicBezTo>
                    <a:cubicBezTo>
                      <a:pt x="2353" y="324"/>
                      <a:pt x="2335" y="326"/>
                      <a:pt x="2314" y="326"/>
                    </a:cubicBezTo>
                    <a:cubicBezTo>
                      <a:pt x="2309" y="326"/>
                      <a:pt x="2303" y="326"/>
                      <a:pt x="2298" y="326"/>
                    </a:cubicBezTo>
                    <a:cubicBezTo>
                      <a:pt x="2292" y="326"/>
                      <a:pt x="2286" y="326"/>
                      <a:pt x="2281" y="325"/>
                    </a:cubicBezTo>
                    <a:cubicBezTo>
                      <a:pt x="2276" y="325"/>
                      <a:pt x="2270" y="325"/>
                      <a:pt x="2265" y="325"/>
                    </a:cubicBezTo>
                    <a:cubicBezTo>
                      <a:pt x="2260" y="324"/>
                      <a:pt x="2255" y="324"/>
                      <a:pt x="2251" y="323"/>
                    </a:cubicBezTo>
                    <a:cubicBezTo>
                      <a:pt x="2243" y="323"/>
                      <a:pt x="2237" y="320"/>
                      <a:pt x="2233" y="316"/>
                    </a:cubicBezTo>
                    <a:cubicBezTo>
                      <a:pt x="2230" y="312"/>
                      <a:pt x="2228" y="306"/>
                      <a:pt x="2228" y="298"/>
                    </a:cubicBezTo>
                    <a:lnTo>
                      <a:pt x="2228" y="91"/>
                    </a:lnTo>
                    <a:cubicBezTo>
                      <a:pt x="2228" y="90"/>
                      <a:pt x="2229" y="88"/>
                      <a:pt x="2230" y="87"/>
                    </a:cubicBezTo>
                    <a:cubicBezTo>
                      <a:pt x="2231" y="86"/>
                      <a:pt x="2232" y="85"/>
                      <a:pt x="2235" y="84"/>
                    </a:cubicBezTo>
                    <a:cubicBezTo>
                      <a:pt x="2237" y="83"/>
                      <a:pt x="2240" y="82"/>
                      <a:pt x="2244" y="82"/>
                    </a:cubicBezTo>
                    <a:cubicBezTo>
                      <a:pt x="2248" y="81"/>
                      <a:pt x="2252" y="81"/>
                      <a:pt x="2258" y="81"/>
                    </a:cubicBezTo>
                    <a:cubicBezTo>
                      <a:pt x="2270" y="81"/>
                      <a:pt x="2278" y="82"/>
                      <a:pt x="2283" y="84"/>
                    </a:cubicBezTo>
                    <a:cubicBezTo>
                      <a:pt x="2288" y="85"/>
                      <a:pt x="2291" y="88"/>
                      <a:pt x="2291" y="91"/>
                    </a:cubicBezTo>
                    <a:lnTo>
                      <a:pt x="2291" y="159"/>
                    </a:lnTo>
                    <a:close/>
                    <a:moveTo>
                      <a:pt x="2369" y="242"/>
                    </a:moveTo>
                    <a:cubicBezTo>
                      <a:pt x="2369" y="236"/>
                      <a:pt x="2368" y="231"/>
                      <a:pt x="2366" y="226"/>
                    </a:cubicBezTo>
                    <a:cubicBezTo>
                      <a:pt x="2365" y="222"/>
                      <a:pt x="2362" y="218"/>
                      <a:pt x="2358" y="215"/>
                    </a:cubicBezTo>
                    <a:cubicBezTo>
                      <a:pt x="2354" y="211"/>
                      <a:pt x="2349" y="209"/>
                      <a:pt x="2343" y="207"/>
                    </a:cubicBezTo>
                    <a:cubicBezTo>
                      <a:pt x="2336" y="206"/>
                      <a:pt x="2329" y="205"/>
                      <a:pt x="2319" y="205"/>
                    </a:cubicBezTo>
                    <a:cubicBezTo>
                      <a:pt x="2314" y="205"/>
                      <a:pt x="2309" y="205"/>
                      <a:pt x="2304" y="205"/>
                    </a:cubicBezTo>
                    <a:cubicBezTo>
                      <a:pt x="2299" y="205"/>
                      <a:pt x="2295" y="206"/>
                      <a:pt x="2291" y="206"/>
                    </a:cubicBezTo>
                    <a:lnTo>
                      <a:pt x="2291" y="277"/>
                    </a:lnTo>
                    <a:cubicBezTo>
                      <a:pt x="2295" y="278"/>
                      <a:pt x="2300" y="278"/>
                      <a:pt x="2305" y="279"/>
                    </a:cubicBezTo>
                    <a:cubicBezTo>
                      <a:pt x="2309" y="279"/>
                      <a:pt x="2315" y="279"/>
                      <a:pt x="2321" y="279"/>
                    </a:cubicBezTo>
                    <a:cubicBezTo>
                      <a:pt x="2338" y="279"/>
                      <a:pt x="2350" y="276"/>
                      <a:pt x="2357" y="269"/>
                    </a:cubicBezTo>
                    <a:cubicBezTo>
                      <a:pt x="2365" y="263"/>
                      <a:pt x="2369" y="253"/>
                      <a:pt x="2369" y="242"/>
                    </a:cubicBezTo>
                    <a:close/>
                    <a:moveTo>
                      <a:pt x="2795" y="196"/>
                    </a:moveTo>
                    <a:cubicBezTo>
                      <a:pt x="2795" y="203"/>
                      <a:pt x="2793" y="209"/>
                      <a:pt x="2790" y="212"/>
                    </a:cubicBezTo>
                    <a:cubicBezTo>
                      <a:pt x="2786" y="216"/>
                      <a:pt x="2782" y="218"/>
                      <a:pt x="2776" y="218"/>
                    </a:cubicBezTo>
                    <a:lnTo>
                      <a:pt x="2641" y="218"/>
                    </a:lnTo>
                    <a:cubicBezTo>
                      <a:pt x="2641" y="227"/>
                      <a:pt x="2642" y="236"/>
                      <a:pt x="2644" y="243"/>
                    </a:cubicBezTo>
                    <a:cubicBezTo>
                      <a:pt x="2647" y="251"/>
                      <a:pt x="2650" y="258"/>
                      <a:pt x="2655" y="263"/>
                    </a:cubicBezTo>
                    <a:cubicBezTo>
                      <a:pt x="2660" y="269"/>
                      <a:pt x="2666" y="273"/>
                      <a:pt x="2674" y="275"/>
                    </a:cubicBezTo>
                    <a:cubicBezTo>
                      <a:pt x="2682" y="278"/>
                      <a:pt x="2691" y="280"/>
                      <a:pt x="2702" y="280"/>
                    </a:cubicBezTo>
                    <a:cubicBezTo>
                      <a:pt x="2713" y="280"/>
                      <a:pt x="2722" y="279"/>
                      <a:pt x="2730" y="277"/>
                    </a:cubicBezTo>
                    <a:cubicBezTo>
                      <a:pt x="2739" y="276"/>
                      <a:pt x="2746" y="274"/>
                      <a:pt x="2752" y="272"/>
                    </a:cubicBezTo>
                    <a:cubicBezTo>
                      <a:pt x="2758" y="270"/>
                      <a:pt x="2763" y="268"/>
                      <a:pt x="2767" y="267"/>
                    </a:cubicBezTo>
                    <a:cubicBezTo>
                      <a:pt x="2771" y="265"/>
                      <a:pt x="2774" y="265"/>
                      <a:pt x="2777" y="265"/>
                    </a:cubicBezTo>
                    <a:cubicBezTo>
                      <a:pt x="2778" y="265"/>
                      <a:pt x="2779" y="265"/>
                      <a:pt x="2780" y="265"/>
                    </a:cubicBezTo>
                    <a:cubicBezTo>
                      <a:pt x="2781" y="266"/>
                      <a:pt x="2782" y="267"/>
                      <a:pt x="2783" y="269"/>
                    </a:cubicBezTo>
                    <a:cubicBezTo>
                      <a:pt x="2783" y="270"/>
                      <a:pt x="2784" y="272"/>
                      <a:pt x="2784" y="275"/>
                    </a:cubicBezTo>
                    <a:cubicBezTo>
                      <a:pt x="2784" y="278"/>
                      <a:pt x="2785" y="281"/>
                      <a:pt x="2785" y="285"/>
                    </a:cubicBezTo>
                    <a:cubicBezTo>
                      <a:pt x="2785" y="289"/>
                      <a:pt x="2784" y="292"/>
                      <a:pt x="2784" y="294"/>
                    </a:cubicBezTo>
                    <a:cubicBezTo>
                      <a:pt x="2784" y="297"/>
                      <a:pt x="2784" y="299"/>
                      <a:pt x="2783" y="301"/>
                    </a:cubicBezTo>
                    <a:cubicBezTo>
                      <a:pt x="2783" y="303"/>
                      <a:pt x="2783" y="304"/>
                      <a:pt x="2782" y="306"/>
                    </a:cubicBezTo>
                    <a:cubicBezTo>
                      <a:pt x="2781" y="307"/>
                      <a:pt x="2781" y="308"/>
                      <a:pt x="2779" y="309"/>
                    </a:cubicBezTo>
                    <a:cubicBezTo>
                      <a:pt x="2778" y="310"/>
                      <a:pt x="2775" y="312"/>
                      <a:pt x="2771" y="314"/>
                    </a:cubicBezTo>
                    <a:cubicBezTo>
                      <a:pt x="2766" y="316"/>
                      <a:pt x="2760" y="318"/>
                      <a:pt x="2752" y="320"/>
                    </a:cubicBezTo>
                    <a:cubicBezTo>
                      <a:pt x="2745" y="322"/>
                      <a:pt x="2736" y="323"/>
                      <a:pt x="2727" y="325"/>
                    </a:cubicBezTo>
                    <a:cubicBezTo>
                      <a:pt x="2717" y="326"/>
                      <a:pt x="2707" y="327"/>
                      <a:pt x="2696" y="327"/>
                    </a:cubicBezTo>
                    <a:cubicBezTo>
                      <a:pt x="2676" y="327"/>
                      <a:pt x="2659" y="324"/>
                      <a:pt x="2644" y="319"/>
                    </a:cubicBezTo>
                    <a:cubicBezTo>
                      <a:pt x="2629" y="314"/>
                      <a:pt x="2617" y="307"/>
                      <a:pt x="2607" y="297"/>
                    </a:cubicBezTo>
                    <a:cubicBezTo>
                      <a:pt x="2597" y="287"/>
                      <a:pt x="2590" y="274"/>
                      <a:pt x="2585" y="259"/>
                    </a:cubicBezTo>
                    <a:cubicBezTo>
                      <a:pt x="2580" y="243"/>
                      <a:pt x="2577" y="225"/>
                      <a:pt x="2577" y="204"/>
                    </a:cubicBezTo>
                    <a:cubicBezTo>
                      <a:pt x="2577" y="185"/>
                      <a:pt x="2580" y="167"/>
                      <a:pt x="2585" y="151"/>
                    </a:cubicBezTo>
                    <a:cubicBezTo>
                      <a:pt x="2590" y="135"/>
                      <a:pt x="2598" y="122"/>
                      <a:pt x="2607" y="111"/>
                    </a:cubicBezTo>
                    <a:cubicBezTo>
                      <a:pt x="2617" y="100"/>
                      <a:pt x="2629" y="91"/>
                      <a:pt x="2643" y="86"/>
                    </a:cubicBezTo>
                    <a:cubicBezTo>
                      <a:pt x="2657" y="80"/>
                      <a:pt x="2673" y="77"/>
                      <a:pt x="2690" y="77"/>
                    </a:cubicBezTo>
                    <a:cubicBezTo>
                      <a:pt x="2709" y="77"/>
                      <a:pt x="2725" y="80"/>
                      <a:pt x="2738" y="85"/>
                    </a:cubicBezTo>
                    <a:cubicBezTo>
                      <a:pt x="2751" y="91"/>
                      <a:pt x="2762" y="98"/>
                      <a:pt x="2770" y="108"/>
                    </a:cubicBezTo>
                    <a:cubicBezTo>
                      <a:pt x="2779" y="118"/>
                      <a:pt x="2785" y="129"/>
                      <a:pt x="2789" y="142"/>
                    </a:cubicBezTo>
                    <a:cubicBezTo>
                      <a:pt x="2793" y="156"/>
                      <a:pt x="2795" y="170"/>
                      <a:pt x="2795" y="185"/>
                    </a:cubicBezTo>
                    <a:lnTo>
                      <a:pt x="2795" y="196"/>
                    </a:lnTo>
                    <a:close/>
                    <a:moveTo>
                      <a:pt x="2734" y="178"/>
                    </a:moveTo>
                    <a:cubicBezTo>
                      <a:pt x="2735" y="160"/>
                      <a:pt x="2731" y="146"/>
                      <a:pt x="2724" y="136"/>
                    </a:cubicBezTo>
                    <a:cubicBezTo>
                      <a:pt x="2716" y="126"/>
                      <a:pt x="2705" y="121"/>
                      <a:pt x="2689" y="121"/>
                    </a:cubicBezTo>
                    <a:cubicBezTo>
                      <a:pt x="2681" y="121"/>
                      <a:pt x="2674" y="123"/>
                      <a:pt x="2668" y="126"/>
                    </a:cubicBezTo>
                    <a:cubicBezTo>
                      <a:pt x="2662" y="129"/>
                      <a:pt x="2657" y="133"/>
                      <a:pt x="2653" y="138"/>
                    </a:cubicBezTo>
                    <a:cubicBezTo>
                      <a:pt x="2650" y="143"/>
                      <a:pt x="2647" y="149"/>
                      <a:pt x="2645" y="156"/>
                    </a:cubicBezTo>
                    <a:cubicBezTo>
                      <a:pt x="2642" y="162"/>
                      <a:pt x="2641" y="170"/>
                      <a:pt x="2641" y="178"/>
                    </a:cubicBezTo>
                    <a:lnTo>
                      <a:pt x="2734" y="178"/>
                    </a:lnTo>
                    <a:close/>
                    <a:moveTo>
                      <a:pt x="3185" y="199"/>
                    </a:moveTo>
                    <a:cubicBezTo>
                      <a:pt x="3185" y="218"/>
                      <a:pt x="3182" y="236"/>
                      <a:pt x="3178" y="252"/>
                    </a:cubicBezTo>
                    <a:cubicBezTo>
                      <a:pt x="3174" y="268"/>
                      <a:pt x="3168" y="281"/>
                      <a:pt x="3160" y="292"/>
                    </a:cubicBezTo>
                    <a:cubicBezTo>
                      <a:pt x="3152" y="303"/>
                      <a:pt x="3141" y="312"/>
                      <a:pt x="3129" y="318"/>
                    </a:cubicBezTo>
                    <a:cubicBezTo>
                      <a:pt x="3117" y="324"/>
                      <a:pt x="3103" y="327"/>
                      <a:pt x="3088" y="327"/>
                    </a:cubicBezTo>
                    <a:cubicBezTo>
                      <a:pt x="3081" y="327"/>
                      <a:pt x="3075" y="326"/>
                      <a:pt x="3070" y="325"/>
                    </a:cubicBezTo>
                    <a:cubicBezTo>
                      <a:pt x="3065" y="324"/>
                      <a:pt x="3060" y="322"/>
                      <a:pt x="3054" y="319"/>
                    </a:cubicBezTo>
                    <a:cubicBezTo>
                      <a:pt x="3049" y="317"/>
                      <a:pt x="3044" y="314"/>
                      <a:pt x="3039" y="310"/>
                    </a:cubicBezTo>
                    <a:cubicBezTo>
                      <a:pt x="3034" y="306"/>
                      <a:pt x="3029" y="302"/>
                      <a:pt x="3024" y="296"/>
                    </a:cubicBezTo>
                    <a:lnTo>
                      <a:pt x="3024" y="401"/>
                    </a:lnTo>
                    <a:cubicBezTo>
                      <a:pt x="3024" y="402"/>
                      <a:pt x="3024" y="404"/>
                      <a:pt x="3023" y="405"/>
                    </a:cubicBezTo>
                    <a:cubicBezTo>
                      <a:pt x="3022" y="406"/>
                      <a:pt x="3020" y="408"/>
                      <a:pt x="3017" y="409"/>
                    </a:cubicBezTo>
                    <a:cubicBezTo>
                      <a:pt x="3015" y="409"/>
                      <a:pt x="3012" y="410"/>
                      <a:pt x="3008" y="411"/>
                    </a:cubicBezTo>
                    <a:cubicBezTo>
                      <a:pt x="3004" y="411"/>
                      <a:pt x="2999" y="411"/>
                      <a:pt x="2993" y="411"/>
                    </a:cubicBezTo>
                    <a:cubicBezTo>
                      <a:pt x="2987" y="411"/>
                      <a:pt x="2982" y="411"/>
                      <a:pt x="2978" y="411"/>
                    </a:cubicBezTo>
                    <a:cubicBezTo>
                      <a:pt x="2974" y="410"/>
                      <a:pt x="2970" y="409"/>
                      <a:pt x="2968" y="409"/>
                    </a:cubicBezTo>
                    <a:cubicBezTo>
                      <a:pt x="2966" y="408"/>
                      <a:pt x="2964" y="406"/>
                      <a:pt x="2963" y="405"/>
                    </a:cubicBezTo>
                    <a:cubicBezTo>
                      <a:pt x="2962" y="404"/>
                      <a:pt x="2961" y="402"/>
                      <a:pt x="2961" y="401"/>
                    </a:cubicBezTo>
                    <a:lnTo>
                      <a:pt x="2961" y="91"/>
                    </a:lnTo>
                    <a:cubicBezTo>
                      <a:pt x="2961" y="90"/>
                      <a:pt x="2962" y="88"/>
                      <a:pt x="2963" y="87"/>
                    </a:cubicBezTo>
                    <a:cubicBezTo>
                      <a:pt x="2964" y="86"/>
                      <a:pt x="2965" y="85"/>
                      <a:pt x="2967" y="84"/>
                    </a:cubicBezTo>
                    <a:cubicBezTo>
                      <a:pt x="2969" y="83"/>
                      <a:pt x="2972" y="82"/>
                      <a:pt x="2975" y="82"/>
                    </a:cubicBezTo>
                    <a:cubicBezTo>
                      <a:pt x="2979" y="81"/>
                      <a:pt x="2983" y="81"/>
                      <a:pt x="2988" y="81"/>
                    </a:cubicBezTo>
                    <a:cubicBezTo>
                      <a:pt x="2993" y="81"/>
                      <a:pt x="2997" y="81"/>
                      <a:pt x="3001" y="82"/>
                    </a:cubicBezTo>
                    <a:cubicBezTo>
                      <a:pt x="3004" y="82"/>
                      <a:pt x="3007" y="83"/>
                      <a:pt x="3009" y="84"/>
                    </a:cubicBezTo>
                    <a:cubicBezTo>
                      <a:pt x="3011" y="85"/>
                      <a:pt x="3012" y="86"/>
                      <a:pt x="3013" y="87"/>
                    </a:cubicBezTo>
                    <a:cubicBezTo>
                      <a:pt x="3014" y="88"/>
                      <a:pt x="3014" y="90"/>
                      <a:pt x="3014" y="91"/>
                    </a:cubicBezTo>
                    <a:lnTo>
                      <a:pt x="3014" y="117"/>
                    </a:lnTo>
                    <a:cubicBezTo>
                      <a:pt x="3021" y="111"/>
                      <a:pt x="3027" y="105"/>
                      <a:pt x="3033" y="100"/>
                    </a:cubicBezTo>
                    <a:cubicBezTo>
                      <a:pt x="3040" y="95"/>
                      <a:pt x="3046" y="90"/>
                      <a:pt x="3052" y="87"/>
                    </a:cubicBezTo>
                    <a:cubicBezTo>
                      <a:pt x="3059" y="84"/>
                      <a:pt x="3065" y="81"/>
                      <a:pt x="3072" y="79"/>
                    </a:cubicBezTo>
                    <a:cubicBezTo>
                      <a:pt x="3079" y="78"/>
                      <a:pt x="3087" y="77"/>
                      <a:pt x="3094" y="77"/>
                    </a:cubicBezTo>
                    <a:cubicBezTo>
                      <a:pt x="3111" y="77"/>
                      <a:pt x="3124" y="80"/>
                      <a:pt x="3136" y="87"/>
                    </a:cubicBezTo>
                    <a:cubicBezTo>
                      <a:pt x="3147" y="93"/>
                      <a:pt x="3157" y="102"/>
                      <a:pt x="3164" y="113"/>
                    </a:cubicBezTo>
                    <a:cubicBezTo>
                      <a:pt x="3171" y="124"/>
                      <a:pt x="3176" y="137"/>
                      <a:pt x="3180" y="151"/>
                    </a:cubicBezTo>
                    <a:cubicBezTo>
                      <a:pt x="3183" y="166"/>
                      <a:pt x="3185" y="182"/>
                      <a:pt x="3185" y="199"/>
                    </a:cubicBezTo>
                    <a:close/>
                    <a:moveTo>
                      <a:pt x="3119" y="203"/>
                    </a:moveTo>
                    <a:cubicBezTo>
                      <a:pt x="3119" y="194"/>
                      <a:pt x="3119" y="185"/>
                      <a:pt x="3117" y="176"/>
                    </a:cubicBezTo>
                    <a:cubicBezTo>
                      <a:pt x="3116" y="167"/>
                      <a:pt x="3114" y="160"/>
                      <a:pt x="3110" y="153"/>
                    </a:cubicBezTo>
                    <a:cubicBezTo>
                      <a:pt x="3107" y="146"/>
                      <a:pt x="3102" y="141"/>
                      <a:pt x="3097" y="136"/>
                    </a:cubicBezTo>
                    <a:cubicBezTo>
                      <a:pt x="3091" y="132"/>
                      <a:pt x="3084" y="130"/>
                      <a:pt x="3076" y="130"/>
                    </a:cubicBezTo>
                    <a:cubicBezTo>
                      <a:pt x="3072" y="130"/>
                      <a:pt x="3068" y="131"/>
                      <a:pt x="3064" y="132"/>
                    </a:cubicBezTo>
                    <a:cubicBezTo>
                      <a:pt x="3060" y="134"/>
                      <a:pt x="3055" y="136"/>
                      <a:pt x="3051" y="138"/>
                    </a:cubicBezTo>
                    <a:cubicBezTo>
                      <a:pt x="3047" y="141"/>
                      <a:pt x="3043" y="145"/>
                      <a:pt x="3038" y="149"/>
                    </a:cubicBezTo>
                    <a:cubicBezTo>
                      <a:pt x="3034" y="154"/>
                      <a:pt x="3029" y="159"/>
                      <a:pt x="3024" y="166"/>
                    </a:cubicBezTo>
                    <a:lnTo>
                      <a:pt x="3024" y="239"/>
                    </a:lnTo>
                    <a:cubicBezTo>
                      <a:pt x="3033" y="250"/>
                      <a:pt x="3041" y="259"/>
                      <a:pt x="3049" y="265"/>
                    </a:cubicBezTo>
                    <a:cubicBezTo>
                      <a:pt x="3057" y="271"/>
                      <a:pt x="3065" y="274"/>
                      <a:pt x="3074" y="274"/>
                    </a:cubicBezTo>
                    <a:cubicBezTo>
                      <a:pt x="3082" y="274"/>
                      <a:pt x="3089" y="272"/>
                      <a:pt x="3095" y="267"/>
                    </a:cubicBezTo>
                    <a:cubicBezTo>
                      <a:pt x="3100" y="263"/>
                      <a:pt x="3105" y="258"/>
                      <a:pt x="3109" y="251"/>
                    </a:cubicBezTo>
                    <a:cubicBezTo>
                      <a:pt x="3112" y="245"/>
                      <a:pt x="3115" y="237"/>
                      <a:pt x="3117" y="228"/>
                    </a:cubicBezTo>
                    <a:cubicBezTo>
                      <a:pt x="3119" y="220"/>
                      <a:pt x="3119" y="212"/>
                      <a:pt x="3119" y="203"/>
                    </a:cubicBezTo>
                    <a:close/>
                    <a:moveTo>
                      <a:pt x="3439" y="196"/>
                    </a:moveTo>
                    <a:cubicBezTo>
                      <a:pt x="3439" y="203"/>
                      <a:pt x="3437" y="209"/>
                      <a:pt x="3434" y="212"/>
                    </a:cubicBezTo>
                    <a:cubicBezTo>
                      <a:pt x="3431" y="216"/>
                      <a:pt x="3426" y="218"/>
                      <a:pt x="3420" y="218"/>
                    </a:cubicBezTo>
                    <a:lnTo>
                      <a:pt x="3285" y="218"/>
                    </a:lnTo>
                    <a:cubicBezTo>
                      <a:pt x="3285" y="227"/>
                      <a:pt x="3286" y="236"/>
                      <a:pt x="3288" y="243"/>
                    </a:cubicBezTo>
                    <a:cubicBezTo>
                      <a:pt x="3291" y="251"/>
                      <a:pt x="3294" y="258"/>
                      <a:pt x="3299" y="263"/>
                    </a:cubicBezTo>
                    <a:cubicBezTo>
                      <a:pt x="3304" y="269"/>
                      <a:pt x="3310" y="273"/>
                      <a:pt x="3318" y="275"/>
                    </a:cubicBezTo>
                    <a:cubicBezTo>
                      <a:pt x="3326" y="278"/>
                      <a:pt x="3335" y="280"/>
                      <a:pt x="3346" y="280"/>
                    </a:cubicBezTo>
                    <a:cubicBezTo>
                      <a:pt x="3357" y="280"/>
                      <a:pt x="3366" y="279"/>
                      <a:pt x="3375" y="277"/>
                    </a:cubicBezTo>
                    <a:cubicBezTo>
                      <a:pt x="3383" y="276"/>
                      <a:pt x="3390" y="274"/>
                      <a:pt x="3396" y="272"/>
                    </a:cubicBezTo>
                    <a:cubicBezTo>
                      <a:pt x="3402" y="270"/>
                      <a:pt x="3407" y="268"/>
                      <a:pt x="3411" y="267"/>
                    </a:cubicBezTo>
                    <a:cubicBezTo>
                      <a:pt x="3415" y="265"/>
                      <a:pt x="3418" y="265"/>
                      <a:pt x="3421" y="265"/>
                    </a:cubicBezTo>
                    <a:cubicBezTo>
                      <a:pt x="3422" y="265"/>
                      <a:pt x="3424" y="265"/>
                      <a:pt x="3425" y="265"/>
                    </a:cubicBezTo>
                    <a:cubicBezTo>
                      <a:pt x="3426" y="266"/>
                      <a:pt x="3426" y="267"/>
                      <a:pt x="3427" y="269"/>
                    </a:cubicBezTo>
                    <a:cubicBezTo>
                      <a:pt x="3428" y="270"/>
                      <a:pt x="3428" y="272"/>
                      <a:pt x="3428" y="275"/>
                    </a:cubicBezTo>
                    <a:cubicBezTo>
                      <a:pt x="3429" y="278"/>
                      <a:pt x="3429" y="281"/>
                      <a:pt x="3429" y="285"/>
                    </a:cubicBezTo>
                    <a:cubicBezTo>
                      <a:pt x="3429" y="289"/>
                      <a:pt x="3429" y="292"/>
                      <a:pt x="3428" y="294"/>
                    </a:cubicBezTo>
                    <a:cubicBezTo>
                      <a:pt x="3428" y="297"/>
                      <a:pt x="3428" y="299"/>
                      <a:pt x="3428" y="301"/>
                    </a:cubicBezTo>
                    <a:cubicBezTo>
                      <a:pt x="3427" y="303"/>
                      <a:pt x="3427" y="304"/>
                      <a:pt x="3426" y="306"/>
                    </a:cubicBezTo>
                    <a:cubicBezTo>
                      <a:pt x="3426" y="307"/>
                      <a:pt x="3425" y="308"/>
                      <a:pt x="3424" y="309"/>
                    </a:cubicBezTo>
                    <a:cubicBezTo>
                      <a:pt x="3423" y="310"/>
                      <a:pt x="3420" y="312"/>
                      <a:pt x="3415" y="314"/>
                    </a:cubicBezTo>
                    <a:cubicBezTo>
                      <a:pt x="3410" y="316"/>
                      <a:pt x="3404" y="318"/>
                      <a:pt x="3396" y="320"/>
                    </a:cubicBezTo>
                    <a:cubicBezTo>
                      <a:pt x="3389" y="322"/>
                      <a:pt x="3381" y="323"/>
                      <a:pt x="3371" y="325"/>
                    </a:cubicBezTo>
                    <a:cubicBezTo>
                      <a:pt x="3361" y="326"/>
                      <a:pt x="3351" y="327"/>
                      <a:pt x="3340" y="327"/>
                    </a:cubicBezTo>
                    <a:cubicBezTo>
                      <a:pt x="3320" y="327"/>
                      <a:pt x="3303" y="324"/>
                      <a:pt x="3288" y="319"/>
                    </a:cubicBezTo>
                    <a:cubicBezTo>
                      <a:pt x="3273" y="314"/>
                      <a:pt x="3261" y="307"/>
                      <a:pt x="3251" y="297"/>
                    </a:cubicBezTo>
                    <a:cubicBezTo>
                      <a:pt x="3241" y="287"/>
                      <a:pt x="3234" y="274"/>
                      <a:pt x="3229" y="259"/>
                    </a:cubicBezTo>
                    <a:cubicBezTo>
                      <a:pt x="3224" y="243"/>
                      <a:pt x="3222" y="225"/>
                      <a:pt x="3222" y="204"/>
                    </a:cubicBezTo>
                    <a:cubicBezTo>
                      <a:pt x="3222" y="185"/>
                      <a:pt x="3224" y="167"/>
                      <a:pt x="3229" y="151"/>
                    </a:cubicBezTo>
                    <a:cubicBezTo>
                      <a:pt x="3234" y="135"/>
                      <a:pt x="3242" y="122"/>
                      <a:pt x="3252" y="111"/>
                    </a:cubicBezTo>
                    <a:cubicBezTo>
                      <a:pt x="3261" y="100"/>
                      <a:pt x="3273" y="91"/>
                      <a:pt x="3287" y="86"/>
                    </a:cubicBezTo>
                    <a:cubicBezTo>
                      <a:pt x="3301" y="80"/>
                      <a:pt x="3317" y="77"/>
                      <a:pt x="3335" y="77"/>
                    </a:cubicBezTo>
                    <a:cubicBezTo>
                      <a:pt x="3353" y="77"/>
                      <a:pt x="3369" y="80"/>
                      <a:pt x="3382" y="85"/>
                    </a:cubicBezTo>
                    <a:cubicBezTo>
                      <a:pt x="3395" y="91"/>
                      <a:pt x="3406" y="98"/>
                      <a:pt x="3415" y="108"/>
                    </a:cubicBezTo>
                    <a:cubicBezTo>
                      <a:pt x="3423" y="118"/>
                      <a:pt x="3429" y="129"/>
                      <a:pt x="3433" y="142"/>
                    </a:cubicBezTo>
                    <a:cubicBezTo>
                      <a:pt x="3437" y="156"/>
                      <a:pt x="3439" y="170"/>
                      <a:pt x="3439" y="185"/>
                    </a:cubicBezTo>
                    <a:lnTo>
                      <a:pt x="3439" y="196"/>
                    </a:lnTo>
                    <a:close/>
                    <a:moveTo>
                      <a:pt x="3379" y="178"/>
                    </a:moveTo>
                    <a:cubicBezTo>
                      <a:pt x="3379" y="160"/>
                      <a:pt x="3376" y="146"/>
                      <a:pt x="3368" y="136"/>
                    </a:cubicBezTo>
                    <a:cubicBezTo>
                      <a:pt x="3360" y="126"/>
                      <a:pt x="3349" y="121"/>
                      <a:pt x="3333" y="121"/>
                    </a:cubicBezTo>
                    <a:cubicBezTo>
                      <a:pt x="3325" y="121"/>
                      <a:pt x="3318" y="123"/>
                      <a:pt x="3312" y="126"/>
                    </a:cubicBezTo>
                    <a:cubicBezTo>
                      <a:pt x="3306" y="129"/>
                      <a:pt x="3302" y="133"/>
                      <a:pt x="3298" y="138"/>
                    </a:cubicBezTo>
                    <a:cubicBezTo>
                      <a:pt x="3294" y="143"/>
                      <a:pt x="3291" y="149"/>
                      <a:pt x="3289" y="156"/>
                    </a:cubicBezTo>
                    <a:cubicBezTo>
                      <a:pt x="3287" y="162"/>
                      <a:pt x="3286" y="170"/>
                      <a:pt x="3285" y="178"/>
                    </a:cubicBezTo>
                    <a:lnTo>
                      <a:pt x="3379" y="17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69" name="Freeform 1221"/>
              <p:cNvSpPr>
                <a:spLocks noEditPoints="1"/>
              </p:cNvSpPr>
              <p:nvPr/>
            </p:nvSpPr>
            <p:spPr bwMode="auto">
              <a:xfrm>
                <a:off x="3701" y="3063"/>
                <a:ext cx="436" cy="76"/>
              </a:xfrm>
              <a:custGeom>
                <a:avLst/>
                <a:gdLst/>
                <a:ahLst/>
                <a:cxnLst>
                  <a:cxn ang="0">
                    <a:pos x="54" y="248"/>
                  </a:cxn>
                  <a:cxn ang="0">
                    <a:pos x="0" y="214"/>
                  </a:cxn>
                  <a:cxn ang="0">
                    <a:pos x="15" y="188"/>
                  </a:cxn>
                  <a:cxn ang="0">
                    <a:pos x="116" y="186"/>
                  </a:cxn>
                  <a:cxn ang="0">
                    <a:pos x="41" y="143"/>
                  </a:cxn>
                  <a:cxn ang="0">
                    <a:pos x="33" y="106"/>
                  </a:cxn>
                  <a:cxn ang="0">
                    <a:pos x="112" y="85"/>
                  </a:cxn>
                  <a:cxn ang="0">
                    <a:pos x="51" y="48"/>
                  </a:cxn>
                  <a:cxn ang="0">
                    <a:pos x="4" y="55"/>
                  </a:cxn>
                  <a:cxn ang="0">
                    <a:pos x="61" y="2"/>
                  </a:cxn>
                  <a:cxn ang="0">
                    <a:pos x="174" y="82"/>
                  </a:cxn>
                  <a:cxn ang="0">
                    <a:pos x="171" y="137"/>
                  </a:cxn>
                  <a:cxn ang="0">
                    <a:pos x="292" y="334"/>
                  </a:cxn>
                  <a:cxn ang="0">
                    <a:pos x="289" y="240"/>
                  </a:cxn>
                  <a:cxn ang="0">
                    <a:pos x="237" y="4"/>
                  </a:cxn>
                  <a:cxn ang="0">
                    <a:pos x="326" y="168"/>
                  </a:cxn>
                  <a:cxn ang="0">
                    <a:pos x="432" y="9"/>
                  </a:cxn>
                  <a:cxn ang="0">
                    <a:pos x="653" y="243"/>
                  </a:cxn>
                  <a:cxn ang="0">
                    <a:pos x="597" y="236"/>
                  </a:cxn>
                  <a:cxn ang="0">
                    <a:pos x="491" y="234"/>
                  </a:cxn>
                  <a:cxn ang="0">
                    <a:pos x="428" y="221"/>
                  </a:cxn>
                  <a:cxn ang="0">
                    <a:pos x="462" y="179"/>
                  </a:cxn>
                  <a:cxn ang="0">
                    <a:pos x="514" y="6"/>
                  </a:cxn>
                  <a:cxn ang="0">
                    <a:pos x="925" y="197"/>
                  </a:cxn>
                  <a:cxn ang="0">
                    <a:pos x="760" y="248"/>
                  </a:cxn>
                  <a:cxn ang="0">
                    <a:pos x="729" y="7"/>
                  </a:cxn>
                  <a:cxn ang="0">
                    <a:pos x="785" y="14"/>
                  </a:cxn>
                  <a:cxn ang="0">
                    <a:pos x="926" y="128"/>
                  </a:cxn>
                  <a:cxn ang="0">
                    <a:pos x="816" y="128"/>
                  </a:cxn>
                  <a:cxn ang="0">
                    <a:pos x="855" y="192"/>
                  </a:cxn>
                  <a:cxn ang="0">
                    <a:pos x="1112" y="61"/>
                  </a:cxn>
                  <a:cxn ang="0">
                    <a:pos x="1025" y="246"/>
                  </a:cxn>
                  <a:cxn ang="0">
                    <a:pos x="938" y="61"/>
                  </a:cxn>
                  <a:cxn ang="0">
                    <a:pos x="931" y="12"/>
                  </a:cxn>
                  <a:cxn ang="0">
                    <a:pos x="1121" y="20"/>
                  </a:cxn>
                  <a:cxn ang="0">
                    <a:pos x="1302" y="245"/>
                  </a:cxn>
                  <a:cxn ang="0">
                    <a:pos x="1190" y="245"/>
                  </a:cxn>
                  <a:cxn ang="0">
                    <a:pos x="1210" y="107"/>
                  </a:cxn>
                  <a:cxn ang="0">
                    <a:pos x="1261" y="50"/>
                  </a:cxn>
                  <a:cxn ang="0">
                    <a:pos x="1160" y="68"/>
                  </a:cxn>
                  <a:cxn ang="0">
                    <a:pos x="1172" y="16"/>
                  </a:cxn>
                  <a:cxn ang="0">
                    <a:pos x="1339" y="48"/>
                  </a:cxn>
                  <a:cxn ang="0">
                    <a:pos x="1216" y="150"/>
                  </a:cxn>
                  <a:cxn ang="0">
                    <a:pos x="1283" y="179"/>
                  </a:cxn>
                  <a:cxn ang="0">
                    <a:pos x="1560" y="61"/>
                  </a:cxn>
                  <a:cxn ang="0">
                    <a:pos x="1473" y="246"/>
                  </a:cxn>
                  <a:cxn ang="0">
                    <a:pos x="1386" y="61"/>
                  </a:cxn>
                  <a:cxn ang="0">
                    <a:pos x="1379" y="12"/>
                  </a:cxn>
                  <a:cxn ang="0">
                    <a:pos x="1569" y="20"/>
                  </a:cxn>
                  <a:cxn ang="0">
                    <a:pos x="1871" y="246"/>
                  </a:cxn>
                  <a:cxn ang="0">
                    <a:pos x="1842" y="10"/>
                  </a:cxn>
                  <a:cxn ang="0">
                    <a:pos x="1901" y="10"/>
                  </a:cxn>
                  <a:cxn ang="0">
                    <a:pos x="1750" y="86"/>
                  </a:cxn>
                  <a:cxn ang="0">
                    <a:pos x="1743" y="243"/>
                  </a:cxn>
                  <a:cxn ang="0">
                    <a:pos x="1609" y="239"/>
                  </a:cxn>
                  <a:cxn ang="0">
                    <a:pos x="1633" y="4"/>
                  </a:cxn>
                  <a:cxn ang="0">
                    <a:pos x="1733" y="138"/>
                  </a:cxn>
                  <a:cxn ang="0">
                    <a:pos x="1680" y="202"/>
                  </a:cxn>
                </a:cxnLst>
                <a:rect l="0" t="0" r="r" b="b"/>
                <a:pathLst>
                  <a:path w="1903" h="334">
                    <a:moveTo>
                      <a:pt x="186" y="174"/>
                    </a:moveTo>
                    <a:cubicBezTo>
                      <a:pt x="186" y="187"/>
                      <a:pt x="184" y="197"/>
                      <a:pt x="178" y="207"/>
                    </a:cubicBezTo>
                    <a:cubicBezTo>
                      <a:pt x="173" y="216"/>
                      <a:pt x="166" y="224"/>
                      <a:pt x="157" y="231"/>
                    </a:cubicBezTo>
                    <a:cubicBezTo>
                      <a:pt x="147" y="237"/>
                      <a:pt x="136" y="242"/>
                      <a:pt x="123" y="245"/>
                    </a:cubicBezTo>
                    <a:cubicBezTo>
                      <a:pt x="110" y="248"/>
                      <a:pt x="95" y="250"/>
                      <a:pt x="79" y="250"/>
                    </a:cubicBezTo>
                    <a:cubicBezTo>
                      <a:pt x="70" y="250"/>
                      <a:pt x="62" y="249"/>
                      <a:pt x="54" y="248"/>
                    </a:cubicBezTo>
                    <a:cubicBezTo>
                      <a:pt x="47" y="247"/>
                      <a:pt x="39" y="245"/>
                      <a:pt x="33" y="243"/>
                    </a:cubicBezTo>
                    <a:cubicBezTo>
                      <a:pt x="26" y="241"/>
                      <a:pt x="21" y="239"/>
                      <a:pt x="17" y="237"/>
                    </a:cubicBezTo>
                    <a:cubicBezTo>
                      <a:pt x="12" y="235"/>
                      <a:pt x="9" y="234"/>
                      <a:pt x="7" y="232"/>
                    </a:cubicBezTo>
                    <a:cubicBezTo>
                      <a:pt x="5" y="230"/>
                      <a:pt x="4" y="229"/>
                      <a:pt x="3" y="227"/>
                    </a:cubicBezTo>
                    <a:cubicBezTo>
                      <a:pt x="2" y="226"/>
                      <a:pt x="1" y="224"/>
                      <a:pt x="1" y="222"/>
                    </a:cubicBezTo>
                    <a:cubicBezTo>
                      <a:pt x="1" y="220"/>
                      <a:pt x="0" y="217"/>
                      <a:pt x="0" y="214"/>
                    </a:cubicBezTo>
                    <a:cubicBezTo>
                      <a:pt x="0" y="212"/>
                      <a:pt x="0" y="208"/>
                      <a:pt x="0" y="204"/>
                    </a:cubicBezTo>
                    <a:cubicBezTo>
                      <a:pt x="0" y="200"/>
                      <a:pt x="0" y="197"/>
                      <a:pt x="0" y="195"/>
                    </a:cubicBezTo>
                    <a:cubicBezTo>
                      <a:pt x="1" y="192"/>
                      <a:pt x="1" y="190"/>
                      <a:pt x="2" y="189"/>
                    </a:cubicBezTo>
                    <a:cubicBezTo>
                      <a:pt x="2" y="188"/>
                      <a:pt x="3" y="187"/>
                      <a:pt x="4" y="186"/>
                    </a:cubicBezTo>
                    <a:cubicBezTo>
                      <a:pt x="5" y="185"/>
                      <a:pt x="6" y="185"/>
                      <a:pt x="7" y="185"/>
                    </a:cubicBezTo>
                    <a:cubicBezTo>
                      <a:pt x="9" y="185"/>
                      <a:pt x="12" y="186"/>
                      <a:pt x="15" y="188"/>
                    </a:cubicBezTo>
                    <a:cubicBezTo>
                      <a:pt x="18" y="190"/>
                      <a:pt x="23" y="192"/>
                      <a:pt x="28" y="195"/>
                    </a:cubicBezTo>
                    <a:cubicBezTo>
                      <a:pt x="33" y="197"/>
                      <a:pt x="40" y="200"/>
                      <a:pt x="47" y="202"/>
                    </a:cubicBezTo>
                    <a:cubicBezTo>
                      <a:pt x="55" y="204"/>
                      <a:pt x="64" y="205"/>
                      <a:pt x="74" y="205"/>
                    </a:cubicBezTo>
                    <a:cubicBezTo>
                      <a:pt x="82" y="205"/>
                      <a:pt x="88" y="204"/>
                      <a:pt x="94" y="203"/>
                    </a:cubicBezTo>
                    <a:cubicBezTo>
                      <a:pt x="99" y="201"/>
                      <a:pt x="104" y="199"/>
                      <a:pt x="107" y="196"/>
                    </a:cubicBezTo>
                    <a:cubicBezTo>
                      <a:pt x="111" y="194"/>
                      <a:pt x="114" y="190"/>
                      <a:pt x="116" y="186"/>
                    </a:cubicBezTo>
                    <a:cubicBezTo>
                      <a:pt x="118" y="182"/>
                      <a:pt x="119" y="178"/>
                      <a:pt x="119" y="173"/>
                    </a:cubicBezTo>
                    <a:cubicBezTo>
                      <a:pt x="119" y="168"/>
                      <a:pt x="118" y="164"/>
                      <a:pt x="116" y="160"/>
                    </a:cubicBezTo>
                    <a:cubicBezTo>
                      <a:pt x="114" y="157"/>
                      <a:pt x="111" y="154"/>
                      <a:pt x="107" y="151"/>
                    </a:cubicBezTo>
                    <a:cubicBezTo>
                      <a:pt x="103" y="149"/>
                      <a:pt x="97" y="147"/>
                      <a:pt x="90" y="145"/>
                    </a:cubicBezTo>
                    <a:cubicBezTo>
                      <a:pt x="83" y="144"/>
                      <a:pt x="75" y="143"/>
                      <a:pt x="65" y="143"/>
                    </a:cubicBezTo>
                    <a:lnTo>
                      <a:pt x="41" y="143"/>
                    </a:lnTo>
                    <a:cubicBezTo>
                      <a:pt x="39" y="143"/>
                      <a:pt x="37" y="143"/>
                      <a:pt x="36" y="142"/>
                    </a:cubicBezTo>
                    <a:cubicBezTo>
                      <a:pt x="35" y="141"/>
                      <a:pt x="34" y="140"/>
                      <a:pt x="33" y="139"/>
                    </a:cubicBezTo>
                    <a:cubicBezTo>
                      <a:pt x="32" y="137"/>
                      <a:pt x="31" y="135"/>
                      <a:pt x="31" y="132"/>
                    </a:cubicBezTo>
                    <a:cubicBezTo>
                      <a:pt x="31" y="129"/>
                      <a:pt x="31" y="126"/>
                      <a:pt x="31" y="122"/>
                    </a:cubicBezTo>
                    <a:cubicBezTo>
                      <a:pt x="31" y="118"/>
                      <a:pt x="31" y="115"/>
                      <a:pt x="31" y="112"/>
                    </a:cubicBezTo>
                    <a:cubicBezTo>
                      <a:pt x="32" y="110"/>
                      <a:pt x="32" y="108"/>
                      <a:pt x="33" y="106"/>
                    </a:cubicBezTo>
                    <a:cubicBezTo>
                      <a:pt x="34" y="105"/>
                      <a:pt x="35" y="104"/>
                      <a:pt x="36" y="103"/>
                    </a:cubicBezTo>
                    <a:cubicBezTo>
                      <a:pt x="37" y="102"/>
                      <a:pt x="39" y="102"/>
                      <a:pt x="40" y="102"/>
                    </a:cubicBezTo>
                    <a:lnTo>
                      <a:pt x="64" y="102"/>
                    </a:lnTo>
                    <a:cubicBezTo>
                      <a:pt x="73" y="102"/>
                      <a:pt x="80" y="101"/>
                      <a:pt x="87" y="100"/>
                    </a:cubicBezTo>
                    <a:cubicBezTo>
                      <a:pt x="93" y="98"/>
                      <a:pt x="98" y="97"/>
                      <a:pt x="103" y="94"/>
                    </a:cubicBezTo>
                    <a:cubicBezTo>
                      <a:pt x="107" y="91"/>
                      <a:pt x="110" y="88"/>
                      <a:pt x="112" y="85"/>
                    </a:cubicBezTo>
                    <a:cubicBezTo>
                      <a:pt x="114" y="81"/>
                      <a:pt x="115" y="76"/>
                      <a:pt x="115" y="72"/>
                    </a:cubicBezTo>
                    <a:cubicBezTo>
                      <a:pt x="115" y="67"/>
                      <a:pt x="114" y="63"/>
                      <a:pt x="112" y="60"/>
                    </a:cubicBezTo>
                    <a:cubicBezTo>
                      <a:pt x="110" y="57"/>
                      <a:pt x="107" y="54"/>
                      <a:pt x="104" y="52"/>
                    </a:cubicBezTo>
                    <a:cubicBezTo>
                      <a:pt x="101" y="49"/>
                      <a:pt x="97" y="48"/>
                      <a:pt x="92" y="47"/>
                    </a:cubicBezTo>
                    <a:cubicBezTo>
                      <a:pt x="87" y="45"/>
                      <a:pt x="82" y="45"/>
                      <a:pt x="77" y="45"/>
                    </a:cubicBezTo>
                    <a:cubicBezTo>
                      <a:pt x="67" y="45"/>
                      <a:pt x="59" y="46"/>
                      <a:pt x="51" y="48"/>
                    </a:cubicBezTo>
                    <a:cubicBezTo>
                      <a:pt x="44" y="50"/>
                      <a:pt x="38" y="52"/>
                      <a:pt x="32" y="55"/>
                    </a:cubicBezTo>
                    <a:cubicBezTo>
                      <a:pt x="27" y="57"/>
                      <a:pt x="22" y="60"/>
                      <a:pt x="19" y="62"/>
                    </a:cubicBezTo>
                    <a:cubicBezTo>
                      <a:pt x="15" y="64"/>
                      <a:pt x="12" y="65"/>
                      <a:pt x="10" y="65"/>
                    </a:cubicBezTo>
                    <a:cubicBezTo>
                      <a:pt x="9" y="65"/>
                      <a:pt x="9" y="64"/>
                      <a:pt x="8" y="64"/>
                    </a:cubicBezTo>
                    <a:cubicBezTo>
                      <a:pt x="7" y="64"/>
                      <a:pt x="6" y="63"/>
                      <a:pt x="5" y="61"/>
                    </a:cubicBezTo>
                    <a:cubicBezTo>
                      <a:pt x="5" y="60"/>
                      <a:pt x="4" y="58"/>
                      <a:pt x="4" y="55"/>
                    </a:cubicBezTo>
                    <a:cubicBezTo>
                      <a:pt x="3" y="53"/>
                      <a:pt x="3" y="50"/>
                      <a:pt x="3" y="45"/>
                    </a:cubicBezTo>
                    <a:cubicBezTo>
                      <a:pt x="3" y="39"/>
                      <a:pt x="3" y="34"/>
                      <a:pt x="4" y="30"/>
                    </a:cubicBezTo>
                    <a:cubicBezTo>
                      <a:pt x="5" y="26"/>
                      <a:pt x="7" y="23"/>
                      <a:pt x="9" y="21"/>
                    </a:cubicBezTo>
                    <a:cubicBezTo>
                      <a:pt x="11" y="19"/>
                      <a:pt x="15" y="17"/>
                      <a:pt x="20" y="14"/>
                    </a:cubicBezTo>
                    <a:cubicBezTo>
                      <a:pt x="25" y="11"/>
                      <a:pt x="31" y="9"/>
                      <a:pt x="38" y="7"/>
                    </a:cubicBezTo>
                    <a:cubicBezTo>
                      <a:pt x="45" y="5"/>
                      <a:pt x="53" y="3"/>
                      <a:pt x="61" y="2"/>
                    </a:cubicBezTo>
                    <a:cubicBezTo>
                      <a:pt x="70" y="1"/>
                      <a:pt x="78" y="0"/>
                      <a:pt x="87" y="0"/>
                    </a:cubicBezTo>
                    <a:cubicBezTo>
                      <a:pt x="101" y="0"/>
                      <a:pt x="113" y="1"/>
                      <a:pt x="124" y="4"/>
                    </a:cubicBezTo>
                    <a:cubicBezTo>
                      <a:pt x="136" y="7"/>
                      <a:pt x="145" y="11"/>
                      <a:pt x="153" y="16"/>
                    </a:cubicBezTo>
                    <a:cubicBezTo>
                      <a:pt x="161" y="21"/>
                      <a:pt x="167" y="28"/>
                      <a:pt x="171" y="36"/>
                    </a:cubicBezTo>
                    <a:cubicBezTo>
                      <a:pt x="175" y="44"/>
                      <a:pt x="177" y="53"/>
                      <a:pt x="177" y="64"/>
                    </a:cubicBezTo>
                    <a:cubicBezTo>
                      <a:pt x="177" y="70"/>
                      <a:pt x="176" y="76"/>
                      <a:pt x="174" y="82"/>
                    </a:cubicBezTo>
                    <a:cubicBezTo>
                      <a:pt x="172" y="87"/>
                      <a:pt x="170" y="93"/>
                      <a:pt x="166" y="97"/>
                    </a:cubicBezTo>
                    <a:cubicBezTo>
                      <a:pt x="162" y="102"/>
                      <a:pt x="158" y="106"/>
                      <a:pt x="153" y="110"/>
                    </a:cubicBezTo>
                    <a:cubicBezTo>
                      <a:pt x="147" y="114"/>
                      <a:pt x="141" y="116"/>
                      <a:pt x="135" y="119"/>
                    </a:cubicBezTo>
                    <a:lnTo>
                      <a:pt x="134" y="119"/>
                    </a:lnTo>
                    <a:cubicBezTo>
                      <a:pt x="142" y="120"/>
                      <a:pt x="148" y="122"/>
                      <a:pt x="154" y="125"/>
                    </a:cubicBezTo>
                    <a:cubicBezTo>
                      <a:pt x="161" y="128"/>
                      <a:pt x="166" y="132"/>
                      <a:pt x="171" y="137"/>
                    </a:cubicBezTo>
                    <a:cubicBezTo>
                      <a:pt x="176" y="142"/>
                      <a:pt x="179" y="147"/>
                      <a:pt x="182" y="154"/>
                    </a:cubicBezTo>
                    <a:cubicBezTo>
                      <a:pt x="185" y="160"/>
                      <a:pt x="186" y="167"/>
                      <a:pt x="186" y="174"/>
                    </a:cubicBezTo>
                    <a:close/>
                    <a:moveTo>
                      <a:pt x="360" y="244"/>
                    </a:moveTo>
                    <a:lnTo>
                      <a:pt x="333" y="323"/>
                    </a:lnTo>
                    <a:cubicBezTo>
                      <a:pt x="332" y="327"/>
                      <a:pt x="327" y="330"/>
                      <a:pt x="321" y="332"/>
                    </a:cubicBezTo>
                    <a:cubicBezTo>
                      <a:pt x="314" y="333"/>
                      <a:pt x="304" y="334"/>
                      <a:pt x="292" y="334"/>
                    </a:cubicBezTo>
                    <a:cubicBezTo>
                      <a:pt x="285" y="334"/>
                      <a:pt x="280" y="334"/>
                      <a:pt x="276" y="333"/>
                    </a:cubicBezTo>
                    <a:cubicBezTo>
                      <a:pt x="272" y="333"/>
                      <a:pt x="269" y="332"/>
                      <a:pt x="267" y="331"/>
                    </a:cubicBezTo>
                    <a:cubicBezTo>
                      <a:pt x="265" y="329"/>
                      <a:pt x="264" y="328"/>
                      <a:pt x="264" y="326"/>
                    </a:cubicBezTo>
                    <a:cubicBezTo>
                      <a:pt x="263" y="324"/>
                      <a:pt x="264" y="321"/>
                      <a:pt x="265" y="318"/>
                    </a:cubicBezTo>
                    <a:lnTo>
                      <a:pt x="295" y="244"/>
                    </a:lnTo>
                    <a:cubicBezTo>
                      <a:pt x="293" y="243"/>
                      <a:pt x="291" y="242"/>
                      <a:pt x="289" y="240"/>
                    </a:cubicBezTo>
                    <a:cubicBezTo>
                      <a:pt x="287" y="237"/>
                      <a:pt x="286" y="235"/>
                      <a:pt x="285" y="233"/>
                    </a:cubicBezTo>
                    <a:lnTo>
                      <a:pt x="209" y="29"/>
                    </a:lnTo>
                    <a:cubicBezTo>
                      <a:pt x="207" y="23"/>
                      <a:pt x="205" y="19"/>
                      <a:pt x="205" y="16"/>
                    </a:cubicBezTo>
                    <a:cubicBezTo>
                      <a:pt x="205" y="13"/>
                      <a:pt x="207" y="11"/>
                      <a:pt x="209" y="9"/>
                    </a:cubicBezTo>
                    <a:cubicBezTo>
                      <a:pt x="211" y="7"/>
                      <a:pt x="214" y="6"/>
                      <a:pt x="219" y="5"/>
                    </a:cubicBezTo>
                    <a:cubicBezTo>
                      <a:pt x="223" y="5"/>
                      <a:pt x="230" y="4"/>
                      <a:pt x="237" y="4"/>
                    </a:cubicBezTo>
                    <a:cubicBezTo>
                      <a:pt x="244" y="4"/>
                      <a:pt x="250" y="4"/>
                      <a:pt x="254" y="5"/>
                    </a:cubicBezTo>
                    <a:cubicBezTo>
                      <a:pt x="258" y="5"/>
                      <a:pt x="262" y="5"/>
                      <a:pt x="264" y="6"/>
                    </a:cubicBezTo>
                    <a:cubicBezTo>
                      <a:pt x="266" y="7"/>
                      <a:pt x="268" y="9"/>
                      <a:pt x="269" y="11"/>
                    </a:cubicBezTo>
                    <a:cubicBezTo>
                      <a:pt x="270" y="13"/>
                      <a:pt x="271" y="16"/>
                      <a:pt x="273" y="20"/>
                    </a:cubicBezTo>
                    <a:lnTo>
                      <a:pt x="325" y="168"/>
                    </a:lnTo>
                    <a:lnTo>
                      <a:pt x="326" y="168"/>
                    </a:lnTo>
                    <a:lnTo>
                      <a:pt x="373" y="17"/>
                    </a:lnTo>
                    <a:cubicBezTo>
                      <a:pt x="374" y="13"/>
                      <a:pt x="376" y="10"/>
                      <a:pt x="377" y="8"/>
                    </a:cubicBezTo>
                    <a:cubicBezTo>
                      <a:pt x="379" y="7"/>
                      <a:pt x="381" y="6"/>
                      <a:pt x="385" y="5"/>
                    </a:cubicBezTo>
                    <a:cubicBezTo>
                      <a:pt x="389" y="5"/>
                      <a:pt x="395" y="4"/>
                      <a:pt x="404" y="4"/>
                    </a:cubicBezTo>
                    <a:cubicBezTo>
                      <a:pt x="411" y="4"/>
                      <a:pt x="417" y="5"/>
                      <a:pt x="422" y="5"/>
                    </a:cubicBezTo>
                    <a:cubicBezTo>
                      <a:pt x="426" y="6"/>
                      <a:pt x="430" y="7"/>
                      <a:pt x="432" y="9"/>
                    </a:cubicBezTo>
                    <a:cubicBezTo>
                      <a:pt x="434" y="11"/>
                      <a:pt x="436" y="13"/>
                      <a:pt x="436" y="16"/>
                    </a:cubicBezTo>
                    <a:cubicBezTo>
                      <a:pt x="436" y="19"/>
                      <a:pt x="435" y="23"/>
                      <a:pt x="434" y="27"/>
                    </a:cubicBezTo>
                    <a:lnTo>
                      <a:pt x="360" y="244"/>
                    </a:lnTo>
                    <a:close/>
                    <a:moveTo>
                      <a:pt x="659" y="236"/>
                    </a:moveTo>
                    <a:cubicBezTo>
                      <a:pt x="659" y="237"/>
                      <a:pt x="659" y="239"/>
                      <a:pt x="658" y="240"/>
                    </a:cubicBezTo>
                    <a:cubicBezTo>
                      <a:pt x="657" y="241"/>
                      <a:pt x="655" y="242"/>
                      <a:pt x="653" y="243"/>
                    </a:cubicBezTo>
                    <a:cubicBezTo>
                      <a:pt x="651" y="244"/>
                      <a:pt x="647" y="245"/>
                      <a:pt x="643" y="245"/>
                    </a:cubicBezTo>
                    <a:cubicBezTo>
                      <a:pt x="639" y="245"/>
                      <a:pt x="634" y="246"/>
                      <a:pt x="628" y="246"/>
                    </a:cubicBezTo>
                    <a:cubicBezTo>
                      <a:pt x="622" y="246"/>
                      <a:pt x="617" y="245"/>
                      <a:pt x="613" y="245"/>
                    </a:cubicBezTo>
                    <a:cubicBezTo>
                      <a:pt x="609" y="245"/>
                      <a:pt x="606" y="244"/>
                      <a:pt x="603" y="243"/>
                    </a:cubicBezTo>
                    <a:cubicBezTo>
                      <a:pt x="601" y="242"/>
                      <a:pt x="599" y="241"/>
                      <a:pt x="598" y="240"/>
                    </a:cubicBezTo>
                    <a:cubicBezTo>
                      <a:pt x="598" y="239"/>
                      <a:pt x="597" y="237"/>
                      <a:pt x="597" y="236"/>
                    </a:cubicBezTo>
                    <a:lnTo>
                      <a:pt x="597" y="57"/>
                    </a:lnTo>
                    <a:lnTo>
                      <a:pt x="552" y="57"/>
                    </a:lnTo>
                    <a:cubicBezTo>
                      <a:pt x="549" y="83"/>
                      <a:pt x="546" y="105"/>
                      <a:pt x="542" y="125"/>
                    </a:cubicBezTo>
                    <a:cubicBezTo>
                      <a:pt x="538" y="145"/>
                      <a:pt x="534" y="162"/>
                      <a:pt x="529" y="176"/>
                    </a:cubicBezTo>
                    <a:cubicBezTo>
                      <a:pt x="524" y="190"/>
                      <a:pt x="518" y="202"/>
                      <a:pt x="512" y="211"/>
                    </a:cubicBezTo>
                    <a:cubicBezTo>
                      <a:pt x="506" y="221"/>
                      <a:pt x="499" y="228"/>
                      <a:pt x="491" y="234"/>
                    </a:cubicBezTo>
                    <a:cubicBezTo>
                      <a:pt x="484" y="239"/>
                      <a:pt x="476" y="243"/>
                      <a:pt x="467" y="245"/>
                    </a:cubicBezTo>
                    <a:cubicBezTo>
                      <a:pt x="458" y="247"/>
                      <a:pt x="449" y="249"/>
                      <a:pt x="440" y="249"/>
                    </a:cubicBezTo>
                    <a:cubicBezTo>
                      <a:pt x="437" y="249"/>
                      <a:pt x="435" y="248"/>
                      <a:pt x="434" y="248"/>
                    </a:cubicBezTo>
                    <a:cubicBezTo>
                      <a:pt x="432" y="247"/>
                      <a:pt x="431" y="246"/>
                      <a:pt x="430" y="244"/>
                    </a:cubicBezTo>
                    <a:cubicBezTo>
                      <a:pt x="430" y="242"/>
                      <a:pt x="429" y="239"/>
                      <a:pt x="429" y="235"/>
                    </a:cubicBezTo>
                    <a:cubicBezTo>
                      <a:pt x="428" y="232"/>
                      <a:pt x="428" y="227"/>
                      <a:pt x="428" y="221"/>
                    </a:cubicBezTo>
                    <a:cubicBezTo>
                      <a:pt x="428" y="215"/>
                      <a:pt x="428" y="210"/>
                      <a:pt x="429" y="206"/>
                    </a:cubicBezTo>
                    <a:cubicBezTo>
                      <a:pt x="429" y="202"/>
                      <a:pt x="429" y="199"/>
                      <a:pt x="430" y="197"/>
                    </a:cubicBezTo>
                    <a:cubicBezTo>
                      <a:pt x="431" y="195"/>
                      <a:pt x="431" y="194"/>
                      <a:pt x="433" y="193"/>
                    </a:cubicBezTo>
                    <a:cubicBezTo>
                      <a:pt x="434" y="193"/>
                      <a:pt x="435" y="192"/>
                      <a:pt x="437" y="192"/>
                    </a:cubicBezTo>
                    <a:cubicBezTo>
                      <a:pt x="441" y="192"/>
                      <a:pt x="446" y="191"/>
                      <a:pt x="450" y="189"/>
                    </a:cubicBezTo>
                    <a:cubicBezTo>
                      <a:pt x="454" y="188"/>
                      <a:pt x="458" y="184"/>
                      <a:pt x="462" y="179"/>
                    </a:cubicBezTo>
                    <a:cubicBezTo>
                      <a:pt x="466" y="174"/>
                      <a:pt x="469" y="168"/>
                      <a:pt x="473" y="160"/>
                    </a:cubicBezTo>
                    <a:cubicBezTo>
                      <a:pt x="476" y="152"/>
                      <a:pt x="479" y="142"/>
                      <a:pt x="482" y="129"/>
                    </a:cubicBezTo>
                    <a:cubicBezTo>
                      <a:pt x="485" y="117"/>
                      <a:pt x="487" y="103"/>
                      <a:pt x="490" y="86"/>
                    </a:cubicBezTo>
                    <a:cubicBezTo>
                      <a:pt x="492" y="69"/>
                      <a:pt x="495" y="49"/>
                      <a:pt x="497" y="26"/>
                    </a:cubicBezTo>
                    <a:cubicBezTo>
                      <a:pt x="497" y="20"/>
                      <a:pt x="499" y="14"/>
                      <a:pt x="501" y="11"/>
                    </a:cubicBezTo>
                    <a:cubicBezTo>
                      <a:pt x="504" y="8"/>
                      <a:pt x="508" y="6"/>
                      <a:pt x="514" y="6"/>
                    </a:cubicBezTo>
                    <a:lnTo>
                      <a:pt x="642" y="6"/>
                    </a:lnTo>
                    <a:cubicBezTo>
                      <a:pt x="648" y="6"/>
                      <a:pt x="652" y="8"/>
                      <a:pt x="655" y="11"/>
                    </a:cubicBezTo>
                    <a:cubicBezTo>
                      <a:pt x="658" y="14"/>
                      <a:pt x="659" y="20"/>
                      <a:pt x="659" y="26"/>
                    </a:cubicBezTo>
                    <a:lnTo>
                      <a:pt x="659" y="236"/>
                    </a:lnTo>
                    <a:close/>
                    <a:moveTo>
                      <a:pt x="932" y="161"/>
                    </a:moveTo>
                    <a:cubicBezTo>
                      <a:pt x="932" y="174"/>
                      <a:pt x="930" y="186"/>
                      <a:pt x="925" y="197"/>
                    </a:cubicBezTo>
                    <a:cubicBezTo>
                      <a:pt x="920" y="208"/>
                      <a:pt x="913" y="217"/>
                      <a:pt x="903" y="225"/>
                    </a:cubicBezTo>
                    <a:cubicBezTo>
                      <a:pt x="893" y="233"/>
                      <a:pt x="880" y="239"/>
                      <a:pt x="864" y="243"/>
                    </a:cubicBezTo>
                    <a:cubicBezTo>
                      <a:pt x="849" y="247"/>
                      <a:pt x="831" y="249"/>
                      <a:pt x="810" y="249"/>
                    </a:cubicBezTo>
                    <a:cubicBezTo>
                      <a:pt x="805" y="249"/>
                      <a:pt x="799" y="249"/>
                      <a:pt x="793" y="249"/>
                    </a:cubicBezTo>
                    <a:cubicBezTo>
                      <a:pt x="788" y="249"/>
                      <a:pt x="782" y="249"/>
                      <a:pt x="776" y="248"/>
                    </a:cubicBezTo>
                    <a:cubicBezTo>
                      <a:pt x="771" y="248"/>
                      <a:pt x="765" y="248"/>
                      <a:pt x="760" y="248"/>
                    </a:cubicBezTo>
                    <a:cubicBezTo>
                      <a:pt x="754" y="247"/>
                      <a:pt x="749" y="247"/>
                      <a:pt x="745" y="246"/>
                    </a:cubicBezTo>
                    <a:cubicBezTo>
                      <a:pt x="737" y="246"/>
                      <a:pt x="731" y="243"/>
                      <a:pt x="727" y="239"/>
                    </a:cubicBezTo>
                    <a:cubicBezTo>
                      <a:pt x="724" y="235"/>
                      <a:pt x="722" y="229"/>
                      <a:pt x="722" y="221"/>
                    </a:cubicBezTo>
                    <a:lnTo>
                      <a:pt x="722" y="14"/>
                    </a:lnTo>
                    <a:cubicBezTo>
                      <a:pt x="722" y="13"/>
                      <a:pt x="723" y="11"/>
                      <a:pt x="724" y="10"/>
                    </a:cubicBezTo>
                    <a:cubicBezTo>
                      <a:pt x="724" y="9"/>
                      <a:pt x="726" y="8"/>
                      <a:pt x="729" y="7"/>
                    </a:cubicBezTo>
                    <a:cubicBezTo>
                      <a:pt x="731" y="6"/>
                      <a:pt x="734" y="5"/>
                      <a:pt x="738" y="5"/>
                    </a:cubicBezTo>
                    <a:cubicBezTo>
                      <a:pt x="742" y="4"/>
                      <a:pt x="747" y="4"/>
                      <a:pt x="753" y="4"/>
                    </a:cubicBezTo>
                    <a:cubicBezTo>
                      <a:pt x="759" y="4"/>
                      <a:pt x="764" y="4"/>
                      <a:pt x="768" y="5"/>
                    </a:cubicBezTo>
                    <a:cubicBezTo>
                      <a:pt x="772" y="5"/>
                      <a:pt x="775" y="6"/>
                      <a:pt x="778" y="7"/>
                    </a:cubicBezTo>
                    <a:cubicBezTo>
                      <a:pt x="780" y="8"/>
                      <a:pt x="782" y="9"/>
                      <a:pt x="783" y="10"/>
                    </a:cubicBezTo>
                    <a:cubicBezTo>
                      <a:pt x="784" y="11"/>
                      <a:pt x="785" y="13"/>
                      <a:pt x="785" y="14"/>
                    </a:cubicBezTo>
                    <a:lnTo>
                      <a:pt x="785" y="82"/>
                    </a:lnTo>
                    <a:cubicBezTo>
                      <a:pt x="790" y="82"/>
                      <a:pt x="796" y="82"/>
                      <a:pt x="803" y="81"/>
                    </a:cubicBezTo>
                    <a:cubicBezTo>
                      <a:pt x="810" y="81"/>
                      <a:pt x="816" y="81"/>
                      <a:pt x="823" y="81"/>
                    </a:cubicBezTo>
                    <a:cubicBezTo>
                      <a:pt x="842" y="81"/>
                      <a:pt x="858" y="83"/>
                      <a:pt x="872" y="86"/>
                    </a:cubicBezTo>
                    <a:cubicBezTo>
                      <a:pt x="886" y="90"/>
                      <a:pt x="897" y="95"/>
                      <a:pt x="906" y="102"/>
                    </a:cubicBezTo>
                    <a:cubicBezTo>
                      <a:pt x="915" y="109"/>
                      <a:pt x="921" y="118"/>
                      <a:pt x="926" y="128"/>
                    </a:cubicBezTo>
                    <a:cubicBezTo>
                      <a:pt x="930" y="137"/>
                      <a:pt x="932" y="149"/>
                      <a:pt x="932" y="161"/>
                    </a:cubicBezTo>
                    <a:close/>
                    <a:moveTo>
                      <a:pt x="867" y="165"/>
                    </a:moveTo>
                    <a:cubicBezTo>
                      <a:pt x="867" y="159"/>
                      <a:pt x="866" y="154"/>
                      <a:pt x="864" y="149"/>
                    </a:cubicBezTo>
                    <a:cubicBezTo>
                      <a:pt x="862" y="145"/>
                      <a:pt x="859" y="141"/>
                      <a:pt x="855" y="138"/>
                    </a:cubicBezTo>
                    <a:cubicBezTo>
                      <a:pt x="851" y="134"/>
                      <a:pt x="846" y="132"/>
                      <a:pt x="839" y="130"/>
                    </a:cubicBezTo>
                    <a:cubicBezTo>
                      <a:pt x="833" y="129"/>
                      <a:pt x="825" y="128"/>
                      <a:pt x="816" y="128"/>
                    </a:cubicBezTo>
                    <a:cubicBezTo>
                      <a:pt x="810" y="128"/>
                      <a:pt x="805" y="128"/>
                      <a:pt x="799" y="128"/>
                    </a:cubicBezTo>
                    <a:cubicBezTo>
                      <a:pt x="794" y="128"/>
                      <a:pt x="789" y="129"/>
                      <a:pt x="785" y="129"/>
                    </a:cubicBezTo>
                    <a:lnTo>
                      <a:pt x="785" y="200"/>
                    </a:lnTo>
                    <a:cubicBezTo>
                      <a:pt x="789" y="201"/>
                      <a:pt x="795" y="201"/>
                      <a:pt x="800" y="202"/>
                    </a:cubicBezTo>
                    <a:cubicBezTo>
                      <a:pt x="805" y="202"/>
                      <a:pt x="811" y="202"/>
                      <a:pt x="817" y="202"/>
                    </a:cubicBezTo>
                    <a:cubicBezTo>
                      <a:pt x="834" y="202"/>
                      <a:pt x="847" y="199"/>
                      <a:pt x="855" y="192"/>
                    </a:cubicBezTo>
                    <a:cubicBezTo>
                      <a:pt x="863" y="186"/>
                      <a:pt x="867" y="176"/>
                      <a:pt x="867" y="165"/>
                    </a:cubicBezTo>
                    <a:close/>
                    <a:moveTo>
                      <a:pt x="1122" y="33"/>
                    </a:moveTo>
                    <a:cubicBezTo>
                      <a:pt x="1122" y="39"/>
                      <a:pt x="1122" y="43"/>
                      <a:pt x="1121" y="47"/>
                    </a:cubicBezTo>
                    <a:cubicBezTo>
                      <a:pt x="1121" y="51"/>
                      <a:pt x="1120" y="53"/>
                      <a:pt x="1119" y="56"/>
                    </a:cubicBezTo>
                    <a:cubicBezTo>
                      <a:pt x="1119" y="58"/>
                      <a:pt x="1117" y="59"/>
                      <a:pt x="1116" y="60"/>
                    </a:cubicBezTo>
                    <a:cubicBezTo>
                      <a:pt x="1115" y="61"/>
                      <a:pt x="1114" y="61"/>
                      <a:pt x="1112" y="61"/>
                    </a:cubicBezTo>
                    <a:lnTo>
                      <a:pt x="1056" y="61"/>
                    </a:lnTo>
                    <a:lnTo>
                      <a:pt x="1056" y="236"/>
                    </a:lnTo>
                    <a:cubicBezTo>
                      <a:pt x="1056" y="237"/>
                      <a:pt x="1056" y="239"/>
                      <a:pt x="1055" y="240"/>
                    </a:cubicBezTo>
                    <a:cubicBezTo>
                      <a:pt x="1054" y="241"/>
                      <a:pt x="1052" y="242"/>
                      <a:pt x="1050" y="243"/>
                    </a:cubicBezTo>
                    <a:cubicBezTo>
                      <a:pt x="1047" y="244"/>
                      <a:pt x="1044" y="245"/>
                      <a:pt x="1040" y="245"/>
                    </a:cubicBezTo>
                    <a:cubicBezTo>
                      <a:pt x="1036" y="245"/>
                      <a:pt x="1031" y="246"/>
                      <a:pt x="1025" y="246"/>
                    </a:cubicBezTo>
                    <a:cubicBezTo>
                      <a:pt x="1019" y="246"/>
                      <a:pt x="1014" y="245"/>
                      <a:pt x="1010" y="245"/>
                    </a:cubicBezTo>
                    <a:cubicBezTo>
                      <a:pt x="1006" y="245"/>
                      <a:pt x="1003" y="244"/>
                      <a:pt x="1000" y="243"/>
                    </a:cubicBezTo>
                    <a:cubicBezTo>
                      <a:pt x="998" y="242"/>
                      <a:pt x="996" y="241"/>
                      <a:pt x="995" y="240"/>
                    </a:cubicBezTo>
                    <a:cubicBezTo>
                      <a:pt x="995" y="239"/>
                      <a:pt x="994" y="237"/>
                      <a:pt x="994" y="236"/>
                    </a:cubicBezTo>
                    <a:lnTo>
                      <a:pt x="994" y="61"/>
                    </a:lnTo>
                    <a:lnTo>
                      <a:pt x="938" y="61"/>
                    </a:lnTo>
                    <a:cubicBezTo>
                      <a:pt x="937" y="61"/>
                      <a:pt x="935" y="61"/>
                      <a:pt x="934" y="60"/>
                    </a:cubicBezTo>
                    <a:cubicBezTo>
                      <a:pt x="933" y="59"/>
                      <a:pt x="932" y="58"/>
                      <a:pt x="931" y="55"/>
                    </a:cubicBezTo>
                    <a:cubicBezTo>
                      <a:pt x="930" y="53"/>
                      <a:pt x="929" y="50"/>
                      <a:pt x="929" y="46"/>
                    </a:cubicBezTo>
                    <a:cubicBezTo>
                      <a:pt x="929" y="43"/>
                      <a:pt x="928" y="38"/>
                      <a:pt x="928" y="33"/>
                    </a:cubicBezTo>
                    <a:cubicBezTo>
                      <a:pt x="928" y="28"/>
                      <a:pt x="929" y="23"/>
                      <a:pt x="929" y="20"/>
                    </a:cubicBezTo>
                    <a:cubicBezTo>
                      <a:pt x="930" y="17"/>
                      <a:pt x="930" y="14"/>
                      <a:pt x="931" y="12"/>
                    </a:cubicBezTo>
                    <a:cubicBezTo>
                      <a:pt x="932" y="9"/>
                      <a:pt x="933" y="8"/>
                      <a:pt x="934" y="7"/>
                    </a:cubicBezTo>
                    <a:cubicBezTo>
                      <a:pt x="935" y="6"/>
                      <a:pt x="937" y="6"/>
                      <a:pt x="938" y="6"/>
                    </a:cubicBezTo>
                    <a:lnTo>
                      <a:pt x="1112" y="6"/>
                    </a:lnTo>
                    <a:cubicBezTo>
                      <a:pt x="1114" y="6"/>
                      <a:pt x="1115" y="6"/>
                      <a:pt x="1116" y="7"/>
                    </a:cubicBezTo>
                    <a:cubicBezTo>
                      <a:pt x="1117" y="8"/>
                      <a:pt x="1119" y="9"/>
                      <a:pt x="1119" y="12"/>
                    </a:cubicBezTo>
                    <a:cubicBezTo>
                      <a:pt x="1120" y="14"/>
                      <a:pt x="1121" y="17"/>
                      <a:pt x="1121" y="20"/>
                    </a:cubicBezTo>
                    <a:cubicBezTo>
                      <a:pt x="1122" y="24"/>
                      <a:pt x="1122" y="28"/>
                      <a:pt x="1122" y="33"/>
                    </a:cubicBezTo>
                    <a:close/>
                    <a:moveTo>
                      <a:pt x="1344" y="236"/>
                    </a:moveTo>
                    <a:cubicBezTo>
                      <a:pt x="1344" y="239"/>
                      <a:pt x="1344" y="241"/>
                      <a:pt x="1342" y="242"/>
                    </a:cubicBezTo>
                    <a:cubicBezTo>
                      <a:pt x="1340" y="243"/>
                      <a:pt x="1338" y="244"/>
                      <a:pt x="1334" y="245"/>
                    </a:cubicBezTo>
                    <a:cubicBezTo>
                      <a:pt x="1331" y="245"/>
                      <a:pt x="1325" y="246"/>
                      <a:pt x="1318" y="246"/>
                    </a:cubicBezTo>
                    <a:cubicBezTo>
                      <a:pt x="1311" y="246"/>
                      <a:pt x="1305" y="245"/>
                      <a:pt x="1302" y="245"/>
                    </a:cubicBezTo>
                    <a:cubicBezTo>
                      <a:pt x="1299" y="244"/>
                      <a:pt x="1296" y="243"/>
                      <a:pt x="1295" y="242"/>
                    </a:cubicBezTo>
                    <a:cubicBezTo>
                      <a:pt x="1293" y="241"/>
                      <a:pt x="1293" y="239"/>
                      <a:pt x="1293" y="236"/>
                    </a:cubicBezTo>
                    <a:lnTo>
                      <a:pt x="1293" y="219"/>
                    </a:lnTo>
                    <a:cubicBezTo>
                      <a:pt x="1284" y="229"/>
                      <a:pt x="1273" y="236"/>
                      <a:pt x="1262" y="242"/>
                    </a:cubicBezTo>
                    <a:cubicBezTo>
                      <a:pt x="1250" y="247"/>
                      <a:pt x="1237" y="250"/>
                      <a:pt x="1223" y="250"/>
                    </a:cubicBezTo>
                    <a:cubicBezTo>
                      <a:pt x="1211" y="250"/>
                      <a:pt x="1200" y="248"/>
                      <a:pt x="1190" y="245"/>
                    </a:cubicBezTo>
                    <a:cubicBezTo>
                      <a:pt x="1180" y="242"/>
                      <a:pt x="1172" y="238"/>
                      <a:pt x="1165" y="232"/>
                    </a:cubicBezTo>
                    <a:cubicBezTo>
                      <a:pt x="1157" y="226"/>
                      <a:pt x="1152" y="218"/>
                      <a:pt x="1148" y="209"/>
                    </a:cubicBezTo>
                    <a:cubicBezTo>
                      <a:pt x="1144" y="200"/>
                      <a:pt x="1142" y="190"/>
                      <a:pt x="1142" y="178"/>
                    </a:cubicBezTo>
                    <a:cubicBezTo>
                      <a:pt x="1142" y="165"/>
                      <a:pt x="1144" y="154"/>
                      <a:pt x="1149" y="144"/>
                    </a:cubicBezTo>
                    <a:cubicBezTo>
                      <a:pt x="1155" y="135"/>
                      <a:pt x="1162" y="127"/>
                      <a:pt x="1172" y="121"/>
                    </a:cubicBezTo>
                    <a:cubicBezTo>
                      <a:pt x="1182" y="114"/>
                      <a:pt x="1195" y="110"/>
                      <a:pt x="1210" y="107"/>
                    </a:cubicBezTo>
                    <a:cubicBezTo>
                      <a:pt x="1224" y="104"/>
                      <a:pt x="1242" y="102"/>
                      <a:pt x="1261" y="102"/>
                    </a:cubicBezTo>
                    <a:lnTo>
                      <a:pt x="1283" y="102"/>
                    </a:lnTo>
                    <a:lnTo>
                      <a:pt x="1283" y="89"/>
                    </a:lnTo>
                    <a:cubicBezTo>
                      <a:pt x="1283" y="82"/>
                      <a:pt x="1282" y="76"/>
                      <a:pt x="1281" y="71"/>
                    </a:cubicBezTo>
                    <a:cubicBezTo>
                      <a:pt x="1280" y="65"/>
                      <a:pt x="1277" y="61"/>
                      <a:pt x="1274" y="58"/>
                    </a:cubicBezTo>
                    <a:cubicBezTo>
                      <a:pt x="1271" y="54"/>
                      <a:pt x="1266" y="52"/>
                      <a:pt x="1261" y="50"/>
                    </a:cubicBezTo>
                    <a:cubicBezTo>
                      <a:pt x="1256" y="48"/>
                      <a:pt x="1249" y="47"/>
                      <a:pt x="1241" y="47"/>
                    </a:cubicBezTo>
                    <a:cubicBezTo>
                      <a:pt x="1231" y="47"/>
                      <a:pt x="1221" y="49"/>
                      <a:pt x="1213" y="51"/>
                    </a:cubicBezTo>
                    <a:cubicBezTo>
                      <a:pt x="1205" y="53"/>
                      <a:pt x="1198" y="56"/>
                      <a:pt x="1191" y="59"/>
                    </a:cubicBezTo>
                    <a:cubicBezTo>
                      <a:pt x="1185" y="61"/>
                      <a:pt x="1180" y="64"/>
                      <a:pt x="1176" y="66"/>
                    </a:cubicBezTo>
                    <a:cubicBezTo>
                      <a:pt x="1171" y="69"/>
                      <a:pt x="1168" y="70"/>
                      <a:pt x="1165" y="70"/>
                    </a:cubicBezTo>
                    <a:cubicBezTo>
                      <a:pt x="1163" y="70"/>
                      <a:pt x="1162" y="69"/>
                      <a:pt x="1160" y="68"/>
                    </a:cubicBezTo>
                    <a:cubicBezTo>
                      <a:pt x="1159" y="67"/>
                      <a:pt x="1158" y="65"/>
                      <a:pt x="1157" y="63"/>
                    </a:cubicBezTo>
                    <a:cubicBezTo>
                      <a:pt x="1156" y="61"/>
                      <a:pt x="1155" y="58"/>
                      <a:pt x="1155" y="55"/>
                    </a:cubicBezTo>
                    <a:cubicBezTo>
                      <a:pt x="1154" y="52"/>
                      <a:pt x="1154" y="48"/>
                      <a:pt x="1154" y="45"/>
                    </a:cubicBezTo>
                    <a:cubicBezTo>
                      <a:pt x="1154" y="40"/>
                      <a:pt x="1154" y="35"/>
                      <a:pt x="1155" y="33"/>
                    </a:cubicBezTo>
                    <a:cubicBezTo>
                      <a:pt x="1156" y="30"/>
                      <a:pt x="1158" y="27"/>
                      <a:pt x="1160" y="24"/>
                    </a:cubicBezTo>
                    <a:cubicBezTo>
                      <a:pt x="1162" y="22"/>
                      <a:pt x="1166" y="19"/>
                      <a:pt x="1172" y="16"/>
                    </a:cubicBezTo>
                    <a:cubicBezTo>
                      <a:pt x="1178" y="14"/>
                      <a:pt x="1185" y="11"/>
                      <a:pt x="1193" y="8"/>
                    </a:cubicBezTo>
                    <a:cubicBezTo>
                      <a:pt x="1200" y="6"/>
                      <a:pt x="1209" y="4"/>
                      <a:pt x="1218" y="2"/>
                    </a:cubicBezTo>
                    <a:cubicBezTo>
                      <a:pt x="1227" y="1"/>
                      <a:pt x="1237" y="0"/>
                      <a:pt x="1247" y="0"/>
                    </a:cubicBezTo>
                    <a:cubicBezTo>
                      <a:pt x="1264" y="0"/>
                      <a:pt x="1279" y="2"/>
                      <a:pt x="1291" y="5"/>
                    </a:cubicBezTo>
                    <a:cubicBezTo>
                      <a:pt x="1303" y="8"/>
                      <a:pt x="1314" y="14"/>
                      <a:pt x="1322" y="21"/>
                    </a:cubicBezTo>
                    <a:cubicBezTo>
                      <a:pt x="1330" y="28"/>
                      <a:pt x="1335" y="37"/>
                      <a:pt x="1339" y="48"/>
                    </a:cubicBezTo>
                    <a:cubicBezTo>
                      <a:pt x="1343" y="59"/>
                      <a:pt x="1344" y="72"/>
                      <a:pt x="1344" y="87"/>
                    </a:cubicBezTo>
                    <a:lnTo>
                      <a:pt x="1344" y="236"/>
                    </a:lnTo>
                    <a:close/>
                    <a:moveTo>
                      <a:pt x="1283" y="142"/>
                    </a:moveTo>
                    <a:lnTo>
                      <a:pt x="1259" y="142"/>
                    </a:lnTo>
                    <a:cubicBezTo>
                      <a:pt x="1249" y="142"/>
                      <a:pt x="1240" y="142"/>
                      <a:pt x="1233" y="144"/>
                    </a:cubicBezTo>
                    <a:cubicBezTo>
                      <a:pt x="1226" y="145"/>
                      <a:pt x="1220" y="148"/>
                      <a:pt x="1216" y="150"/>
                    </a:cubicBezTo>
                    <a:cubicBezTo>
                      <a:pt x="1211" y="154"/>
                      <a:pt x="1208" y="157"/>
                      <a:pt x="1206" y="161"/>
                    </a:cubicBezTo>
                    <a:cubicBezTo>
                      <a:pt x="1204" y="166"/>
                      <a:pt x="1203" y="170"/>
                      <a:pt x="1203" y="176"/>
                    </a:cubicBezTo>
                    <a:cubicBezTo>
                      <a:pt x="1203" y="185"/>
                      <a:pt x="1206" y="192"/>
                      <a:pt x="1212" y="198"/>
                    </a:cubicBezTo>
                    <a:cubicBezTo>
                      <a:pt x="1218" y="203"/>
                      <a:pt x="1226" y="206"/>
                      <a:pt x="1236" y="206"/>
                    </a:cubicBezTo>
                    <a:cubicBezTo>
                      <a:pt x="1245" y="206"/>
                      <a:pt x="1253" y="203"/>
                      <a:pt x="1261" y="199"/>
                    </a:cubicBezTo>
                    <a:cubicBezTo>
                      <a:pt x="1268" y="194"/>
                      <a:pt x="1275" y="188"/>
                      <a:pt x="1283" y="179"/>
                    </a:cubicBezTo>
                    <a:lnTo>
                      <a:pt x="1283" y="142"/>
                    </a:lnTo>
                    <a:close/>
                    <a:moveTo>
                      <a:pt x="1569" y="33"/>
                    </a:moveTo>
                    <a:cubicBezTo>
                      <a:pt x="1569" y="39"/>
                      <a:pt x="1569" y="43"/>
                      <a:pt x="1569" y="47"/>
                    </a:cubicBezTo>
                    <a:cubicBezTo>
                      <a:pt x="1568" y="51"/>
                      <a:pt x="1568" y="53"/>
                      <a:pt x="1567" y="56"/>
                    </a:cubicBezTo>
                    <a:cubicBezTo>
                      <a:pt x="1566" y="58"/>
                      <a:pt x="1565" y="59"/>
                      <a:pt x="1564" y="60"/>
                    </a:cubicBezTo>
                    <a:cubicBezTo>
                      <a:pt x="1563" y="61"/>
                      <a:pt x="1561" y="61"/>
                      <a:pt x="1560" y="61"/>
                    </a:cubicBezTo>
                    <a:lnTo>
                      <a:pt x="1504" y="61"/>
                    </a:lnTo>
                    <a:lnTo>
                      <a:pt x="1504" y="236"/>
                    </a:lnTo>
                    <a:cubicBezTo>
                      <a:pt x="1504" y="237"/>
                      <a:pt x="1503" y="239"/>
                      <a:pt x="1502" y="240"/>
                    </a:cubicBezTo>
                    <a:cubicBezTo>
                      <a:pt x="1501" y="241"/>
                      <a:pt x="1500" y="242"/>
                      <a:pt x="1497" y="243"/>
                    </a:cubicBezTo>
                    <a:cubicBezTo>
                      <a:pt x="1495" y="244"/>
                      <a:pt x="1492" y="245"/>
                      <a:pt x="1488" y="245"/>
                    </a:cubicBezTo>
                    <a:cubicBezTo>
                      <a:pt x="1484" y="245"/>
                      <a:pt x="1479" y="246"/>
                      <a:pt x="1473" y="246"/>
                    </a:cubicBezTo>
                    <a:cubicBezTo>
                      <a:pt x="1467" y="246"/>
                      <a:pt x="1462" y="245"/>
                      <a:pt x="1458" y="245"/>
                    </a:cubicBezTo>
                    <a:cubicBezTo>
                      <a:pt x="1454" y="245"/>
                      <a:pt x="1451" y="244"/>
                      <a:pt x="1448" y="243"/>
                    </a:cubicBezTo>
                    <a:cubicBezTo>
                      <a:pt x="1446" y="242"/>
                      <a:pt x="1444" y="241"/>
                      <a:pt x="1443" y="240"/>
                    </a:cubicBezTo>
                    <a:cubicBezTo>
                      <a:pt x="1442" y="239"/>
                      <a:pt x="1442" y="237"/>
                      <a:pt x="1442" y="236"/>
                    </a:cubicBezTo>
                    <a:lnTo>
                      <a:pt x="1442" y="61"/>
                    </a:lnTo>
                    <a:lnTo>
                      <a:pt x="1386" y="61"/>
                    </a:lnTo>
                    <a:cubicBezTo>
                      <a:pt x="1384" y="61"/>
                      <a:pt x="1383" y="61"/>
                      <a:pt x="1381" y="60"/>
                    </a:cubicBezTo>
                    <a:cubicBezTo>
                      <a:pt x="1380" y="59"/>
                      <a:pt x="1379" y="58"/>
                      <a:pt x="1378" y="55"/>
                    </a:cubicBezTo>
                    <a:cubicBezTo>
                      <a:pt x="1378" y="53"/>
                      <a:pt x="1377" y="50"/>
                      <a:pt x="1377" y="46"/>
                    </a:cubicBezTo>
                    <a:cubicBezTo>
                      <a:pt x="1376" y="43"/>
                      <a:pt x="1376" y="38"/>
                      <a:pt x="1376" y="33"/>
                    </a:cubicBezTo>
                    <a:cubicBezTo>
                      <a:pt x="1376" y="28"/>
                      <a:pt x="1376" y="23"/>
                      <a:pt x="1377" y="20"/>
                    </a:cubicBezTo>
                    <a:cubicBezTo>
                      <a:pt x="1377" y="17"/>
                      <a:pt x="1378" y="14"/>
                      <a:pt x="1379" y="12"/>
                    </a:cubicBezTo>
                    <a:cubicBezTo>
                      <a:pt x="1379" y="9"/>
                      <a:pt x="1380" y="8"/>
                      <a:pt x="1382" y="7"/>
                    </a:cubicBezTo>
                    <a:cubicBezTo>
                      <a:pt x="1383" y="6"/>
                      <a:pt x="1384" y="6"/>
                      <a:pt x="1386" y="6"/>
                    </a:cubicBezTo>
                    <a:lnTo>
                      <a:pt x="1560" y="6"/>
                    </a:lnTo>
                    <a:cubicBezTo>
                      <a:pt x="1561" y="6"/>
                      <a:pt x="1563" y="6"/>
                      <a:pt x="1564" y="7"/>
                    </a:cubicBezTo>
                    <a:cubicBezTo>
                      <a:pt x="1565" y="8"/>
                      <a:pt x="1566" y="9"/>
                      <a:pt x="1567" y="12"/>
                    </a:cubicBezTo>
                    <a:cubicBezTo>
                      <a:pt x="1568" y="14"/>
                      <a:pt x="1568" y="17"/>
                      <a:pt x="1569" y="20"/>
                    </a:cubicBezTo>
                    <a:cubicBezTo>
                      <a:pt x="1569" y="24"/>
                      <a:pt x="1569" y="28"/>
                      <a:pt x="1569" y="33"/>
                    </a:cubicBezTo>
                    <a:close/>
                    <a:moveTo>
                      <a:pt x="1903" y="236"/>
                    </a:moveTo>
                    <a:cubicBezTo>
                      <a:pt x="1903" y="237"/>
                      <a:pt x="1902" y="239"/>
                      <a:pt x="1901" y="240"/>
                    </a:cubicBezTo>
                    <a:cubicBezTo>
                      <a:pt x="1900" y="241"/>
                      <a:pt x="1899" y="242"/>
                      <a:pt x="1896" y="243"/>
                    </a:cubicBezTo>
                    <a:cubicBezTo>
                      <a:pt x="1894" y="244"/>
                      <a:pt x="1891" y="245"/>
                      <a:pt x="1887" y="245"/>
                    </a:cubicBezTo>
                    <a:cubicBezTo>
                      <a:pt x="1883" y="245"/>
                      <a:pt x="1878" y="246"/>
                      <a:pt x="1871" y="246"/>
                    </a:cubicBezTo>
                    <a:cubicBezTo>
                      <a:pt x="1865" y="246"/>
                      <a:pt x="1860" y="245"/>
                      <a:pt x="1856" y="245"/>
                    </a:cubicBezTo>
                    <a:cubicBezTo>
                      <a:pt x="1852" y="245"/>
                      <a:pt x="1849" y="244"/>
                      <a:pt x="1847" y="243"/>
                    </a:cubicBezTo>
                    <a:cubicBezTo>
                      <a:pt x="1844" y="242"/>
                      <a:pt x="1843" y="241"/>
                      <a:pt x="1842" y="240"/>
                    </a:cubicBezTo>
                    <a:cubicBezTo>
                      <a:pt x="1841" y="239"/>
                      <a:pt x="1840" y="237"/>
                      <a:pt x="1840" y="236"/>
                    </a:cubicBezTo>
                    <a:lnTo>
                      <a:pt x="1840" y="14"/>
                    </a:lnTo>
                    <a:cubicBezTo>
                      <a:pt x="1840" y="13"/>
                      <a:pt x="1841" y="11"/>
                      <a:pt x="1842" y="10"/>
                    </a:cubicBezTo>
                    <a:cubicBezTo>
                      <a:pt x="1843" y="9"/>
                      <a:pt x="1844" y="8"/>
                      <a:pt x="1847" y="7"/>
                    </a:cubicBezTo>
                    <a:cubicBezTo>
                      <a:pt x="1849" y="6"/>
                      <a:pt x="1852" y="5"/>
                      <a:pt x="1856" y="5"/>
                    </a:cubicBezTo>
                    <a:cubicBezTo>
                      <a:pt x="1860" y="4"/>
                      <a:pt x="1865" y="4"/>
                      <a:pt x="1871" y="4"/>
                    </a:cubicBezTo>
                    <a:cubicBezTo>
                      <a:pt x="1878" y="4"/>
                      <a:pt x="1883" y="4"/>
                      <a:pt x="1887" y="5"/>
                    </a:cubicBezTo>
                    <a:cubicBezTo>
                      <a:pt x="1891" y="5"/>
                      <a:pt x="1894" y="6"/>
                      <a:pt x="1896" y="7"/>
                    </a:cubicBezTo>
                    <a:cubicBezTo>
                      <a:pt x="1899" y="8"/>
                      <a:pt x="1900" y="9"/>
                      <a:pt x="1901" y="10"/>
                    </a:cubicBezTo>
                    <a:cubicBezTo>
                      <a:pt x="1902" y="11"/>
                      <a:pt x="1903" y="13"/>
                      <a:pt x="1903" y="14"/>
                    </a:cubicBezTo>
                    <a:lnTo>
                      <a:pt x="1903" y="236"/>
                    </a:lnTo>
                    <a:close/>
                    <a:moveTo>
                      <a:pt x="1666" y="82"/>
                    </a:moveTo>
                    <a:cubicBezTo>
                      <a:pt x="1672" y="82"/>
                      <a:pt x="1677" y="82"/>
                      <a:pt x="1683" y="81"/>
                    </a:cubicBezTo>
                    <a:cubicBezTo>
                      <a:pt x="1689" y="81"/>
                      <a:pt x="1695" y="81"/>
                      <a:pt x="1702" y="81"/>
                    </a:cubicBezTo>
                    <a:cubicBezTo>
                      <a:pt x="1721" y="81"/>
                      <a:pt x="1736" y="83"/>
                      <a:pt x="1750" y="86"/>
                    </a:cubicBezTo>
                    <a:cubicBezTo>
                      <a:pt x="1763" y="90"/>
                      <a:pt x="1774" y="95"/>
                      <a:pt x="1782" y="102"/>
                    </a:cubicBezTo>
                    <a:cubicBezTo>
                      <a:pt x="1791" y="109"/>
                      <a:pt x="1797" y="118"/>
                      <a:pt x="1802" y="128"/>
                    </a:cubicBezTo>
                    <a:cubicBezTo>
                      <a:pt x="1806" y="137"/>
                      <a:pt x="1808" y="149"/>
                      <a:pt x="1808" y="161"/>
                    </a:cubicBezTo>
                    <a:cubicBezTo>
                      <a:pt x="1808" y="174"/>
                      <a:pt x="1806" y="186"/>
                      <a:pt x="1801" y="197"/>
                    </a:cubicBezTo>
                    <a:cubicBezTo>
                      <a:pt x="1796" y="208"/>
                      <a:pt x="1789" y="217"/>
                      <a:pt x="1779" y="225"/>
                    </a:cubicBezTo>
                    <a:cubicBezTo>
                      <a:pt x="1770" y="233"/>
                      <a:pt x="1757" y="239"/>
                      <a:pt x="1743" y="243"/>
                    </a:cubicBezTo>
                    <a:cubicBezTo>
                      <a:pt x="1728" y="247"/>
                      <a:pt x="1710" y="249"/>
                      <a:pt x="1689" y="249"/>
                    </a:cubicBezTo>
                    <a:cubicBezTo>
                      <a:pt x="1684" y="249"/>
                      <a:pt x="1678" y="249"/>
                      <a:pt x="1673" y="249"/>
                    </a:cubicBezTo>
                    <a:cubicBezTo>
                      <a:pt x="1667" y="249"/>
                      <a:pt x="1662" y="249"/>
                      <a:pt x="1656" y="248"/>
                    </a:cubicBezTo>
                    <a:cubicBezTo>
                      <a:pt x="1651" y="248"/>
                      <a:pt x="1646" y="248"/>
                      <a:pt x="1641" y="248"/>
                    </a:cubicBezTo>
                    <a:cubicBezTo>
                      <a:pt x="1635" y="247"/>
                      <a:pt x="1630" y="247"/>
                      <a:pt x="1626" y="246"/>
                    </a:cubicBezTo>
                    <a:cubicBezTo>
                      <a:pt x="1618" y="246"/>
                      <a:pt x="1612" y="243"/>
                      <a:pt x="1609" y="239"/>
                    </a:cubicBezTo>
                    <a:cubicBezTo>
                      <a:pt x="1605" y="235"/>
                      <a:pt x="1603" y="229"/>
                      <a:pt x="1603" y="221"/>
                    </a:cubicBezTo>
                    <a:lnTo>
                      <a:pt x="1603" y="14"/>
                    </a:lnTo>
                    <a:cubicBezTo>
                      <a:pt x="1603" y="13"/>
                      <a:pt x="1604" y="11"/>
                      <a:pt x="1605" y="10"/>
                    </a:cubicBezTo>
                    <a:cubicBezTo>
                      <a:pt x="1606" y="9"/>
                      <a:pt x="1607" y="8"/>
                      <a:pt x="1610" y="7"/>
                    </a:cubicBezTo>
                    <a:cubicBezTo>
                      <a:pt x="1612" y="6"/>
                      <a:pt x="1615" y="5"/>
                      <a:pt x="1619" y="5"/>
                    </a:cubicBezTo>
                    <a:cubicBezTo>
                      <a:pt x="1623" y="4"/>
                      <a:pt x="1627" y="4"/>
                      <a:pt x="1633" y="4"/>
                    </a:cubicBezTo>
                    <a:cubicBezTo>
                      <a:pt x="1645" y="4"/>
                      <a:pt x="1653" y="5"/>
                      <a:pt x="1658" y="7"/>
                    </a:cubicBezTo>
                    <a:cubicBezTo>
                      <a:pt x="1663" y="8"/>
                      <a:pt x="1666" y="11"/>
                      <a:pt x="1666" y="14"/>
                    </a:cubicBezTo>
                    <a:lnTo>
                      <a:pt x="1666" y="82"/>
                    </a:lnTo>
                    <a:close/>
                    <a:moveTo>
                      <a:pt x="1744" y="165"/>
                    </a:moveTo>
                    <a:cubicBezTo>
                      <a:pt x="1744" y="159"/>
                      <a:pt x="1743" y="154"/>
                      <a:pt x="1742" y="149"/>
                    </a:cubicBezTo>
                    <a:cubicBezTo>
                      <a:pt x="1740" y="145"/>
                      <a:pt x="1737" y="141"/>
                      <a:pt x="1733" y="138"/>
                    </a:cubicBezTo>
                    <a:cubicBezTo>
                      <a:pt x="1729" y="134"/>
                      <a:pt x="1724" y="132"/>
                      <a:pt x="1718" y="130"/>
                    </a:cubicBezTo>
                    <a:cubicBezTo>
                      <a:pt x="1712" y="129"/>
                      <a:pt x="1704" y="128"/>
                      <a:pt x="1695" y="128"/>
                    </a:cubicBezTo>
                    <a:cubicBezTo>
                      <a:pt x="1689" y="128"/>
                      <a:pt x="1684" y="128"/>
                      <a:pt x="1679" y="128"/>
                    </a:cubicBezTo>
                    <a:cubicBezTo>
                      <a:pt x="1674" y="128"/>
                      <a:pt x="1670" y="129"/>
                      <a:pt x="1666" y="129"/>
                    </a:cubicBezTo>
                    <a:lnTo>
                      <a:pt x="1666" y="200"/>
                    </a:lnTo>
                    <a:cubicBezTo>
                      <a:pt x="1671" y="201"/>
                      <a:pt x="1675" y="201"/>
                      <a:pt x="1680" y="202"/>
                    </a:cubicBezTo>
                    <a:cubicBezTo>
                      <a:pt x="1685" y="202"/>
                      <a:pt x="1690" y="202"/>
                      <a:pt x="1696" y="202"/>
                    </a:cubicBezTo>
                    <a:cubicBezTo>
                      <a:pt x="1713" y="202"/>
                      <a:pt x="1725" y="199"/>
                      <a:pt x="1733" y="192"/>
                    </a:cubicBezTo>
                    <a:cubicBezTo>
                      <a:pt x="1740" y="186"/>
                      <a:pt x="1744" y="176"/>
                      <a:pt x="1744" y="165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0" name="Freeform 1222"/>
              <p:cNvSpPr>
                <a:spLocks noEditPoints="1"/>
              </p:cNvSpPr>
              <p:nvPr/>
            </p:nvSpPr>
            <p:spPr bwMode="auto">
              <a:xfrm>
                <a:off x="5773" y="3045"/>
                <a:ext cx="830" cy="94"/>
              </a:xfrm>
              <a:custGeom>
                <a:avLst/>
                <a:gdLst/>
                <a:ahLst/>
                <a:cxnLst>
                  <a:cxn ang="0">
                    <a:pos x="313" y="51"/>
                  </a:cxn>
                  <a:cxn ang="0">
                    <a:pos x="152" y="312"/>
                  </a:cxn>
                  <a:cxn ang="0">
                    <a:pos x="1" y="317"/>
                  </a:cxn>
                  <a:cxn ang="0">
                    <a:pos x="187" y="228"/>
                  </a:cxn>
                  <a:cxn ang="0">
                    <a:pos x="373" y="15"/>
                  </a:cxn>
                  <a:cxn ang="0">
                    <a:pos x="552" y="280"/>
                  </a:cxn>
                  <a:cxn ang="0">
                    <a:pos x="634" y="301"/>
                  </a:cxn>
                  <a:cxn ang="0">
                    <a:pos x="428" y="204"/>
                  </a:cxn>
                  <a:cxn ang="0">
                    <a:pos x="585" y="178"/>
                  </a:cxn>
                  <a:cxn ang="0">
                    <a:pos x="858" y="133"/>
                  </a:cxn>
                  <a:cxn ang="0">
                    <a:pos x="739" y="320"/>
                  </a:cxn>
                  <a:cxn ang="0">
                    <a:pos x="669" y="89"/>
                  </a:cxn>
                  <a:cxn ang="0">
                    <a:pos x="1072" y="322"/>
                  </a:cxn>
                  <a:cxn ang="0">
                    <a:pos x="886" y="286"/>
                  </a:cxn>
                  <a:cxn ang="0">
                    <a:pos x="999" y="127"/>
                  </a:cxn>
                  <a:cxn ang="0">
                    <a:pos x="894" y="110"/>
                  </a:cxn>
                  <a:cxn ang="0">
                    <a:pos x="1083" y="313"/>
                  </a:cxn>
                  <a:cxn ang="0">
                    <a:pos x="1021" y="256"/>
                  </a:cxn>
                  <a:cxn ang="0">
                    <a:pos x="1291" y="313"/>
                  </a:cxn>
                  <a:cxn ang="0">
                    <a:pos x="1146" y="317"/>
                  </a:cxn>
                  <a:cxn ang="0">
                    <a:pos x="1634" y="252"/>
                  </a:cxn>
                  <a:cxn ang="0">
                    <a:pos x="1473" y="409"/>
                  </a:cxn>
                  <a:cxn ang="0">
                    <a:pos x="1431" y="82"/>
                  </a:cxn>
                  <a:cxn ang="0">
                    <a:pos x="1550" y="77"/>
                  </a:cxn>
                  <a:cxn ang="0">
                    <a:pos x="1519" y="132"/>
                  </a:cxn>
                  <a:cxn ang="0">
                    <a:pos x="1575" y="203"/>
                  </a:cxn>
                  <a:cxn ang="0">
                    <a:pos x="1852" y="272"/>
                  </a:cxn>
                  <a:cxn ang="0">
                    <a:pos x="1879" y="309"/>
                  </a:cxn>
                  <a:cxn ang="0">
                    <a:pos x="1707" y="111"/>
                  </a:cxn>
                  <a:cxn ang="0">
                    <a:pos x="1789" y="121"/>
                  </a:cxn>
                  <a:cxn ang="0">
                    <a:pos x="1941" y="403"/>
                  </a:cxn>
                  <a:cxn ang="0">
                    <a:pos x="1966" y="214"/>
                  </a:cxn>
                  <a:cxn ang="0">
                    <a:pos x="2158" y="270"/>
                  </a:cxn>
                  <a:cxn ang="0">
                    <a:pos x="2148" y="400"/>
                  </a:cxn>
                  <a:cxn ang="0">
                    <a:pos x="2012" y="252"/>
                  </a:cxn>
                  <a:cxn ang="0">
                    <a:pos x="2490" y="313"/>
                  </a:cxn>
                  <a:cxn ang="0">
                    <a:pos x="2454" y="189"/>
                  </a:cxn>
                  <a:cxn ang="0">
                    <a:pos x="2315" y="189"/>
                  </a:cxn>
                  <a:cxn ang="0">
                    <a:pos x="2281" y="312"/>
                  </a:cxn>
                  <a:cxn ang="0">
                    <a:pos x="2252" y="88"/>
                  </a:cxn>
                  <a:cxn ang="0">
                    <a:pos x="2382" y="239"/>
                  </a:cxn>
                  <a:cxn ang="0">
                    <a:pos x="2452" y="85"/>
                  </a:cxn>
                  <a:cxn ang="0">
                    <a:pos x="2652" y="243"/>
                  </a:cxn>
                  <a:cxn ang="0">
                    <a:pos x="2792" y="275"/>
                  </a:cxn>
                  <a:cxn ang="0">
                    <a:pos x="2652" y="319"/>
                  </a:cxn>
                  <a:cxn ang="0">
                    <a:pos x="2797" y="142"/>
                  </a:cxn>
                  <a:cxn ang="0">
                    <a:pos x="2742" y="178"/>
                  </a:cxn>
                  <a:cxn ang="0">
                    <a:pos x="2936" y="322"/>
                  </a:cxn>
                  <a:cxn ang="0">
                    <a:pos x="2824" y="123"/>
                  </a:cxn>
                  <a:cxn ang="0">
                    <a:pos x="3017" y="110"/>
                  </a:cxn>
                  <a:cxn ang="0">
                    <a:pos x="3203" y="226"/>
                  </a:cxn>
                  <a:cxn ang="0">
                    <a:pos x="3051" y="313"/>
                  </a:cxn>
                  <a:cxn ang="0">
                    <a:pos x="3114" y="174"/>
                  </a:cxn>
                  <a:cxn ang="0">
                    <a:pos x="3266" y="91"/>
                  </a:cxn>
                  <a:cxn ang="0">
                    <a:pos x="3566" y="313"/>
                  </a:cxn>
                  <a:cxn ang="0">
                    <a:pos x="3628" y="313"/>
                  </a:cxn>
                  <a:cxn ang="0">
                    <a:pos x="3468" y="320"/>
                  </a:cxn>
                  <a:cxn ang="0">
                    <a:pos x="3335" y="84"/>
                  </a:cxn>
                  <a:cxn ang="0">
                    <a:pos x="3420" y="205"/>
                  </a:cxn>
                </a:cxnLst>
                <a:rect l="0" t="0" r="r" b="b"/>
                <a:pathLst>
                  <a:path w="3628" h="411">
                    <a:moveTo>
                      <a:pt x="374" y="312"/>
                    </a:moveTo>
                    <a:cubicBezTo>
                      <a:pt x="374" y="314"/>
                      <a:pt x="374" y="315"/>
                      <a:pt x="373" y="317"/>
                    </a:cubicBezTo>
                    <a:cubicBezTo>
                      <a:pt x="372" y="318"/>
                      <a:pt x="370" y="319"/>
                      <a:pt x="368" y="320"/>
                    </a:cubicBezTo>
                    <a:cubicBezTo>
                      <a:pt x="366" y="321"/>
                      <a:pt x="362" y="321"/>
                      <a:pt x="359" y="322"/>
                    </a:cubicBezTo>
                    <a:cubicBezTo>
                      <a:pt x="355" y="322"/>
                      <a:pt x="349" y="323"/>
                      <a:pt x="343" y="323"/>
                    </a:cubicBezTo>
                    <a:cubicBezTo>
                      <a:pt x="337" y="323"/>
                      <a:pt x="332" y="322"/>
                      <a:pt x="328" y="322"/>
                    </a:cubicBezTo>
                    <a:cubicBezTo>
                      <a:pt x="324" y="321"/>
                      <a:pt x="321" y="321"/>
                      <a:pt x="319" y="320"/>
                    </a:cubicBezTo>
                    <a:cubicBezTo>
                      <a:pt x="317" y="319"/>
                      <a:pt x="315" y="318"/>
                      <a:pt x="314" y="317"/>
                    </a:cubicBezTo>
                    <a:cubicBezTo>
                      <a:pt x="313" y="315"/>
                      <a:pt x="313" y="314"/>
                      <a:pt x="313" y="312"/>
                    </a:cubicBezTo>
                    <a:lnTo>
                      <a:pt x="313" y="51"/>
                    </a:lnTo>
                    <a:lnTo>
                      <a:pt x="312" y="51"/>
                    </a:lnTo>
                    <a:lnTo>
                      <a:pt x="219" y="312"/>
                    </a:lnTo>
                    <a:cubicBezTo>
                      <a:pt x="218" y="314"/>
                      <a:pt x="217" y="316"/>
                      <a:pt x="216" y="317"/>
                    </a:cubicBezTo>
                    <a:cubicBezTo>
                      <a:pt x="214" y="319"/>
                      <a:pt x="212" y="320"/>
                      <a:pt x="210" y="321"/>
                    </a:cubicBezTo>
                    <a:cubicBezTo>
                      <a:pt x="207" y="322"/>
                      <a:pt x="204" y="322"/>
                      <a:pt x="200" y="322"/>
                    </a:cubicBezTo>
                    <a:cubicBezTo>
                      <a:pt x="196" y="323"/>
                      <a:pt x="191" y="323"/>
                      <a:pt x="185" y="323"/>
                    </a:cubicBezTo>
                    <a:cubicBezTo>
                      <a:pt x="180" y="323"/>
                      <a:pt x="175" y="322"/>
                      <a:pt x="171" y="322"/>
                    </a:cubicBezTo>
                    <a:cubicBezTo>
                      <a:pt x="167" y="322"/>
                      <a:pt x="164" y="321"/>
                      <a:pt x="161" y="320"/>
                    </a:cubicBezTo>
                    <a:cubicBezTo>
                      <a:pt x="159" y="319"/>
                      <a:pt x="157" y="318"/>
                      <a:pt x="155" y="317"/>
                    </a:cubicBezTo>
                    <a:cubicBezTo>
                      <a:pt x="154" y="315"/>
                      <a:pt x="153" y="314"/>
                      <a:pt x="152" y="312"/>
                    </a:cubicBezTo>
                    <a:lnTo>
                      <a:pt x="62" y="51"/>
                    </a:lnTo>
                    <a:lnTo>
                      <a:pt x="62" y="51"/>
                    </a:lnTo>
                    <a:lnTo>
                      <a:pt x="62" y="312"/>
                    </a:lnTo>
                    <a:cubicBezTo>
                      <a:pt x="62" y="314"/>
                      <a:pt x="61" y="315"/>
                      <a:pt x="60" y="317"/>
                    </a:cubicBezTo>
                    <a:cubicBezTo>
                      <a:pt x="59" y="318"/>
                      <a:pt x="58" y="319"/>
                      <a:pt x="55" y="320"/>
                    </a:cubicBezTo>
                    <a:cubicBezTo>
                      <a:pt x="53" y="321"/>
                      <a:pt x="50" y="321"/>
                      <a:pt x="46" y="322"/>
                    </a:cubicBezTo>
                    <a:cubicBezTo>
                      <a:pt x="42" y="322"/>
                      <a:pt x="37" y="323"/>
                      <a:pt x="31" y="323"/>
                    </a:cubicBezTo>
                    <a:cubicBezTo>
                      <a:pt x="25" y="323"/>
                      <a:pt x="20" y="322"/>
                      <a:pt x="16" y="322"/>
                    </a:cubicBezTo>
                    <a:cubicBezTo>
                      <a:pt x="12" y="321"/>
                      <a:pt x="8" y="321"/>
                      <a:pt x="6" y="320"/>
                    </a:cubicBezTo>
                    <a:cubicBezTo>
                      <a:pt x="4" y="319"/>
                      <a:pt x="2" y="318"/>
                      <a:pt x="1" y="317"/>
                    </a:cubicBezTo>
                    <a:cubicBezTo>
                      <a:pt x="0" y="315"/>
                      <a:pt x="0" y="314"/>
                      <a:pt x="0" y="312"/>
                    </a:cubicBezTo>
                    <a:lnTo>
                      <a:pt x="0" y="26"/>
                    </a:lnTo>
                    <a:cubicBezTo>
                      <a:pt x="0" y="17"/>
                      <a:pt x="2" y="11"/>
                      <a:pt x="6" y="6"/>
                    </a:cubicBezTo>
                    <a:cubicBezTo>
                      <a:pt x="11" y="2"/>
                      <a:pt x="17" y="0"/>
                      <a:pt x="24" y="0"/>
                    </a:cubicBezTo>
                    <a:lnTo>
                      <a:pt x="67" y="0"/>
                    </a:lnTo>
                    <a:cubicBezTo>
                      <a:pt x="75" y="0"/>
                      <a:pt x="81" y="0"/>
                      <a:pt x="87" y="2"/>
                    </a:cubicBezTo>
                    <a:cubicBezTo>
                      <a:pt x="92" y="3"/>
                      <a:pt x="97" y="5"/>
                      <a:pt x="101" y="8"/>
                    </a:cubicBezTo>
                    <a:cubicBezTo>
                      <a:pt x="105" y="11"/>
                      <a:pt x="108" y="14"/>
                      <a:pt x="111" y="19"/>
                    </a:cubicBezTo>
                    <a:cubicBezTo>
                      <a:pt x="113" y="24"/>
                      <a:pt x="116" y="30"/>
                      <a:pt x="118" y="37"/>
                    </a:cubicBezTo>
                    <a:lnTo>
                      <a:pt x="187" y="228"/>
                    </a:lnTo>
                    <a:lnTo>
                      <a:pt x="188" y="228"/>
                    </a:lnTo>
                    <a:lnTo>
                      <a:pt x="260" y="37"/>
                    </a:lnTo>
                    <a:cubicBezTo>
                      <a:pt x="263" y="30"/>
                      <a:pt x="265" y="24"/>
                      <a:pt x="267" y="20"/>
                    </a:cubicBezTo>
                    <a:cubicBezTo>
                      <a:pt x="270" y="15"/>
                      <a:pt x="273" y="11"/>
                      <a:pt x="276" y="8"/>
                    </a:cubicBezTo>
                    <a:cubicBezTo>
                      <a:pt x="280" y="5"/>
                      <a:pt x="284" y="3"/>
                      <a:pt x="288" y="2"/>
                    </a:cubicBezTo>
                    <a:cubicBezTo>
                      <a:pt x="293" y="0"/>
                      <a:pt x="298" y="0"/>
                      <a:pt x="305" y="0"/>
                    </a:cubicBezTo>
                    <a:lnTo>
                      <a:pt x="349" y="0"/>
                    </a:lnTo>
                    <a:cubicBezTo>
                      <a:pt x="353" y="0"/>
                      <a:pt x="357" y="0"/>
                      <a:pt x="360" y="1"/>
                    </a:cubicBezTo>
                    <a:cubicBezTo>
                      <a:pt x="363" y="3"/>
                      <a:pt x="366" y="4"/>
                      <a:pt x="368" y="7"/>
                    </a:cubicBezTo>
                    <a:cubicBezTo>
                      <a:pt x="370" y="9"/>
                      <a:pt x="372" y="11"/>
                      <a:pt x="373" y="15"/>
                    </a:cubicBezTo>
                    <a:cubicBezTo>
                      <a:pt x="374" y="18"/>
                      <a:pt x="374" y="22"/>
                      <a:pt x="374" y="26"/>
                    </a:cubicBezTo>
                    <a:lnTo>
                      <a:pt x="374" y="312"/>
                    </a:lnTo>
                    <a:close/>
                    <a:moveTo>
                      <a:pt x="645" y="196"/>
                    </a:moveTo>
                    <a:cubicBezTo>
                      <a:pt x="645" y="203"/>
                      <a:pt x="644" y="209"/>
                      <a:pt x="640" y="212"/>
                    </a:cubicBezTo>
                    <a:cubicBezTo>
                      <a:pt x="637" y="216"/>
                      <a:pt x="632" y="218"/>
                      <a:pt x="626" y="218"/>
                    </a:cubicBezTo>
                    <a:lnTo>
                      <a:pt x="491" y="218"/>
                    </a:lnTo>
                    <a:cubicBezTo>
                      <a:pt x="491" y="227"/>
                      <a:pt x="493" y="236"/>
                      <a:pt x="495" y="243"/>
                    </a:cubicBezTo>
                    <a:cubicBezTo>
                      <a:pt x="497" y="251"/>
                      <a:pt x="501" y="258"/>
                      <a:pt x="505" y="263"/>
                    </a:cubicBezTo>
                    <a:cubicBezTo>
                      <a:pt x="510" y="269"/>
                      <a:pt x="517" y="273"/>
                      <a:pt x="524" y="275"/>
                    </a:cubicBezTo>
                    <a:cubicBezTo>
                      <a:pt x="532" y="278"/>
                      <a:pt x="541" y="280"/>
                      <a:pt x="552" y="280"/>
                    </a:cubicBezTo>
                    <a:cubicBezTo>
                      <a:pt x="563" y="280"/>
                      <a:pt x="573" y="279"/>
                      <a:pt x="581" y="277"/>
                    </a:cubicBezTo>
                    <a:cubicBezTo>
                      <a:pt x="589" y="276"/>
                      <a:pt x="596" y="274"/>
                      <a:pt x="602" y="272"/>
                    </a:cubicBezTo>
                    <a:cubicBezTo>
                      <a:pt x="608" y="270"/>
                      <a:pt x="613" y="268"/>
                      <a:pt x="617" y="267"/>
                    </a:cubicBezTo>
                    <a:cubicBezTo>
                      <a:pt x="621" y="265"/>
                      <a:pt x="625" y="265"/>
                      <a:pt x="627" y="265"/>
                    </a:cubicBezTo>
                    <a:cubicBezTo>
                      <a:pt x="629" y="265"/>
                      <a:pt x="630" y="265"/>
                      <a:pt x="631" y="265"/>
                    </a:cubicBezTo>
                    <a:cubicBezTo>
                      <a:pt x="632" y="266"/>
                      <a:pt x="633" y="267"/>
                      <a:pt x="633" y="269"/>
                    </a:cubicBezTo>
                    <a:cubicBezTo>
                      <a:pt x="634" y="270"/>
                      <a:pt x="634" y="272"/>
                      <a:pt x="635" y="275"/>
                    </a:cubicBezTo>
                    <a:cubicBezTo>
                      <a:pt x="635" y="278"/>
                      <a:pt x="635" y="281"/>
                      <a:pt x="635" y="285"/>
                    </a:cubicBezTo>
                    <a:cubicBezTo>
                      <a:pt x="635" y="289"/>
                      <a:pt x="635" y="292"/>
                      <a:pt x="635" y="294"/>
                    </a:cubicBezTo>
                    <a:cubicBezTo>
                      <a:pt x="635" y="297"/>
                      <a:pt x="634" y="299"/>
                      <a:pt x="634" y="301"/>
                    </a:cubicBezTo>
                    <a:cubicBezTo>
                      <a:pt x="634" y="303"/>
                      <a:pt x="633" y="304"/>
                      <a:pt x="633" y="306"/>
                    </a:cubicBezTo>
                    <a:cubicBezTo>
                      <a:pt x="632" y="307"/>
                      <a:pt x="631" y="308"/>
                      <a:pt x="630" y="309"/>
                    </a:cubicBezTo>
                    <a:cubicBezTo>
                      <a:pt x="629" y="310"/>
                      <a:pt x="626" y="312"/>
                      <a:pt x="621" y="314"/>
                    </a:cubicBezTo>
                    <a:cubicBezTo>
                      <a:pt x="616" y="316"/>
                      <a:pt x="610" y="318"/>
                      <a:pt x="603" y="320"/>
                    </a:cubicBezTo>
                    <a:cubicBezTo>
                      <a:pt x="595" y="322"/>
                      <a:pt x="587" y="323"/>
                      <a:pt x="577" y="325"/>
                    </a:cubicBezTo>
                    <a:cubicBezTo>
                      <a:pt x="567" y="326"/>
                      <a:pt x="557" y="327"/>
                      <a:pt x="546" y="327"/>
                    </a:cubicBezTo>
                    <a:cubicBezTo>
                      <a:pt x="527" y="327"/>
                      <a:pt x="509" y="324"/>
                      <a:pt x="494" y="319"/>
                    </a:cubicBezTo>
                    <a:cubicBezTo>
                      <a:pt x="480" y="314"/>
                      <a:pt x="467" y="307"/>
                      <a:pt x="457" y="297"/>
                    </a:cubicBezTo>
                    <a:cubicBezTo>
                      <a:pt x="447" y="287"/>
                      <a:pt x="440" y="274"/>
                      <a:pt x="435" y="259"/>
                    </a:cubicBezTo>
                    <a:cubicBezTo>
                      <a:pt x="430" y="243"/>
                      <a:pt x="428" y="225"/>
                      <a:pt x="428" y="204"/>
                    </a:cubicBezTo>
                    <a:cubicBezTo>
                      <a:pt x="428" y="185"/>
                      <a:pt x="430" y="167"/>
                      <a:pt x="436" y="151"/>
                    </a:cubicBezTo>
                    <a:cubicBezTo>
                      <a:pt x="441" y="135"/>
                      <a:pt x="448" y="122"/>
                      <a:pt x="458" y="111"/>
                    </a:cubicBezTo>
                    <a:cubicBezTo>
                      <a:pt x="468" y="100"/>
                      <a:pt x="480" y="91"/>
                      <a:pt x="494" y="86"/>
                    </a:cubicBezTo>
                    <a:cubicBezTo>
                      <a:pt x="508" y="80"/>
                      <a:pt x="523" y="77"/>
                      <a:pt x="541" y="77"/>
                    </a:cubicBezTo>
                    <a:cubicBezTo>
                      <a:pt x="559" y="77"/>
                      <a:pt x="575" y="80"/>
                      <a:pt x="588" y="85"/>
                    </a:cubicBezTo>
                    <a:cubicBezTo>
                      <a:pt x="602" y="91"/>
                      <a:pt x="612" y="98"/>
                      <a:pt x="621" y="108"/>
                    </a:cubicBezTo>
                    <a:cubicBezTo>
                      <a:pt x="629" y="118"/>
                      <a:pt x="635" y="129"/>
                      <a:pt x="639" y="142"/>
                    </a:cubicBezTo>
                    <a:cubicBezTo>
                      <a:pt x="643" y="156"/>
                      <a:pt x="645" y="170"/>
                      <a:pt x="645" y="185"/>
                    </a:cubicBezTo>
                    <a:lnTo>
                      <a:pt x="645" y="196"/>
                    </a:lnTo>
                    <a:close/>
                    <a:moveTo>
                      <a:pt x="585" y="178"/>
                    </a:moveTo>
                    <a:cubicBezTo>
                      <a:pt x="585" y="160"/>
                      <a:pt x="582" y="146"/>
                      <a:pt x="574" y="136"/>
                    </a:cubicBezTo>
                    <a:cubicBezTo>
                      <a:pt x="567" y="126"/>
                      <a:pt x="555" y="121"/>
                      <a:pt x="539" y="121"/>
                    </a:cubicBezTo>
                    <a:cubicBezTo>
                      <a:pt x="531" y="121"/>
                      <a:pt x="524" y="123"/>
                      <a:pt x="519" y="126"/>
                    </a:cubicBezTo>
                    <a:cubicBezTo>
                      <a:pt x="513" y="129"/>
                      <a:pt x="508" y="133"/>
                      <a:pt x="504" y="138"/>
                    </a:cubicBezTo>
                    <a:cubicBezTo>
                      <a:pt x="500" y="143"/>
                      <a:pt x="497" y="149"/>
                      <a:pt x="495" y="156"/>
                    </a:cubicBezTo>
                    <a:cubicBezTo>
                      <a:pt x="493" y="162"/>
                      <a:pt x="492" y="170"/>
                      <a:pt x="491" y="178"/>
                    </a:cubicBezTo>
                    <a:lnTo>
                      <a:pt x="585" y="178"/>
                    </a:lnTo>
                    <a:close/>
                    <a:moveTo>
                      <a:pt x="860" y="110"/>
                    </a:moveTo>
                    <a:cubicBezTo>
                      <a:pt x="860" y="116"/>
                      <a:pt x="860" y="120"/>
                      <a:pt x="859" y="124"/>
                    </a:cubicBezTo>
                    <a:cubicBezTo>
                      <a:pt x="859" y="128"/>
                      <a:pt x="858" y="130"/>
                      <a:pt x="858" y="133"/>
                    </a:cubicBezTo>
                    <a:cubicBezTo>
                      <a:pt x="857" y="135"/>
                      <a:pt x="856" y="136"/>
                      <a:pt x="855" y="137"/>
                    </a:cubicBezTo>
                    <a:cubicBezTo>
                      <a:pt x="853" y="138"/>
                      <a:pt x="852" y="138"/>
                      <a:pt x="850" y="138"/>
                    </a:cubicBezTo>
                    <a:lnTo>
                      <a:pt x="794" y="138"/>
                    </a:lnTo>
                    <a:lnTo>
                      <a:pt x="794" y="313"/>
                    </a:lnTo>
                    <a:cubicBezTo>
                      <a:pt x="794" y="314"/>
                      <a:pt x="794" y="316"/>
                      <a:pt x="793" y="317"/>
                    </a:cubicBezTo>
                    <a:cubicBezTo>
                      <a:pt x="792" y="318"/>
                      <a:pt x="790" y="319"/>
                      <a:pt x="788" y="320"/>
                    </a:cubicBezTo>
                    <a:cubicBezTo>
                      <a:pt x="786" y="321"/>
                      <a:pt x="783" y="322"/>
                      <a:pt x="778" y="322"/>
                    </a:cubicBezTo>
                    <a:cubicBezTo>
                      <a:pt x="774" y="322"/>
                      <a:pt x="769" y="323"/>
                      <a:pt x="763" y="323"/>
                    </a:cubicBezTo>
                    <a:cubicBezTo>
                      <a:pt x="757" y="323"/>
                      <a:pt x="752" y="322"/>
                      <a:pt x="748" y="322"/>
                    </a:cubicBezTo>
                    <a:cubicBezTo>
                      <a:pt x="744" y="322"/>
                      <a:pt x="741" y="321"/>
                      <a:pt x="739" y="320"/>
                    </a:cubicBezTo>
                    <a:cubicBezTo>
                      <a:pt x="736" y="319"/>
                      <a:pt x="735" y="318"/>
                      <a:pt x="734" y="317"/>
                    </a:cubicBezTo>
                    <a:cubicBezTo>
                      <a:pt x="733" y="316"/>
                      <a:pt x="732" y="314"/>
                      <a:pt x="732" y="313"/>
                    </a:cubicBezTo>
                    <a:lnTo>
                      <a:pt x="732" y="138"/>
                    </a:lnTo>
                    <a:lnTo>
                      <a:pt x="677" y="138"/>
                    </a:lnTo>
                    <a:cubicBezTo>
                      <a:pt x="675" y="138"/>
                      <a:pt x="673" y="138"/>
                      <a:pt x="672" y="137"/>
                    </a:cubicBezTo>
                    <a:cubicBezTo>
                      <a:pt x="671" y="136"/>
                      <a:pt x="670" y="135"/>
                      <a:pt x="669" y="132"/>
                    </a:cubicBezTo>
                    <a:cubicBezTo>
                      <a:pt x="668" y="130"/>
                      <a:pt x="668" y="127"/>
                      <a:pt x="667" y="123"/>
                    </a:cubicBezTo>
                    <a:cubicBezTo>
                      <a:pt x="667" y="120"/>
                      <a:pt x="667" y="115"/>
                      <a:pt x="667" y="110"/>
                    </a:cubicBezTo>
                    <a:cubicBezTo>
                      <a:pt x="667" y="105"/>
                      <a:pt x="667" y="100"/>
                      <a:pt x="667" y="97"/>
                    </a:cubicBezTo>
                    <a:cubicBezTo>
                      <a:pt x="668" y="94"/>
                      <a:pt x="668" y="91"/>
                      <a:pt x="669" y="89"/>
                    </a:cubicBezTo>
                    <a:cubicBezTo>
                      <a:pt x="670" y="86"/>
                      <a:pt x="671" y="85"/>
                      <a:pt x="672" y="84"/>
                    </a:cubicBezTo>
                    <a:cubicBezTo>
                      <a:pt x="673" y="83"/>
                      <a:pt x="675" y="83"/>
                      <a:pt x="677" y="83"/>
                    </a:cubicBezTo>
                    <a:lnTo>
                      <a:pt x="850" y="83"/>
                    </a:lnTo>
                    <a:cubicBezTo>
                      <a:pt x="852" y="83"/>
                      <a:pt x="853" y="83"/>
                      <a:pt x="855" y="84"/>
                    </a:cubicBezTo>
                    <a:cubicBezTo>
                      <a:pt x="856" y="85"/>
                      <a:pt x="857" y="86"/>
                      <a:pt x="858" y="89"/>
                    </a:cubicBezTo>
                    <a:cubicBezTo>
                      <a:pt x="858" y="91"/>
                      <a:pt x="859" y="94"/>
                      <a:pt x="859" y="97"/>
                    </a:cubicBezTo>
                    <a:cubicBezTo>
                      <a:pt x="860" y="101"/>
                      <a:pt x="860" y="105"/>
                      <a:pt x="860" y="110"/>
                    </a:cubicBezTo>
                    <a:close/>
                    <a:moveTo>
                      <a:pt x="1083" y="313"/>
                    </a:moveTo>
                    <a:cubicBezTo>
                      <a:pt x="1083" y="316"/>
                      <a:pt x="1082" y="318"/>
                      <a:pt x="1080" y="319"/>
                    </a:cubicBezTo>
                    <a:cubicBezTo>
                      <a:pt x="1079" y="320"/>
                      <a:pt x="1076" y="321"/>
                      <a:pt x="1072" y="322"/>
                    </a:cubicBezTo>
                    <a:cubicBezTo>
                      <a:pt x="1069" y="322"/>
                      <a:pt x="1064" y="323"/>
                      <a:pt x="1057" y="323"/>
                    </a:cubicBezTo>
                    <a:cubicBezTo>
                      <a:pt x="1049" y="323"/>
                      <a:pt x="1044" y="322"/>
                      <a:pt x="1040" y="322"/>
                    </a:cubicBezTo>
                    <a:cubicBezTo>
                      <a:pt x="1037" y="321"/>
                      <a:pt x="1035" y="320"/>
                      <a:pt x="1033" y="319"/>
                    </a:cubicBezTo>
                    <a:cubicBezTo>
                      <a:pt x="1032" y="318"/>
                      <a:pt x="1031" y="316"/>
                      <a:pt x="1031" y="313"/>
                    </a:cubicBezTo>
                    <a:lnTo>
                      <a:pt x="1031" y="296"/>
                    </a:lnTo>
                    <a:cubicBezTo>
                      <a:pt x="1022" y="306"/>
                      <a:pt x="1011" y="313"/>
                      <a:pt x="1000" y="319"/>
                    </a:cubicBezTo>
                    <a:cubicBezTo>
                      <a:pt x="988" y="324"/>
                      <a:pt x="975" y="327"/>
                      <a:pt x="961" y="327"/>
                    </a:cubicBezTo>
                    <a:cubicBezTo>
                      <a:pt x="949" y="327"/>
                      <a:pt x="938" y="325"/>
                      <a:pt x="929" y="322"/>
                    </a:cubicBezTo>
                    <a:cubicBezTo>
                      <a:pt x="919" y="319"/>
                      <a:pt x="910" y="315"/>
                      <a:pt x="903" y="309"/>
                    </a:cubicBezTo>
                    <a:cubicBezTo>
                      <a:pt x="896" y="303"/>
                      <a:pt x="890" y="295"/>
                      <a:pt x="886" y="286"/>
                    </a:cubicBezTo>
                    <a:cubicBezTo>
                      <a:pt x="882" y="277"/>
                      <a:pt x="880" y="267"/>
                      <a:pt x="880" y="255"/>
                    </a:cubicBezTo>
                    <a:cubicBezTo>
                      <a:pt x="880" y="242"/>
                      <a:pt x="883" y="231"/>
                      <a:pt x="888" y="221"/>
                    </a:cubicBezTo>
                    <a:cubicBezTo>
                      <a:pt x="893" y="212"/>
                      <a:pt x="900" y="204"/>
                      <a:pt x="910" y="198"/>
                    </a:cubicBezTo>
                    <a:cubicBezTo>
                      <a:pt x="920" y="191"/>
                      <a:pt x="933" y="187"/>
                      <a:pt x="948" y="184"/>
                    </a:cubicBezTo>
                    <a:cubicBezTo>
                      <a:pt x="963" y="181"/>
                      <a:pt x="980" y="179"/>
                      <a:pt x="1000" y="179"/>
                    </a:cubicBezTo>
                    <a:lnTo>
                      <a:pt x="1021" y="179"/>
                    </a:lnTo>
                    <a:lnTo>
                      <a:pt x="1021" y="166"/>
                    </a:lnTo>
                    <a:cubicBezTo>
                      <a:pt x="1021" y="159"/>
                      <a:pt x="1021" y="153"/>
                      <a:pt x="1019" y="148"/>
                    </a:cubicBezTo>
                    <a:cubicBezTo>
                      <a:pt x="1018" y="142"/>
                      <a:pt x="1015" y="138"/>
                      <a:pt x="1012" y="135"/>
                    </a:cubicBezTo>
                    <a:cubicBezTo>
                      <a:pt x="1009" y="131"/>
                      <a:pt x="1005" y="129"/>
                      <a:pt x="999" y="127"/>
                    </a:cubicBezTo>
                    <a:cubicBezTo>
                      <a:pt x="994" y="125"/>
                      <a:pt x="987" y="124"/>
                      <a:pt x="979" y="124"/>
                    </a:cubicBezTo>
                    <a:cubicBezTo>
                      <a:pt x="969" y="124"/>
                      <a:pt x="960" y="126"/>
                      <a:pt x="951" y="128"/>
                    </a:cubicBezTo>
                    <a:cubicBezTo>
                      <a:pt x="943" y="130"/>
                      <a:pt x="936" y="133"/>
                      <a:pt x="930" y="136"/>
                    </a:cubicBezTo>
                    <a:cubicBezTo>
                      <a:pt x="923" y="138"/>
                      <a:pt x="918" y="141"/>
                      <a:pt x="914" y="143"/>
                    </a:cubicBezTo>
                    <a:cubicBezTo>
                      <a:pt x="910" y="146"/>
                      <a:pt x="906" y="147"/>
                      <a:pt x="904" y="147"/>
                    </a:cubicBezTo>
                    <a:cubicBezTo>
                      <a:pt x="902" y="147"/>
                      <a:pt x="900" y="146"/>
                      <a:pt x="899" y="145"/>
                    </a:cubicBezTo>
                    <a:cubicBezTo>
                      <a:pt x="897" y="144"/>
                      <a:pt x="896" y="142"/>
                      <a:pt x="895" y="140"/>
                    </a:cubicBezTo>
                    <a:cubicBezTo>
                      <a:pt x="894" y="138"/>
                      <a:pt x="894" y="135"/>
                      <a:pt x="893" y="132"/>
                    </a:cubicBezTo>
                    <a:cubicBezTo>
                      <a:pt x="893" y="129"/>
                      <a:pt x="892" y="125"/>
                      <a:pt x="892" y="122"/>
                    </a:cubicBezTo>
                    <a:cubicBezTo>
                      <a:pt x="892" y="117"/>
                      <a:pt x="893" y="112"/>
                      <a:pt x="894" y="110"/>
                    </a:cubicBezTo>
                    <a:cubicBezTo>
                      <a:pt x="894" y="107"/>
                      <a:pt x="896" y="104"/>
                      <a:pt x="898" y="101"/>
                    </a:cubicBezTo>
                    <a:cubicBezTo>
                      <a:pt x="901" y="99"/>
                      <a:pt x="905" y="96"/>
                      <a:pt x="910" y="93"/>
                    </a:cubicBezTo>
                    <a:cubicBezTo>
                      <a:pt x="916" y="91"/>
                      <a:pt x="923" y="88"/>
                      <a:pt x="931" y="85"/>
                    </a:cubicBezTo>
                    <a:cubicBezTo>
                      <a:pt x="939" y="83"/>
                      <a:pt x="947" y="81"/>
                      <a:pt x="956" y="79"/>
                    </a:cubicBezTo>
                    <a:cubicBezTo>
                      <a:pt x="966" y="78"/>
                      <a:pt x="975" y="77"/>
                      <a:pt x="985" y="77"/>
                    </a:cubicBezTo>
                    <a:cubicBezTo>
                      <a:pt x="1002" y="77"/>
                      <a:pt x="1017" y="79"/>
                      <a:pt x="1029" y="82"/>
                    </a:cubicBezTo>
                    <a:cubicBezTo>
                      <a:pt x="1042" y="85"/>
                      <a:pt x="1052" y="91"/>
                      <a:pt x="1060" y="98"/>
                    </a:cubicBezTo>
                    <a:cubicBezTo>
                      <a:pt x="1068" y="105"/>
                      <a:pt x="1074" y="114"/>
                      <a:pt x="1077" y="125"/>
                    </a:cubicBezTo>
                    <a:cubicBezTo>
                      <a:pt x="1081" y="136"/>
                      <a:pt x="1083" y="149"/>
                      <a:pt x="1083" y="164"/>
                    </a:cubicBezTo>
                    <a:lnTo>
                      <a:pt x="1083" y="313"/>
                    </a:lnTo>
                    <a:close/>
                    <a:moveTo>
                      <a:pt x="1021" y="219"/>
                    </a:moveTo>
                    <a:lnTo>
                      <a:pt x="997" y="219"/>
                    </a:lnTo>
                    <a:cubicBezTo>
                      <a:pt x="987" y="219"/>
                      <a:pt x="979" y="219"/>
                      <a:pt x="972" y="221"/>
                    </a:cubicBezTo>
                    <a:cubicBezTo>
                      <a:pt x="965" y="222"/>
                      <a:pt x="959" y="225"/>
                      <a:pt x="954" y="227"/>
                    </a:cubicBezTo>
                    <a:cubicBezTo>
                      <a:pt x="950" y="231"/>
                      <a:pt x="947" y="234"/>
                      <a:pt x="944" y="238"/>
                    </a:cubicBezTo>
                    <a:cubicBezTo>
                      <a:pt x="942" y="243"/>
                      <a:pt x="941" y="247"/>
                      <a:pt x="941" y="253"/>
                    </a:cubicBezTo>
                    <a:cubicBezTo>
                      <a:pt x="941" y="262"/>
                      <a:pt x="944" y="269"/>
                      <a:pt x="950" y="275"/>
                    </a:cubicBezTo>
                    <a:cubicBezTo>
                      <a:pt x="956" y="280"/>
                      <a:pt x="964" y="283"/>
                      <a:pt x="975" y="283"/>
                    </a:cubicBezTo>
                    <a:cubicBezTo>
                      <a:pt x="983" y="283"/>
                      <a:pt x="991" y="280"/>
                      <a:pt x="999" y="276"/>
                    </a:cubicBezTo>
                    <a:cubicBezTo>
                      <a:pt x="1006" y="271"/>
                      <a:pt x="1014" y="265"/>
                      <a:pt x="1021" y="256"/>
                    </a:cubicBezTo>
                    <a:lnTo>
                      <a:pt x="1021" y="219"/>
                    </a:lnTo>
                    <a:close/>
                    <a:moveTo>
                      <a:pt x="1354" y="313"/>
                    </a:moveTo>
                    <a:cubicBezTo>
                      <a:pt x="1354" y="314"/>
                      <a:pt x="1353" y="316"/>
                      <a:pt x="1352" y="317"/>
                    </a:cubicBezTo>
                    <a:cubicBezTo>
                      <a:pt x="1352" y="318"/>
                      <a:pt x="1350" y="319"/>
                      <a:pt x="1347" y="320"/>
                    </a:cubicBezTo>
                    <a:cubicBezTo>
                      <a:pt x="1345" y="321"/>
                      <a:pt x="1342" y="322"/>
                      <a:pt x="1338" y="322"/>
                    </a:cubicBezTo>
                    <a:cubicBezTo>
                      <a:pt x="1334" y="322"/>
                      <a:pt x="1329" y="323"/>
                      <a:pt x="1323" y="323"/>
                    </a:cubicBezTo>
                    <a:cubicBezTo>
                      <a:pt x="1317" y="323"/>
                      <a:pt x="1312" y="322"/>
                      <a:pt x="1308" y="322"/>
                    </a:cubicBezTo>
                    <a:cubicBezTo>
                      <a:pt x="1304" y="322"/>
                      <a:pt x="1300" y="321"/>
                      <a:pt x="1298" y="320"/>
                    </a:cubicBezTo>
                    <a:cubicBezTo>
                      <a:pt x="1295" y="319"/>
                      <a:pt x="1294" y="318"/>
                      <a:pt x="1293" y="317"/>
                    </a:cubicBezTo>
                    <a:cubicBezTo>
                      <a:pt x="1292" y="316"/>
                      <a:pt x="1291" y="314"/>
                      <a:pt x="1291" y="313"/>
                    </a:cubicBezTo>
                    <a:lnTo>
                      <a:pt x="1291" y="134"/>
                    </a:lnTo>
                    <a:lnTo>
                      <a:pt x="1208" y="134"/>
                    </a:lnTo>
                    <a:lnTo>
                      <a:pt x="1208" y="313"/>
                    </a:lnTo>
                    <a:cubicBezTo>
                      <a:pt x="1208" y="314"/>
                      <a:pt x="1207" y="316"/>
                      <a:pt x="1206" y="317"/>
                    </a:cubicBezTo>
                    <a:cubicBezTo>
                      <a:pt x="1205" y="318"/>
                      <a:pt x="1203" y="319"/>
                      <a:pt x="1201" y="320"/>
                    </a:cubicBezTo>
                    <a:cubicBezTo>
                      <a:pt x="1198" y="321"/>
                      <a:pt x="1195" y="322"/>
                      <a:pt x="1191" y="322"/>
                    </a:cubicBezTo>
                    <a:cubicBezTo>
                      <a:pt x="1187" y="322"/>
                      <a:pt x="1182" y="323"/>
                      <a:pt x="1176" y="323"/>
                    </a:cubicBezTo>
                    <a:cubicBezTo>
                      <a:pt x="1170" y="323"/>
                      <a:pt x="1165" y="322"/>
                      <a:pt x="1161" y="322"/>
                    </a:cubicBezTo>
                    <a:cubicBezTo>
                      <a:pt x="1157" y="322"/>
                      <a:pt x="1154" y="321"/>
                      <a:pt x="1151" y="320"/>
                    </a:cubicBezTo>
                    <a:cubicBezTo>
                      <a:pt x="1149" y="319"/>
                      <a:pt x="1147" y="318"/>
                      <a:pt x="1146" y="317"/>
                    </a:cubicBezTo>
                    <a:cubicBezTo>
                      <a:pt x="1146" y="316"/>
                      <a:pt x="1145" y="314"/>
                      <a:pt x="1145" y="313"/>
                    </a:cubicBezTo>
                    <a:lnTo>
                      <a:pt x="1145" y="103"/>
                    </a:lnTo>
                    <a:cubicBezTo>
                      <a:pt x="1145" y="96"/>
                      <a:pt x="1146" y="91"/>
                      <a:pt x="1149" y="88"/>
                    </a:cubicBezTo>
                    <a:cubicBezTo>
                      <a:pt x="1152" y="84"/>
                      <a:pt x="1157" y="83"/>
                      <a:pt x="1162" y="83"/>
                    </a:cubicBezTo>
                    <a:lnTo>
                      <a:pt x="1337" y="83"/>
                    </a:lnTo>
                    <a:cubicBezTo>
                      <a:pt x="1343" y="83"/>
                      <a:pt x="1347" y="84"/>
                      <a:pt x="1350" y="88"/>
                    </a:cubicBezTo>
                    <a:cubicBezTo>
                      <a:pt x="1353" y="91"/>
                      <a:pt x="1354" y="96"/>
                      <a:pt x="1354" y="103"/>
                    </a:cubicBezTo>
                    <a:lnTo>
                      <a:pt x="1354" y="313"/>
                    </a:lnTo>
                    <a:close/>
                    <a:moveTo>
                      <a:pt x="1640" y="199"/>
                    </a:moveTo>
                    <a:cubicBezTo>
                      <a:pt x="1640" y="218"/>
                      <a:pt x="1638" y="236"/>
                      <a:pt x="1634" y="252"/>
                    </a:cubicBezTo>
                    <a:cubicBezTo>
                      <a:pt x="1629" y="268"/>
                      <a:pt x="1623" y="281"/>
                      <a:pt x="1615" y="292"/>
                    </a:cubicBezTo>
                    <a:cubicBezTo>
                      <a:pt x="1607" y="303"/>
                      <a:pt x="1597" y="312"/>
                      <a:pt x="1585" y="318"/>
                    </a:cubicBezTo>
                    <a:cubicBezTo>
                      <a:pt x="1573" y="324"/>
                      <a:pt x="1559" y="327"/>
                      <a:pt x="1543" y="327"/>
                    </a:cubicBezTo>
                    <a:cubicBezTo>
                      <a:pt x="1537" y="327"/>
                      <a:pt x="1531" y="326"/>
                      <a:pt x="1526" y="325"/>
                    </a:cubicBezTo>
                    <a:cubicBezTo>
                      <a:pt x="1520" y="324"/>
                      <a:pt x="1515" y="322"/>
                      <a:pt x="1510" y="319"/>
                    </a:cubicBezTo>
                    <a:cubicBezTo>
                      <a:pt x="1505" y="317"/>
                      <a:pt x="1500" y="314"/>
                      <a:pt x="1495" y="310"/>
                    </a:cubicBezTo>
                    <a:cubicBezTo>
                      <a:pt x="1490" y="306"/>
                      <a:pt x="1485" y="302"/>
                      <a:pt x="1479" y="296"/>
                    </a:cubicBezTo>
                    <a:lnTo>
                      <a:pt x="1479" y="401"/>
                    </a:lnTo>
                    <a:cubicBezTo>
                      <a:pt x="1479" y="402"/>
                      <a:pt x="1479" y="404"/>
                      <a:pt x="1478" y="405"/>
                    </a:cubicBezTo>
                    <a:cubicBezTo>
                      <a:pt x="1477" y="406"/>
                      <a:pt x="1475" y="408"/>
                      <a:pt x="1473" y="409"/>
                    </a:cubicBezTo>
                    <a:cubicBezTo>
                      <a:pt x="1470" y="409"/>
                      <a:pt x="1467" y="410"/>
                      <a:pt x="1463" y="411"/>
                    </a:cubicBezTo>
                    <a:cubicBezTo>
                      <a:pt x="1459" y="411"/>
                      <a:pt x="1454" y="411"/>
                      <a:pt x="1448" y="411"/>
                    </a:cubicBezTo>
                    <a:cubicBezTo>
                      <a:pt x="1442" y="411"/>
                      <a:pt x="1437" y="411"/>
                      <a:pt x="1433" y="411"/>
                    </a:cubicBezTo>
                    <a:cubicBezTo>
                      <a:pt x="1429" y="410"/>
                      <a:pt x="1426" y="409"/>
                      <a:pt x="1423" y="409"/>
                    </a:cubicBezTo>
                    <a:cubicBezTo>
                      <a:pt x="1421" y="408"/>
                      <a:pt x="1419" y="406"/>
                      <a:pt x="1418" y="405"/>
                    </a:cubicBezTo>
                    <a:cubicBezTo>
                      <a:pt x="1417" y="404"/>
                      <a:pt x="1417" y="402"/>
                      <a:pt x="1417" y="401"/>
                    </a:cubicBezTo>
                    <a:lnTo>
                      <a:pt x="1417" y="91"/>
                    </a:lnTo>
                    <a:cubicBezTo>
                      <a:pt x="1417" y="90"/>
                      <a:pt x="1417" y="88"/>
                      <a:pt x="1418" y="87"/>
                    </a:cubicBezTo>
                    <a:cubicBezTo>
                      <a:pt x="1419" y="86"/>
                      <a:pt x="1420" y="85"/>
                      <a:pt x="1422" y="84"/>
                    </a:cubicBezTo>
                    <a:cubicBezTo>
                      <a:pt x="1424" y="83"/>
                      <a:pt x="1427" y="82"/>
                      <a:pt x="1431" y="82"/>
                    </a:cubicBezTo>
                    <a:cubicBezTo>
                      <a:pt x="1434" y="81"/>
                      <a:pt x="1438" y="81"/>
                      <a:pt x="1443" y="81"/>
                    </a:cubicBezTo>
                    <a:cubicBezTo>
                      <a:pt x="1448" y="81"/>
                      <a:pt x="1453" y="81"/>
                      <a:pt x="1456" y="82"/>
                    </a:cubicBezTo>
                    <a:cubicBezTo>
                      <a:pt x="1459" y="82"/>
                      <a:pt x="1462" y="83"/>
                      <a:pt x="1464" y="84"/>
                    </a:cubicBezTo>
                    <a:cubicBezTo>
                      <a:pt x="1466" y="85"/>
                      <a:pt x="1468" y="86"/>
                      <a:pt x="1469" y="87"/>
                    </a:cubicBezTo>
                    <a:cubicBezTo>
                      <a:pt x="1469" y="88"/>
                      <a:pt x="1470" y="90"/>
                      <a:pt x="1470" y="91"/>
                    </a:cubicBezTo>
                    <a:lnTo>
                      <a:pt x="1470" y="117"/>
                    </a:lnTo>
                    <a:cubicBezTo>
                      <a:pt x="1476" y="111"/>
                      <a:pt x="1483" y="105"/>
                      <a:pt x="1489" y="100"/>
                    </a:cubicBezTo>
                    <a:cubicBezTo>
                      <a:pt x="1495" y="95"/>
                      <a:pt x="1501" y="90"/>
                      <a:pt x="1508" y="87"/>
                    </a:cubicBezTo>
                    <a:cubicBezTo>
                      <a:pt x="1514" y="84"/>
                      <a:pt x="1521" y="81"/>
                      <a:pt x="1528" y="79"/>
                    </a:cubicBezTo>
                    <a:cubicBezTo>
                      <a:pt x="1535" y="78"/>
                      <a:pt x="1542" y="77"/>
                      <a:pt x="1550" y="77"/>
                    </a:cubicBezTo>
                    <a:cubicBezTo>
                      <a:pt x="1566" y="77"/>
                      <a:pt x="1580" y="80"/>
                      <a:pt x="1591" y="87"/>
                    </a:cubicBezTo>
                    <a:cubicBezTo>
                      <a:pt x="1603" y="93"/>
                      <a:pt x="1612" y="102"/>
                      <a:pt x="1619" y="113"/>
                    </a:cubicBezTo>
                    <a:cubicBezTo>
                      <a:pt x="1626" y="124"/>
                      <a:pt x="1632" y="137"/>
                      <a:pt x="1635" y="151"/>
                    </a:cubicBezTo>
                    <a:cubicBezTo>
                      <a:pt x="1638" y="166"/>
                      <a:pt x="1640" y="182"/>
                      <a:pt x="1640" y="199"/>
                    </a:cubicBezTo>
                    <a:close/>
                    <a:moveTo>
                      <a:pt x="1575" y="203"/>
                    </a:moveTo>
                    <a:cubicBezTo>
                      <a:pt x="1575" y="194"/>
                      <a:pt x="1574" y="185"/>
                      <a:pt x="1573" y="176"/>
                    </a:cubicBezTo>
                    <a:cubicBezTo>
                      <a:pt x="1571" y="167"/>
                      <a:pt x="1569" y="160"/>
                      <a:pt x="1566" y="153"/>
                    </a:cubicBezTo>
                    <a:cubicBezTo>
                      <a:pt x="1562" y="146"/>
                      <a:pt x="1558" y="141"/>
                      <a:pt x="1552" y="136"/>
                    </a:cubicBezTo>
                    <a:cubicBezTo>
                      <a:pt x="1547" y="132"/>
                      <a:pt x="1540" y="130"/>
                      <a:pt x="1531" y="130"/>
                    </a:cubicBezTo>
                    <a:cubicBezTo>
                      <a:pt x="1527" y="130"/>
                      <a:pt x="1523" y="131"/>
                      <a:pt x="1519" y="132"/>
                    </a:cubicBezTo>
                    <a:cubicBezTo>
                      <a:pt x="1515" y="134"/>
                      <a:pt x="1511" y="136"/>
                      <a:pt x="1507" y="138"/>
                    </a:cubicBezTo>
                    <a:cubicBezTo>
                      <a:pt x="1502" y="141"/>
                      <a:pt x="1498" y="145"/>
                      <a:pt x="1494" y="149"/>
                    </a:cubicBezTo>
                    <a:cubicBezTo>
                      <a:pt x="1489" y="154"/>
                      <a:pt x="1484" y="159"/>
                      <a:pt x="1479" y="166"/>
                    </a:cubicBezTo>
                    <a:lnTo>
                      <a:pt x="1479" y="239"/>
                    </a:lnTo>
                    <a:cubicBezTo>
                      <a:pt x="1488" y="250"/>
                      <a:pt x="1497" y="259"/>
                      <a:pt x="1505" y="265"/>
                    </a:cubicBezTo>
                    <a:cubicBezTo>
                      <a:pt x="1512" y="271"/>
                      <a:pt x="1521" y="274"/>
                      <a:pt x="1529" y="274"/>
                    </a:cubicBezTo>
                    <a:cubicBezTo>
                      <a:pt x="1537" y="274"/>
                      <a:pt x="1544" y="272"/>
                      <a:pt x="1550" y="267"/>
                    </a:cubicBezTo>
                    <a:cubicBezTo>
                      <a:pt x="1556" y="263"/>
                      <a:pt x="1560" y="258"/>
                      <a:pt x="1564" y="251"/>
                    </a:cubicBezTo>
                    <a:cubicBezTo>
                      <a:pt x="1568" y="245"/>
                      <a:pt x="1570" y="237"/>
                      <a:pt x="1572" y="228"/>
                    </a:cubicBezTo>
                    <a:cubicBezTo>
                      <a:pt x="1574" y="220"/>
                      <a:pt x="1575" y="212"/>
                      <a:pt x="1575" y="203"/>
                    </a:cubicBezTo>
                    <a:close/>
                    <a:moveTo>
                      <a:pt x="1895" y="196"/>
                    </a:moveTo>
                    <a:cubicBezTo>
                      <a:pt x="1895" y="203"/>
                      <a:pt x="1893" y="209"/>
                      <a:pt x="1890" y="212"/>
                    </a:cubicBezTo>
                    <a:cubicBezTo>
                      <a:pt x="1886" y="216"/>
                      <a:pt x="1881" y="218"/>
                      <a:pt x="1876" y="218"/>
                    </a:cubicBezTo>
                    <a:lnTo>
                      <a:pt x="1741" y="218"/>
                    </a:lnTo>
                    <a:cubicBezTo>
                      <a:pt x="1741" y="227"/>
                      <a:pt x="1742" y="236"/>
                      <a:pt x="1744" y="243"/>
                    </a:cubicBezTo>
                    <a:cubicBezTo>
                      <a:pt x="1746" y="251"/>
                      <a:pt x="1750" y="258"/>
                      <a:pt x="1755" y="263"/>
                    </a:cubicBezTo>
                    <a:cubicBezTo>
                      <a:pt x="1760" y="269"/>
                      <a:pt x="1766" y="273"/>
                      <a:pt x="1773" y="275"/>
                    </a:cubicBezTo>
                    <a:cubicBezTo>
                      <a:pt x="1781" y="278"/>
                      <a:pt x="1790" y="280"/>
                      <a:pt x="1801" y="280"/>
                    </a:cubicBezTo>
                    <a:cubicBezTo>
                      <a:pt x="1812" y="280"/>
                      <a:pt x="1822" y="279"/>
                      <a:pt x="1830" y="277"/>
                    </a:cubicBezTo>
                    <a:cubicBezTo>
                      <a:pt x="1838" y="276"/>
                      <a:pt x="1845" y="274"/>
                      <a:pt x="1852" y="272"/>
                    </a:cubicBezTo>
                    <a:cubicBezTo>
                      <a:pt x="1858" y="270"/>
                      <a:pt x="1863" y="268"/>
                      <a:pt x="1867" y="267"/>
                    </a:cubicBezTo>
                    <a:cubicBezTo>
                      <a:pt x="1871" y="265"/>
                      <a:pt x="1874" y="265"/>
                      <a:pt x="1876" y="265"/>
                    </a:cubicBezTo>
                    <a:cubicBezTo>
                      <a:pt x="1878" y="265"/>
                      <a:pt x="1879" y="265"/>
                      <a:pt x="1880" y="265"/>
                    </a:cubicBezTo>
                    <a:cubicBezTo>
                      <a:pt x="1881" y="266"/>
                      <a:pt x="1882" y="267"/>
                      <a:pt x="1882" y="269"/>
                    </a:cubicBezTo>
                    <a:cubicBezTo>
                      <a:pt x="1883" y="270"/>
                      <a:pt x="1884" y="272"/>
                      <a:pt x="1884" y="275"/>
                    </a:cubicBezTo>
                    <a:cubicBezTo>
                      <a:pt x="1884" y="278"/>
                      <a:pt x="1884" y="281"/>
                      <a:pt x="1884" y="285"/>
                    </a:cubicBezTo>
                    <a:cubicBezTo>
                      <a:pt x="1884" y="289"/>
                      <a:pt x="1884" y="292"/>
                      <a:pt x="1884" y="294"/>
                    </a:cubicBezTo>
                    <a:cubicBezTo>
                      <a:pt x="1884" y="297"/>
                      <a:pt x="1883" y="299"/>
                      <a:pt x="1883" y="301"/>
                    </a:cubicBezTo>
                    <a:cubicBezTo>
                      <a:pt x="1883" y="303"/>
                      <a:pt x="1882" y="304"/>
                      <a:pt x="1882" y="306"/>
                    </a:cubicBezTo>
                    <a:cubicBezTo>
                      <a:pt x="1881" y="307"/>
                      <a:pt x="1880" y="308"/>
                      <a:pt x="1879" y="309"/>
                    </a:cubicBezTo>
                    <a:cubicBezTo>
                      <a:pt x="1878" y="310"/>
                      <a:pt x="1875" y="312"/>
                      <a:pt x="1870" y="314"/>
                    </a:cubicBezTo>
                    <a:cubicBezTo>
                      <a:pt x="1865" y="316"/>
                      <a:pt x="1859" y="318"/>
                      <a:pt x="1852" y="320"/>
                    </a:cubicBezTo>
                    <a:cubicBezTo>
                      <a:pt x="1844" y="322"/>
                      <a:pt x="1836" y="323"/>
                      <a:pt x="1826" y="325"/>
                    </a:cubicBezTo>
                    <a:cubicBezTo>
                      <a:pt x="1817" y="326"/>
                      <a:pt x="1806" y="327"/>
                      <a:pt x="1795" y="327"/>
                    </a:cubicBezTo>
                    <a:cubicBezTo>
                      <a:pt x="1776" y="327"/>
                      <a:pt x="1758" y="324"/>
                      <a:pt x="1744" y="319"/>
                    </a:cubicBezTo>
                    <a:cubicBezTo>
                      <a:pt x="1729" y="314"/>
                      <a:pt x="1717" y="307"/>
                      <a:pt x="1707" y="297"/>
                    </a:cubicBezTo>
                    <a:cubicBezTo>
                      <a:pt x="1697" y="287"/>
                      <a:pt x="1689" y="274"/>
                      <a:pt x="1684" y="259"/>
                    </a:cubicBezTo>
                    <a:cubicBezTo>
                      <a:pt x="1679" y="243"/>
                      <a:pt x="1677" y="225"/>
                      <a:pt x="1677" y="204"/>
                    </a:cubicBezTo>
                    <a:cubicBezTo>
                      <a:pt x="1677" y="185"/>
                      <a:pt x="1680" y="167"/>
                      <a:pt x="1685" y="151"/>
                    </a:cubicBezTo>
                    <a:cubicBezTo>
                      <a:pt x="1690" y="135"/>
                      <a:pt x="1697" y="122"/>
                      <a:pt x="1707" y="111"/>
                    </a:cubicBezTo>
                    <a:cubicBezTo>
                      <a:pt x="1717" y="100"/>
                      <a:pt x="1729" y="91"/>
                      <a:pt x="1743" y="86"/>
                    </a:cubicBezTo>
                    <a:cubicBezTo>
                      <a:pt x="1757" y="80"/>
                      <a:pt x="1772" y="77"/>
                      <a:pt x="1790" y="77"/>
                    </a:cubicBezTo>
                    <a:cubicBezTo>
                      <a:pt x="1809" y="77"/>
                      <a:pt x="1824" y="80"/>
                      <a:pt x="1838" y="85"/>
                    </a:cubicBezTo>
                    <a:cubicBezTo>
                      <a:pt x="1851" y="91"/>
                      <a:pt x="1862" y="98"/>
                      <a:pt x="1870" y="108"/>
                    </a:cubicBezTo>
                    <a:cubicBezTo>
                      <a:pt x="1878" y="118"/>
                      <a:pt x="1885" y="129"/>
                      <a:pt x="1889" y="142"/>
                    </a:cubicBezTo>
                    <a:cubicBezTo>
                      <a:pt x="1893" y="156"/>
                      <a:pt x="1895" y="170"/>
                      <a:pt x="1895" y="185"/>
                    </a:cubicBezTo>
                    <a:lnTo>
                      <a:pt x="1895" y="196"/>
                    </a:lnTo>
                    <a:close/>
                    <a:moveTo>
                      <a:pt x="1834" y="178"/>
                    </a:moveTo>
                    <a:cubicBezTo>
                      <a:pt x="1834" y="160"/>
                      <a:pt x="1831" y="146"/>
                      <a:pt x="1823" y="136"/>
                    </a:cubicBezTo>
                    <a:cubicBezTo>
                      <a:pt x="1816" y="126"/>
                      <a:pt x="1804" y="121"/>
                      <a:pt x="1789" y="121"/>
                    </a:cubicBezTo>
                    <a:cubicBezTo>
                      <a:pt x="1781" y="121"/>
                      <a:pt x="1774" y="123"/>
                      <a:pt x="1768" y="126"/>
                    </a:cubicBezTo>
                    <a:cubicBezTo>
                      <a:pt x="1762" y="129"/>
                      <a:pt x="1757" y="133"/>
                      <a:pt x="1753" y="138"/>
                    </a:cubicBezTo>
                    <a:cubicBezTo>
                      <a:pt x="1749" y="143"/>
                      <a:pt x="1746" y="149"/>
                      <a:pt x="1744" y="156"/>
                    </a:cubicBezTo>
                    <a:cubicBezTo>
                      <a:pt x="1742" y="162"/>
                      <a:pt x="1741" y="170"/>
                      <a:pt x="1741" y="178"/>
                    </a:cubicBezTo>
                    <a:lnTo>
                      <a:pt x="1834" y="178"/>
                    </a:lnTo>
                    <a:close/>
                    <a:moveTo>
                      <a:pt x="1968" y="394"/>
                    </a:moveTo>
                    <a:cubicBezTo>
                      <a:pt x="1968" y="395"/>
                      <a:pt x="1968" y="396"/>
                      <a:pt x="1967" y="398"/>
                    </a:cubicBezTo>
                    <a:cubicBezTo>
                      <a:pt x="1966" y="399"/>
                      <a:pt x="1964" y="400"/>
                      <a:pt x="1962" y="400"/>
                    </a:cubicBezTo>
                    <a:cubicBezTo>
                      <a:pt x="1960" y="401"/>
                      <a:pt x="1957" y="402"/>
                      <a:pt x="1954" y="402"/>
                    </a:cubicBezTo>
                    <a:cubicBezTo>
                      <a:pt x="1950" y="402"/>
                      <a:pt x="1946" y="403"/>
                      <a:pt x="1941" y="403"/>
                    </a:cubicBezTo>
                    <a:cubicBezTo>
                      <a:pt x="1936" y="403"/>
                      <a:pt x="1931" y="402"/>
                      <a:pt x="1928" y="402"/>
                    </a:cubicBezTo>
                    <a:cubicBezTo>
                      <a:pt x="1924" y="402"/>
                      <a:pt x="1922" y="401"/>
                      <a:pt x="1920" y="400"/>
                    </a:cubicBezTo>
                    <a:cubicBezTo>
                      <a:pt x="1917" y="400"/>
                      <a:pt x="1916" y="399"/>
                      <a:pt x="1915" y="398"/>
                    </a:cubicBezTo>
                    <a:cubicBezTo>
                      <a:pt x="1914" y="396"/>
                      <a:pt x="1914" y="395"/>
                      <a:pt x="1914" y="394"/>
                    </a:cubicBezTo>
                    <a:lnTo>
                      <a:pt x="1914" y="283"/>
                    </a:lnTo>
                    <a:cubicBezTo>
                      <a:pt x="1914" y="278"/>
                      <a:pt x="1915" y="274"/>
                      <a:pt x="1916" y="273"/>
                    </a:cubicBezTo>
                    <a:cubicBezTo>
                      <a:pt x="1918" y="271"/>
                      <a:pt x="1921" y="270"/>
                      <a:pt x="1926" y="270"/>
                    </a:cubicBezTo>
                    <a:lnTo>
                      <a:pt x="1938" y="270"/>
                    </a:lnTo>
                    <a:cubicBezTo>
                      <a:pt x="1943" y="263"/>
                      <a:pt x="1948" y="255"/>
                      <a:pt x="1953" y="246"/>
                    </a:cubicBezTo>
                    <a:cubicBezTo>
                      <a:pt x="1958" y="238"/>
                      <a:pt x="1962" y="227"/>
                      <a:pt x="1966" y="214"/>
                    </a:cubicBezTo>
                    <a:cubicBezTo>
                      <a:pt x="1970" y="201"/>
                      <a:pt x="1974" y="185"/>
                      <a:pt x="1977" y="167"/>
                    </a:cubicBezTo>
                    <a:cubicBezTo>
                      <a:pt x="1981" y="149"/>
                      <a:pt x="1984" y="127"/>
                      <a:pt x="1987" y="102"/>
                    </a:cubicBezTo>
                    <a:cubicBezTo>
                      <a:pt x="1987" y="99"/>
                      <a:pt x="1988" y="96"/>
                      <a:pt x="1988" y="94"/>
                    </a:cubicBezTo>
                    <a:cubicBezTo>
                      <a:pt x="1989" y="91"/>
                      <a:pt x="1990" y="89"/>
                      <a:pt x="1992" y="88"/>
                    </a:cubicBezTo>
                    <a:cubicBezTo>
                      <a:pt x="1993" y="86"/>
                      <a:pt x="1995" y="85"/>
                      <a:pt x="1997" y="84"/>
                    </a:cubicBezTo>
                    <a:cubicBezTo>
                      <a:pt x="1999" y="83"/>
                      <a:pt x="2001" y="83"/>
                      <a:pt x="2004" y="83"/>
                    </a:cubicBezTo>
                    <a:lnTo>
                      <a:pt x="2141" y="83"/>
                    </a:lnTo>
                    <a:cubicBezTo>
                      <a:pt x="2147" y="83"/>
                      <a:pt x="2151" y="84"/>
                      <a:pt x="2154" y="88"/>
                    </a:cubicBezTo>
                    <a:cubicBezTo>
                      <a:pt x="2157" y="91"/>
                      <a:pt x="2158" y="96"/>
                      <a:pt x="2158" y="103"/>
                    </a:cubicBezTo>
                    <a:lnTo>
                      <a:pt x="2158" y="270"/>
                    </a:lnTo>
                    <a:lnTo>
                      <a:pt x="2184" y="270"/>
                    </a:lnTo>
                    <a:cubicBezTo>
                      <a:pt x="2188" y="270"/>
                      <a:pt x="2191" y="271"/>
                      <a:pt x="2193" y="273"/>
                    </a:cubicBezTo>
                    <a:cubicBezTo>
                      <a:pt x="2195" y="274"/>
                      <a:pt x="2196" y="278"/>
                      <a:pt x="2196" y="283"/>
                    </a:cubicBezTo>
                    <a:lnTo>
                      <a:pt x="2196" y="394"/>
                    </a:lnTo>
                    <a:cubicBezTo>
                      <a:pt x="2196" y="395"/>
                      <a:pt x="2196" y="396"/>
                      <a:pt x="2195" y="398"/>
                    </a:cubicBezTo>
                    <a:cubicBezTo>
                      <a:pt x="2194" y="399"/>
                      <a:pt x="2193" y="400"/>
                      <a:pt x="2191" y="400"/>
                    </a:cubicBezTo>
                    <a:cubicBezTo>
                      <a:pt x="2188" y="401"/>
                      <a:pt x="2186" y="402"/>
                      <a:pt x="2182" y="402"/>
                    </a:cubicBezTo>
                    <a:cubicBezTo>
                      <a:pt x="2179" y="402"/>
                      <a:pt x="2174" y="403"/>
                      <a:pt x="2169" y="403"/>
                    </a:cubicBezTo>
                    <a:cubicBezTo>
                      <a:pt x="2164" y="403"/>
                      <a:pt x="2160" y="402"/>
                      <a:pt x="2156" y="402"/>
                    </a:cubicBezTo>
                    <a:cubicBezTo>
                      <a:pt x="2153" y="402"/>
                      <a:pt x="2150" y="401"/>
                      <a:pt x="2148" y="400"/>
                    </a:cubicBezTo>
                    <a:cubicBezTo>
                      <a:pt x="2146" y="400"/>
                      <a:pt x="2144" y="399"/>
                      <a:pt x="2143" y="398"/>
                    </a:cubicBezTo>
                    <a:cubicBezTo>
                      <a:pt x="2142" y="396"/>
                      <a:pt x="2142" y="395"/>
                      <a:pt x="2142" y="394"/>
                    </a:cubicBezTo>
                    <a:lnTo>
                      <a:pt x="2142" y="321"/>
                    </a:lnTo>
                    <a:lnTo>
                      <a:pt x="1968" y="321"/>
                    </a:lnTo>
                    <a:lnTo>
                      <a:pt x="1968" y="394"/>
                    </a:lnTo>
                    <a:close/>
                    <a:moveTo>
                      <a:pt x="2096" y="133"/>
                    </a:moveTo>
                    <a:lnTo>
                      <a:pt x="2043" y="133"/>
                    </a:lnTo>
                    <a:cubicBezTo>
                      <a:pt x="2040" y="153"/>
                      <a:pt x="2037" y="171"/>
                      <a:pt x="2033" y="186"/>
                    </a:cubicBezTo>
                    <a:cubicBezTo>
                      <a:pt x="2030" y="201"/>
                      <a:pt x="2027" y="214"/>
                      <a:pt x="2023" y="225"/>
                    </a:cubicBezTo>
                    <a:cubicBezTo>
                      <a:pt x="2019" y="236"/>
                      <a:pt x="2016" y="245"/>
                      <a:pt x="2012" y="252"/>
                    </a:cubicBezTo>
                    <a:cubicBezTo>
                      <a:pt x="2007" y="259"/>
                      <a:pt x="2003" y="265"/>
                      <a:pt x="1999" y="270"/>
                    </a:cubicBezTo>
                    <a:lnTo>
                      <a:pt x="2096" y="270"/>
                    </a:lnTo>
                    <a:lnTo>
                      <a:pt x="2096" y="133"/>
                    </a:lnTo>
                    <a:close/>
                    <a:moveTo>
                      <a:pt x="2548" y="312"/>
                    </a:moveTo>
                    <a:cubicBezTo>
                      <a:pt x="2548" y="316"/>
                      <a:pt x="2546" y="319"/>
                      <a:pt x="2542" y="320"/>
                    </a:cubicBezTo>
                    <a:cubicBezTo>
                      <a:pt x="2538" y="322"/>
                      <a:pt x="2530" y="323"/>
                      <a:pt x="2520" y="323"/>
                    </a:cubicBezTo>
                    <a:cubicBezTo>
                      <a:pt x="2513" y="323"/>
                      <a:pt x="2508" y="323"/>
                      <a:pt x="2504" y="322"/>
                    </a:cubicBezTo>
                    <a:cubicBezTo>
                      <a:pt x="2500" y="322"/>
                      <a:pt x="2497" y="322"/>
                      <a:pt x="2495" y="321"/>
                    </a:cubicBezTo>
                    <a:cubicBezTo>
                      <a:pt x="2493" y="321"/>
                      <a:pt x="2492" y="320"/>
                      <a:pt x="2491" y="318"/>
                    </a:cubicBezTo>
                    <a:cubicBezTo>
                      <a:pt x="2490" y="317"/>
                      <a:pt x="2490" y="315"/>
                      <a:pt x="2490" y="313"/>
                    </a:cubicBezTo>
                    <a:lnTo>
                      <a:pt x="2476" y="194"/>
                    </a:lnTo>
                    <a:cubicBezTo>
                      <a:pt x="2476" y="190"/>
                      <a:pt x="2476" y="185"/>
                      <a:pt x="2475" y="180"/>
                    </a:cubicBezTo>
                    <a:cubicBezTo>
                      <a:pt x="2475" y="175"/>
                      <a:pt x="2474" y="169"/>
                      <a:pt x="2474" y="164"/>
                    </a:cubicBezTo>
                    <a:cubicBezTo>
                      <a:pt x="2473" y="158"/>
                      <a:pt x="2473" y="153"/>
                      <a:pt x="2473" y="148"/>
                    </a:cubicBezTo>
                    <a:cubicBezTo>
                      <a:pt x="2472" y="142"/>
                      <a:pt x="2472" y="137"/>
                      <a:pt x="2471" y="133"/>
                    </a:cubicBezTo>
                    <a:lnTo>
                      <a:pt x="2472" y="127"/>
                    </a:lnTo>
                    <a:cubicBezTo>
                      <a:pt x="2471" y="131"/>
                      <a:pt x="2469" y="136"/>
                      <a:pt x="2468" y="142"/>
                    </a:cubicBezTo>
                    <a:cubicBezTo>
                      <a:pt x="2466" y="147"/>
                      <a:pt x="2465" y="152"/>
                      <a:pt x="2463" y="158"/>
                    </a:cubicBezTo>
                    <a:cubicBezTo>
                      <a:pt x="2462" y="163"/>
                      <a:pt x="2460" y="169"/>
                      <a:pt x="2459" y="174"/>
                    </a:cubicBezTo>
                    <a:cubicBezTo>
                      <a:pt x="2457" y="179"/>
                      <a:pt x="2456" y="184"/>
                      <a:pt x="2454" y="189"/>
                    </a:cubicBezTo>
                    <a:lnTo>
                      <a:pt x="2415" y="311"/>
                    </a:lnTo>
                    <a:cubicBezTo>
                      <a:pt x="2415" y="313"/>
                      <a:pt x="2414" y="315"/>
                      <a:pt x="2412" y="316"/>
                    </a:cubicBezTo>
                    <a:cubicBezTo>
                      <a:pt x="2411" y="318"/>
                      <a:pt x="2409" y="319"/>
                      <a:pt x="2407" y="320"/>
                    </a:cubicBezTo>
                    <a:cubicBezTo>
                      <a:pt x="2404" y="321"/>
                      <a:pt x="2401" y="322"/>
                      <a:pt x="2398" y="322"/>
                    </a:cubicBezTo>
                    <a:cubicBezTo>
                      <a:pt x="2394" y="322"/>
                      <a:pt x="2389" y="323"/>
                      <a:pt x="2384" y="323"/>
                    </a:cubicBezTo>
                    <a:cubicBezTo>
                      <a:pt x="2378" y="323"/>
                      <a:pt x="2374" y="322"/>
                      <a:pt x="2370" y="322"/>
                    </a:cubicBezTo>
                    <a:cubicBezTo>
                      <a:pt x="2367" y="322"/>
                      <a:pt x="2364" y="321"/>
                      <a:pt x="2362" y="320"/>
                    </a:cubicBezTo>
                    <a:cubicBezTo>
                      <a:pt x="2359" y="319"/>
                      <a:pt x="2357" y="318"/>
                      <a:pt x="2356" y="316"/>
                    </a:cubicBezTo>
                    <a:cubicBezTo>
                      <a:pt x="2355" y="315"/>
                      <a:pt x="2354" y="313"/>
                      <a:pt x="2353" y="311"/>
                    </a:cubicBezTo>
                    <a:lnTo>
                      <a:pt x="2315" y="189"/>
                    </a:lnTo>
                    <a:cubicBezTo>
                      <a:pt x="2314" y="184"/>
                      <a:pt x="2312" y="179"/>
                      <a:pt x="2311" y="174"/>
                    </a:cubicBezTo>
                    <a:cubicBezTo>
                      <a:pt x="2309" y="169"/>
                      <a:pt x="2308" y="163"/>
                      <a:pt x="2306" y="158"/>
                    </a:cubicBezTo>
                    <a:cubicBezTo>
                      <a:pt x="2305" y="153"/>
                      <a:pt x="2303" y="147"/>
                      <a:pt x="2302" y="142"/>
                    </a:cubicBezTo>
                    <a:cubicBezTo>
                      <a:pt x="2300" y="136"/>
                      <a:pt x="2299" y="131"/>
                      <a:pt x="2298" y="127"/>
                    </a:cubicBezTo>
                    <a:lnTo>
                      <a:pt x="2298" y="133"/>
                    </a:lnTo>
                    <a:cubicBezTo>
                      <a:pt x="2298" y="137"/>
                      <a:pt x="2298" y="142"/>
                      <a:pt x="2297" y="148"/>
                    </a:cubicBezTo>
                    <a:cubicBezTo>
                      <a:pt x="2297" y="153"/>
                      <a:pt x="2297" y="158"/>
                      <a:pt x="2296" y="164"/>
                    </a:cubicBezTo>
                    <a:cubicBezTo>
                      <a:pt x="2296" y="169"/>
                      <a:pt x="2295" y="175"/>
                      <a:pt x="2295" y="180"/>
                    </a:cubicBezTo>
                    <a:cubicBezTo>
                      <a:pt x="2294" y="185"/>
                      <a:pt x="2294" y="190"/>
                      <a:pt x="2293" y="194"/>
                    </a:cubicBezTo>
                    <a:lnTo>
                      <a:pt x="2281" y="312"/>
                    </a:lnTo>
                    <a:cubicBezTo>
                      <a:pt x="2280" y="314"/>
                      <a:pt x="2280" y="316"/>
                      <a:pt x="2279" y="317"/>
                    </a:cubicBezTo>
                    <a:cubicBezTo>
                      <a:pt x="2278" y="319"/>
                      <a:pt x="2277" y="320"/>
                      <a:pt x="2274" y="321"/>
                    </a:cubicBezTo>
                    <a:cubicBezTo>
                      <a:pt x="2272" y="322"/>
                      <a:pt x="2269" y="322"/>
                      <a:pt x="2265" y="322"/>
                    </a:cubicBezTo>
                    <a:cubicBezTo>
                      <a:pt x="2261" y="323"/>
                      <a:pt x="2256" y="323"/>
                      <a:pt x="2249" y="323"/>
                    </a:cubicBezTo>
                    <a:cubicBezTo>
                      <a:pt x="2243" y="323"/>
                      <a:pt x="2239" y="323"/>
                      <a:pt x="2235" y="322"/>
                    </a:cubicBezTo>
                    <a:cubicBezTo>
                      <a:pt x="2232" y="322"/>
                      <a:pt x="2229" y="321"/>
                      <a:pt x="2227" y="320"/>
                    </a:cubicBezTo>
                    <a:cubicBezTo>
                      <a:pt x="2225" y="319"/>
                      <a:pt x="2224" y="318"/>
                      <a:pt x="2223" y="317"/>
                    </a:cubicBezTo>
                    <a:cubicBezTo>
                      <a:pt x="2223" y="315"/>
                      <a:pt x="2223" y="314"/>
                      <a:pt x="2223" y="312"/>
                    </a:cubicBezTo>
                    <a:lnTo>
                      <a:pt x="2245" y="104"/>
                    </a:lnTo>
                    <a:cubicBezTo>
                      <a:pt x="2245" y="97"/>
                      <a:pt x="2248" y="92"/>
                      <a:pt x="2252" y="88"/>
                    </a:cubicBezTo>
                    <a:cubicBezTo>
                      <a:pt x="2255" y="84"/>
                      <a:pt x="2261" y="83"/>
                      <a:pt x="2269" y="83"/>
                    </a:cubicBezTo>
                    <a:lnTo>
                      <a:pt x="2301" y="83"/>
                    </a:lnTo>
                    <a:cubicBezTo>
                      <a:pt x="2307" y="83"/>
                      <a:pt x="2313" y="83"/>
                      <a:pt x="2317" y="84"/>
                    </a:cubicBezTo>
                    <a:cubicBezTo>
                      <a:pt x="2322" y="85"/>
                      <a:pt x="2326" y="87"/>
                      <a:pt x="2330" y="89"/>
                    </a:cubicBezTo>
                    <a:cubicBezTo>
                      <a:pt x="2333" y="92"/>
                      <a:pt x="2336" y="95"/>
                      <a:pt x="2338" y="100"/>
                    </a:cubicBezTo>
                    <a:cubicBezTo>
                      <a:pt x="2341" y="104"/>
                      <a:pt x="2343" y="109"/>
                      <a:pt x="2345" y="116"/>
                    </a:cubicBezTo>
                    <a:lnTo>
                      <a:pt x="2369" y="192"/>
                    </a:lnTo>
                    <a:cubicBezTo>
                      <a:pt x="2371" y="197"/>
                      <a:pt x="2372" y="202"/>
                      <a:pt x="2374" y="207"/>
                    </a:cubicBezTo>
                    <a:cubicBezTo>
                      <a:pt x="2375" y="213"/>
                      <a:pt x="2377" y="218"/>
                      <a:pt x="2378" y="223"/>
                    </a:cubicBezTo>
                    <a:cubicBezTo>
                      <a:pt x="2380" y="229"/>
                      <a:pt x="2381" y="234"/>
                      <a:pt x="2382" y="239"/>
                    </a:cubicBezTo>
                    <a:cubicBezTo>
                      <a:pt x="2384" y="244"/>
                      <a:pt x="2385" y="249"/>
                      <a:pt x="2386" y="253"/>
                    </a:cubicBezTo>
                    <a:lnTo>
                      <a:pt x="2386" y="253"/>
                    </a:lnTo>
                    <a:cubicBezTo>
                      <a:pt x="2387" y="249"/>
                      <a:pt x="2388" y="244"/>
                      <a:pt x="2389" y="239"/>
                    </a:cubicBezTo>
                    <a:cubicBezTo>
                      <a:pt x="2391" y="233"/>
                      <a:pt x="2392" y="228"/>
                      <a:pt x="2394" y="223"/>
                    </a:cubicBezTo>
                    <a:cubicBezTo>
                      <a:pt x="2395" y="217"/>
                      <a:pt x="2397" y="212"/>
                      <a:pt x="2398" y="206"/>
                    </a:cubicBezTo>
                    <a:cubicBezTo>
                      <a:pt x="2400" y="201"/>
                      <a:pt x="2401" y="196"/>
                      <a:pt x="2403" y="192"/>
                    </a:cubicBezTo>
                    <a:lnTo>
                      <a:pt x="2428" y="116"/>
                    </a:lnTo>
                    <a:cubicBezTo>
                      <a:pt x="2429" y="110"/>
                      <a:pt x="2431" y="105"/>
                      <a:pt x="2433" y="100"/>
                    </a:cubicBezTo>
                    <a:cubicBezTo>
                      <a:pt x="2435" y="96"/>
                      <a:pt x="2438" y="93"/>
                      <a:pt x="2441" y="90"/>
                    </a:cubicBezTo>
                    <a:cubicBezTo>
                      <a:pt x="2444" y="88"/>
                      <a:pt x="2448" y="86"/>
                      <a:pt x="2452" y="85"/>
                    </a:cubicBezTo>
                    <a:cubicBezTo>
                      <a:pt x="2457" y="83"/>
                      <a:pt x="2463" y="83"/>
                      <a:pt x="2470" y="83"/>
                    </a:cubicBezTo>
                    <a:lnTo>
                      <a:pt x="2501" y="83"/>
                    </a:lnTo>
                    <a:cubicBezTo>
                      <a:pt x="2509" y="83"/>
                      <a:pt x="2515" y="84"/>
                      <a:pt x="2519" y="88"/>
                    </a:cubicBezTo>
                    <a:cubicBezTo>
                      <a:pt x="2522" y="92"/>
                      <a:pt x="2525" y="97"/>
                      <a:pt x="2525" y="104"/>
                    </a:cubicBezTo>
                    <a:lnTo>
                      <a:pt x="2548" y="312"/>
                    </a:lnTo>
                    <a:close/>
                    <a:moveTo>
                      <a:pt x="2803" y="196"/>
                    </a:moveTo>
                    <a:cubicBezTo>
                      <a:pt x="2803" y="203"/>
                      <a:pt x="2801" y="209"/>
                      <a:pt x="2798" y="212"/>
                    </a:cubicBezTo>
                    <a:cubicBezTo>
                      <a:pt x="2794" y="216"/>
                      <a:pt x="2789" y="218"/>
                      <a:pt x="2784" y="218"/>
                    </a:cubicBezTo>
                    <a:lnTo>
                      <a:pt x="2649" y="218"/>
                    </a:lnTo>
                    <a:cubicBezTo>
                      <a:pt x="2649" y="227"/>
                      <a:pt x="2650" y="236"/>
                      <a:pt x="2652" y="243"/>
                    </a:cubicBezTo>
                    <a:cubicBezTo>
                      <a:pt x="2654" y="251"/>
                      <a:pt x="2658" y="258"/>
                      <a:pt x="2663" y="263"/>
                    </a:cubicBezTo>
                    <a:cubicBezTo>
                      <a:pt x="2668" y="269"/>
                      <a:pt x="2674" y="273"/>
                      <a:pt x="2682" y="275"/>
                    </a:cubicBezTo>
                    <a:cubicBezTo>
                      <a:pt x="2689" y="278"/>
                      <a:pt x="2698" y="280"/>
                      <a:pt x="2709" y="280"/>
                    </a:cubicBezTo>
                    <a:cubicBezTo>
                      <a:pt x="2720" y="280"/>
                      <a:pt x="2730" y="279"/>
                      <a:pt x="2738" y="277"/>
                    </a:cubicBezTo>
                    <a:cubicBezTo>
                      <a:pt x="2746" y="276"/>
                      <a:pt x="2754" y="274"/>
                      <a:pt x="2760" y="272"/>
                    </a:cubicBezTo>
                    <a:cubicBezTo>
                      <a:pt x="2766" y="270"/>
                      <a:pt x="2771" y="268"/>
                      <a:pt x="2775" y="267"/>
                    </a:cubicBezTo>
                    <a:cubicBezTo>
                      <a:pt x="2779" y="265"/>
                      <a:pt x="2782" y="265"/>
                      <a:pt x="2784" y="265"/>
                    </a:cubicBezTo>
                    <a:cubicBezTo>
                      <a:pt x="2786" y="265"/>
                      <a:pt x="2787" y="265"/>
                      <a:pt x="2788" y="265"/>
                    </a:cubicBezTo>
                    <a:cubicBezTo>
                      <a:pt x="2789" y="266"/>
                      <a:pt x="2790" y="267"/>
                      <a:pt x="2791" y="269"/>
                    </a:cubicBezTo>
                    <a:cubicBezTo>
                      <a:pt x="2791" y="270"/>
                      <a:pt x="2792" y="272"/>
                      <a:pt x="2792" y="275"/>
                    </a:cubicBezTo>
                    <a:cubicBezTo>
                      <a:pt x="2792" y="278"/>
                      <a:pt x="2792" y="281"/>
                      <a:pt x="2792" y="285"/>
                    </a:cubicBezTo>
                    <a:cubicBezTo>
                      <a:pt x="2792" y="289"/>
                      <a:pt x="2792" y="292"/>
                      <a:pt x="2792" y="294"/>
                    </a:cubicBezTo>
                    <a:cubicBezTo>
                      <a:pt x="2792" y="297"/>
                      <a:pt x="2792" y="299"/>
                      <a:pt x="2791" y="301"/>
                    </a:cubicBezTo>
                    <a:cubicBezTo>
                      <a:pt x="2791" y="303"/>
                      <a:pt x="2790" y="304"/>
                      <a:pt x="2790" y="306"/>
                    </a:cubicBezTo>
                    <a:cubicBezTo>
                      <a:pt x="2789" y="307"/>
                      <a:pt x="2788" y="308"/>
                      <a:pt x="2787" y="309"/>
                    </a:cubicBezTo>
                    <a:cubicBezTo>
                      <a:pt x="2786" y="310"/>
                      <a:pt x="2783" y="312"/>
                      <a:pt x="2778" y="314"/>
                    </a:cubicBezTo>
                    <a:cubicBezTo>
                      <a:pt x="2773" y="316"/>
                      <a:pt x="2767" y="318"/>
                      <a:pt x="2760" y="320"/>
                    </a:cubicBezTo>
                    <a:cubicBezTo>
                      <a:pt x="2752" y="322"/>
                      <a:pt x="2744" y="323"/>
                      <a:pt x="2734" y="325"/>
                    </a:cubicBezTo>
                    <a:cubicBezTo>
                      <a:pt x="2725" y="326"/>
                      <a:pt x="2714" y="327"/>
                      <a:pt x="2703" y="327"/>
                    </a:cubicBezTo>
                    <a:cubicBezTo>
                      <a:pt x="2684" y="327"/>
                      <a:pt x="2667" y="324"/>
                      <a:pt x="2652" y="319"/>
                    </a:cubicBezTo>
                    <a:cubicBezTo>
                      <a:pt x="2637" y="314"/>
                      <a:pt x="2625" y="307"/>
                      <a:pt x="2615" y="297"/>
                    </a:cubicBezTo>
                    <a:cubicBezTo>
                      <a:pt x="2605" y="287"/>
                      <a:pt x="2597" y="274"/>
                      <a:pt x="2592" y="259"/>
                    </a:cubicBezTo>
                    <a:cubicBezTo>
                      <a:pt x="2587" y="243"/>
                      <a:pt x="2585" y="225"/>
                      <a:pt x="2585" y="204"/>
                    </a:cubicBezTo>
                    <a:cubicBezTo>
                      <a:pt x="2585" y="185"/>
                      <a:pt x="2588" y="167"/>
                      <a:pt x="2593" y="151"/>
                    </a:cubicBezTo>
                    <a:cubicBezTo>
                      <a:pt x="2598" y="135"/>
                      <a:pt x="2605" y="122"/>
                      <a:pt x="2615" y="111"/>
                    </a:cubicBezTo>
                    <a:cubicBezTo>
                      <a:pt x="2625" y="100"/>
                      <a:pt x="2637" y="91"/>
                      <a:pt x="2651" y="86"/>
                    </a:cubicBezTo>
                    <a:cubicBezTo>
                      <a:pt x="2665" y="80"/>
                      <a:pt x="2681" y="77"/>
                      <a:pt x="2698" y="77"/>
                    </a:cubicBezTo>
                    <a:cubicBezTo>
                      <a:pt x="2717" y="77"/>
                      <a:pt x="2733" y="80"/>
                      <a:pt x="2746" y="85"/>
                    </a:cubicBezTo>
                    <a:cubicBezTo>
                      <a:pt x="2759" y="91"/>
                      <a:pt x="2770" y="98"/>
                      <a:pt x="2778" y="108"/>
                    </a:cubicBezTo>
                    <a:cubicBezTo>
                      <a:pt x="2787" y="118"/>
                      <a:pt x="2793" y="129"/>
                      <a:pt x="2797" y="142"/>
                    </a:cubicBezTo>
                    <a:cubicBezTo>
                      <a:pt x="2801" y="156"/>
                      <a:pt x="2803" y="170"/>
                      <a:pt x="2803" y="185"/>
                    </a:cubicBezTo>
                    <a:lnTo>
                      <a:pt x="2803" y="196"/>
                    </a:lnTo>
                    <a:close/>
                    <a:moveTo>
                      <a:pt x="2742" y="178"/>
                    </a:moveTo>
                    <a:cubicBezTo>
                      <a:pt x="2743" y="160"/>
                      <a:pt x="2739" y="146"/>
                      <a:pt x="2731" y="136"/>
                    </a:cubicBezTo>
                    <a:cubicBezTo>
                      <a:pt x="2724" y="126"/>
                      <a:pt x="2712" y="121"/>
                      <a:pt x="2697" y="121"/>
                    </a:cubicBezTo>
                    <a:cubicBezTo>
                      <a:pt x="2689" y="121"/>
                      <a:pt x="2682" y="123"/>
                      <a:pt x="2676" y="126"/>
                    </a:cubicBezTo>
                    <a:cubicBezTo>
                      <a:pt x="2670" y="129"/>
                      <a:pt x="2665" y="133"/>
                      <a:pt x="2661" y="138"/>
                    </a:cubicBezTo>
                    <a:cubicBezTo>
                      <a:pt x="2657" y="143"/>
                      <a:pt x="2654" y="149"/>
                      <a:pt x="2652" y="156"/>
                    </a:cubicBezTo>
                    <a:cubicBezTo>
                      <a:pt x="2650" y="162"/>
                      <a:pt x="2649" y="170"/>
                      <a:pt x="2649" y="178"/>
                    </a:cubicBezTo>
                    <a:lnTo>
                      <a:pt x="2742" y="178"/>
                    </a:lnTo>
                    <a:close/>
                    <a:moveTo>
                      <a:pt x="3017" y="110"/>
                    </a:moveTo>
                    <a:cubicBezTo>
                      <a:pt x="3017" y="116"/>
                      <a:pt x="3017" y="120"/>
                      <a:pt x="3017" y="124"/>
                    </a:cubicBezTo>
                    <a:cubicBezTo>
                      <a:pt x="3016" y="128"/>
                      <a:pt x="3016" y="130"/>
                      <a:pt x="3015" y="133"/>
                    </a:cubicBezTo>
                    <a:cubicBezTo>
                      <a:pt x="3014" y="135"/>
                      <a:pt x="3013" y="136"/>
                      <a:pt x="3012" y="137"/>
                    </a:cubicBezTo>
                    <a:cubicBezTo>
                      <a:pt x="3010" y="138"/>
                      <a:pt x="3009" y="138"/>
                      <a:pt x="3008" y="138"/>
                    </a:cubicBezTo>
                    <a:lnTo>
                      <a:pt x="2952" y="138"/>
                    </a:lnTo>
                    <a:lnTo>
                      <a:pt x="2952" y="313"/>
                    </a:lnTo>
                    <a:cubicBezTo>
                      <a:pt x="2952" y="314"/>
                      <a:pt x="2951" y="316"/>
                      <a:pt x="2950" y="317"/>
                    </a:cubicBezTo>
                    <a:cubicBezTo>
                      <a:pt x="2949" y="318"/>
                      <a:pt x="2948" y="319"/>
                      <a:pt x="2945" y="320"/>
                    </a:cubicBezTo>
                    <a:cubicBezTo>
                      <a:pt x="2943" y="321"/>
                      <a:pt x="2940" y="322"/>
                      <a:pt x="2936" y="322"/>
                    </a:cubicBezTo>
                    <a:cubicBezTo>
                      <a:pt x="2932" y="322"/>
                      <a:pt x="2927" y="323"/>
                      <a:pt x="2920" y="323"/>
                    </a:cubicBezTo>
                    <a:cubicBezTo>
                      <a:pt x="2914" y="323"/>
                      <a:pt x="2909" y="322"/>
                      <a:pt x="2905" y="322"/>
                    </a:cubicBezTo>
                    <a:cubicBezTo>
                      <a:pt x="2902" y="322"/>
                      <a:pt x="2898" y="321"/>
                      <a:pt x="2896" y="320"/>
                    </a:cubicBezTo>
                    <a:cubicBezTo>
                      <a:pt x="2894" y="319"/>
                      <a:pt x="2892" y="318"/>
                      <a:pt x="2891" y="317"/>
                    </a:cubicBezTo>
                    <a:cubicBezTo>
                      <a:pt x="2890" y="316"/>
                      <a:pt x="2890" y="314"/>
                      <a:pt x="2890" y="313"/>
                    </a:cubicBezTo>
                    <a:lnTo>
                      <a:pt x="2890" y="138"/>
                    </a:lnTo>
                    <a:lnTo>
                      <a:pt x="2834" y="138"/>
                    </a:lnTo>
                    <a:cubicBezTo>
                      <a:pt x="2832" y="138"/>
                      <a:pt x="2831" y="138"/>
                      <a:pt x="2829" y="137"/>
                    </a:cubicBezTo>
                    <a:cubicBezTo>
                      <a:pt x="2828" y="136"/>
                      <a:pt x="2827" y="135"/>
                      <a:pt x="2826" y="132"/>
                    </a:cubicBezTo>
                    <a:cubicBezTo>
                      <a:pt x="2825" y="130"/>
                      <a:pt x="2825" y="127"/>
                      <a:pt x="2824" y="123"/>
                    </a:cubicBezTo>
                    <a:cubicBezTo>
                      <a:pt x="2824" y="120"/>
                      <a:pt x="2824" y="115"/>
                      <a:pt x="2824" y="110"/>
                    </a:cubicBezTo>
                    <a:cubicBezTo>
                      <a:pt x="2824" y="105"/>
                      <a:pt x="2824" y="100"/>
                      <a:pt x="2825" y="97"/>
                    </a:cubicBezTo>
                    <a:cubicBezTo>
                      <a:pt x="2825" y="94"/>
                      <a:pt x="2826" y="91"/>
                      <a:pt x="2827" y="89"/>
                    </a:cubicBezTo>
                    <a:cubicBezTo>
                      <a:pt x="2827" y="86"/>
                      <a:pt x="2828" y="85"/>
                      <a:pt x="2830" y="84"/>
                    </a:cubicBezTo>
                    <a:cubicBezTo>
                      <a:pt x="2831" y="83"/>
                      <a:pt x="2832" y="83"/>
                      <a:pt x="2834" y="83"/>
                    </a:cubicBezTo>
                    <a:lnTo>
                      <a:pt x="3008" y="83"/>
                    </a:lnTo>
                    <a:cubicBezTo>
                      <a:pt x="3009" y="83"/>
                      <a:pt x="3010" y="83"/>
                      <a:pt x="3012" y="84"/>
                    </a:cubicBezTo>
                    <a:cubicBezTo>
                      <a:pt x="3013" y="85"/>
                      <a:pt x="3014" y="86"/>
                      <a:pt x="3015" y="89"/>
                    </a:cubicBezTo>
                    <a:cubicBezTo>
                      <a:pt x="3016" y="91"/>
                      <a:pt x="3016" y="94"/>
                      <a:pt x="3017" y="97"/>
                    </a:cubicBezTo>
                    <a:cubicBezTo>
                      <a:pt x="3017" y="101"/>
                      <a:pt x="3017" y="105"/>
                      <a:pt x="3017" y="110"/>
                    </a:cubicBezTo>
                    <a:close/>
                    <a:moveTo>
                      <a:pt x="3266" y="313"/>
                    </a:moveTo>
                    <a:cubicBezTo>
                      <a:pt x="3266" y="314"/>
                      <a:pt x="3265" y="316"/>
                      <a:pt x="3264" y="317"/>
                    </a:cubicBezTo>
                    <a:cubicBezTo>
                      <a:pt x="3263" y="318"/>
                      <a:pt x="3262" y="319"/>
                      <a:pt x="3259" y="320"/>
                    </a:cubicBezTo>
                    <a:cubicBezTo>
                      <a:pt x="3257" y="321"/>
                      <a:pt x="3254" y="322"/>
                      <a:pt x="3250" y="322"/>
                    </a:cubicBezTo>
                    <a:cubicBezTo>
                      <a:pt x="3246" y="322"/>
                      <a:pt x="3241" y="323"/>
                      <a:pt x="3235" y="323"/>
                    </a:cubicBezTo>
                    <a:cubicBezTo>
                      <a:pt x="3229" y="323"/>
                      <a:pt x="3223" y="322"/>
                      <a:pt x="3219" y="322"/>
                    </a:cubicBezTo>
                    <a:cubicBezTo>
                      <a:pt x="3215" y="322"/>
                      <a:pt x="3212" y="321"/>
                      <a:pt x="3210" y="320"/>
                    </a:cubicBezTo>
                    <a:cubicBezTo>
                      <a:pt x="3208" y="319"/>
                      <a:pt x="3206" y="318"/>
                      <a:pt x="3205" y="317"/>
                    </a:cubicBezTo>
                    <a:cubicBezTo>
                      <a:pt x="3204" y="316"/>
                      <a:pt x="3203" y="314"/>
                      <a:pt x="3203" y="313"/>
                    </a:cubicBezTo>
                    <a:lnTo>
                      <a:pt x="3203" y="226"/>
                    </a:lnTo>
                    <a:lnTo>
                      <a:pt x="3114" y="226"/>
                    </a:lnTo>
                    <a:lnTo>
                      <a:pt x="3114" y="313"/>
                    </a:lnTo>
                    <a:cubicBezTo>
                      <a:pt x="3114" y="314"/>
                      <a:pt x="3113" y="316"/>
                      <a:pt x="3112" y="317"/>
                    </a:cubicBezTo>
                    <a:cubicBezTo>
                      <a:pt x="3111" y="318"/>
                      <a:pt x="3110" y="319"/>
                      <a:pt x="3107" y="320"/>
                    </a:cubicBezTo>
                    <a:cubicBezTo>
                      <a:pt x="3105" y="321"/>
                      <a:pt x="3102" y="322"/>
                      <a:pt x="3098" y="322"/>
                    </a:cubicBezTo>
                    <a:cubicBezTo>
                      <a:pt x="3094" y="322"/>
                      <a:pt x="3089" y="323"/>
                      <a:pt x="3082" y="323"/>
                    </a:cubicBezTo>
                    <a:cubicBezTo>
                      <a:pt x="3076" y="323"/>
                      <a:pt x="3071" y="322"/>
                      <a:pt x="3067" y="322"/>
                    </a:cubicBezTo>
                    <a:cubicBezTo>
                      <a:pt x="3063" y="322"/>
                      <a:pt x="3060" y="321"/>
                      <a:pt x="3058" y="320"/>
                    </a:cubicBezTo>
                    <a:cubicBezTo>
                      <a:pt x="3055" y="319"/>
                      <a:pt x="3054" y="318"/>
                      <a:pt x="3053" y="317"/>
                    </a:cubicBezTo>
                    <a:cubicBezTo>
                      <a:pt x="3052" y="316"/>
                      <a:pt x="3051" y="314"/>
                      <a:pt x="3051" y="313"/>
                    </a:cubicBezTo>
                    <a:lnTo>
                      <a:pt x="3051" y="91"/>
                    </a:lnTo>
                    <a:cubicBezTo>
                      <a:pt x="3051" y="90"/>
                      <a:pt x="3052" y="88"/>
                      <a:pt x="3053" y="87"/>
                    </a:cubicBezTo>
                    <a:cubicBezTo>
                      <a:pt x="3054" y="86"/>
                      <a:pt x="3055" y="85"/>
                      <a:pt x="3058" y="84"/>
                    </a:cubicBezTo>
                    <a:cubicBezTo>
                      <a:pt x="3060" y="83"/>
                      <a:pt x="3063" y="82"/>
                      <a:pt x="3067" y="82"/>
                    </a:cubicBezTo>
                    <a:cubicBezTo>
                      <a:pt x="3071" y="81"/>
                      <a:pt x="3076" y="81"/>
                      <a:pt x="3082" y="81"/>
                    </a:cubicBezTo>
                    <a:cubicBezTo>
                      <a:pt x="3089" y="81"/>
                      <a:pt x="3094" y="81"/>
                      <a:pt x="3098" y="82"/>
                    </a:cubicBezTo>
                    <a:cubicBezTo>
                      <a:pt x="3102" y="82"/>
                      <a:pt x="3105" y="83"/>
                      <a:pt x="3107" y="84"/>
                    </a:cubicBezTo>
                    <a:cubicBezTo>
                      <a:pt x="3110" y="85"/>
                      <a:pt x="3111" y="86"/>
                      <a:pt x="3112" y="87"/>
                    </a:cubicBezTo>
                    <a:cubicBezTo>
                      <a:pt x="3113" y="88"/>
                      <a:pt x="3114" y="90"/>
                      <a:pt x="3114" y="91"/>
                    </a:cubicBezTo>
                    <a:lnTo>
                      <a:pt x="3114" y="174"/>
                    </a:lnTo>
                    <a:lnTo>
                      <a:pt x="3203" y="174"/>
                    </a:lnTo>
                    <a:lnTo>
                      <a:pt x="3203" y="91"/>
                    </a:lnTo>
                    <a:cubicBezTo>
                      <a:pt x="3203" y="90"/>
                      <a:pt x="3204" y="88"/>
                      <a:pt x="3205" y="87"/>
                    </a:cubicBezTo>
                    <a:cubicBezTo>
                      <a:pt x="3206" y="86"/>
                      <a:pt x="3208" y="85"/>
                      <a:pt x="3210" y="84"/>
                    </a:cubicBezTo>
                    <a:cubicBezTo>
                      <a:pt x="3212" y="83"/>
                      <a:pt x="3215" y="82"/>
                      <a:pt x="3219" y="82"/>
                    </a:cubicBezTo>
                    <a:cubicBezTo>
                      <a:pt x="3223" y="81"/>
                      <a:pt x="3229" y="81"/>
                      <a:pt x="3235" y="81"/>
                    </a:cubicBezTo>
                    <a:cubicBezTo>
                      <a:pt x="3241" y="81"/>
                      <a:pt x="3246" y="81"/>
                      <a:pt x="3250" y="82"/>
                    </a:cubicBezTo>
                    <a:cubicBezTo>
                      <a:pt x="3254" y="82"/>
                      <a:pt x="3257" y="83"/>
                      <a:pt x="3259" y="84"/>
                    </a:cubicBezTo>
                    <a:cubicBezTo>
                      <a:pt x="3262" y="85"/>
                      <a:pt x="3263" y="86"/>
                      <a:pt x="3264" y="87"/>
                    </a:cubicBezTo>
                    <a:cubicBezTo>
                      <a:pt x="3265" y="88"/>
                      <a:pt x="3266" y="90"/>
                      <a:pt x="3266" y="91"/>
                    </a:cubicBezTo>
                    <a:lnTo>
                      <a:pt x="3266" y="313"/>
                    </a:lnTo>
                    <a:close/>
                    <a:moveTo>
                      <a:pt x="3628" y="313"/>
                    </a:moveTo>
                    <a:cubicBezTo>
                      <a:pt x="3628" y="314"/>
                      <a:pt x="3627" y="316"/>
                      <a:pt x="3626" y="317"/>
                    </a:cubicBezTo>
                    <a:cubicBezTo>
                      <a:pt x="3625" y="318"/>
                      <a:pt x="3624" y="319"/>
                      <a:pt x="3621" y="320"/>
                    </a:cubicBezTo>
                    <a:cubicBezTo>
                      <a:pt x="3619" y="321"/>
                      <a:pt x="3616" y="322"/>
                      <a:pt x="3612" y="322"/>
                    </a:cubicBezTo>
                    <a:cubicBezTo>
                      <a:pt x="3608" y="322"/>
                      <a:pt x="3603" y="323"/>
                      <a:pt x="3597" y="323"/>
                    </a:cubicBezTo>
                    <a:cubicBezTo>
                      <a:pt x="3591" y="323"/>
                      <a:pt x="3586" y="322"/>
                      <a:pt x="3582" y="322"/>
                    </a:cubicBezTo>
                    <a:cubicBezTo>
                      <a:pt x="3578" y="322"/>
                      <a:pt x="3575" y="321"/>
                      <a:pt x="3572" y="320"/>
                    </a:cubicBezTo>
                    <a:cubicBezTo>
                      <a:pt x="3570" y="319"/>
                      <a:pt x="3568" y="318"/>
                      <a:pt x="3567" y="317"/>
                    </a:cubicBezTo>
                    <a:cubicBezTo>
                      <a:pt x="3566" y="316"/>
                      <a:pt x="3566" y="314"/>
                      <a:pt x="3566" y="313"/>
                    </a:cubicBezTo>
                    <a:lnTo>
                      <a:pt x="3566" y="91"/>
                    </a:lnTo>
                    <a:cubicBezTo>
                      <a:pt x="3566" y="90"/>
                      <a:pt x="3566" y="88"/>
                      <a:pt x="3567" y="87"/>
                    </a:cubicBezTo>
                    <a:cubicBezTo>
                      <a:pt x="3568" y="86"/>
                      <a:pt x="3570" y="85"/>
                      <a:pt x="3572" y="84"/>
                    </a:cubicBezTo>
                    <a:cubicBezTo>
                      <a:pt x="3575" y="83"/>
                      <a:pt x="3578" y="82"/>
                      <a:pt x="3582" y="82"/>
                    </a:cubicBezTo>
                    <a:cubicBezTo>
                      <a:pt x="3586" y="81"/>
                      <a:pt x="3591" y="81"/>
                      <a:pt x="3597" y="81"/>
                    </a:cubicBezTo>
                    <a:cubicBezTo>
                      <a:pt x="3603" y="81"/>
                      <a:pt x="3608" y="81"/>
                      <a:pt x="3612" y="82"/>
                    </a:cubicBezTo>
                    <a:cubicBezTo>
                      <a:pt x="3616" y="82"/>
                      <a:pt x="3619" y="83"/>
                      <a:pt x="3621" y="84"/>
                    </a:cubicBezTo>
                    <a:cubicBezTo>
                      <a:pt x="3624" y="85"/>
                      <a:pt x="3625" y="86"/>
                      <a:pt x="3626" y="87"/>
                    </a:cubicBezTo>
                    <a:cubicBezTo>
                      <a:pt x="3627" y="88"/>
                      <a:pt x="3628" y="90"/>
                      <a:pt x="3628" y="91"/>
                    </a:cubicBezTo>
                    <a:lnTo>
                      <a:pt x="3628" y="313"/>
                    </a:lnTo>
                    <a:close/>
                    <a:moveTo>
                      <a:pt x="3391" y="159"/>
                    </a:moveTo>
                    <a:cubicBezTo>
                      <a:pt x="3397" y="159"/>
                      <a:pt x="3403" y="159"/>
                      <a:pt x="3408" y="158"/>
                    </a:cubicBezTo>
                    <a:cubicBezTo>
                      <a:pt x="3414" y="158"/>
                      <a:pt x="3421" y="158"/>
                      <a:pt x="3428" y="158"/>
                    </a:cubicBezTo>
                    <a:cubicBezTo>
                      <a:pt x="3446" y="158"/>
                      <a:pt x="3462" y="160"/>
                      <a:pt x="3475" y="163"/>
                    </a:cubicBezTo>
                    <a:cubicBezTo>
                      <a:pt x="3488" y="167"/>
                      <a:pt x="3499" y="172"/>
                      <a:pt x="3508" y="179"/>
                    </a:cubicBezTo>
                    <a:cubicBezTo>
                      <a:pt x="3516" y="186"/>
                      <a:pt x="3523" y="195"/>
                      <a:pt x="3527" y="205"/>
                    </a:cubicBezTo>
                    <a:cubicBezTo>
                      <a:pt x="3531" y="214"/>
                      <a:pt x="3533" y="226"/>
                      <a:pt x="3533" y="238"/>
                    </a:cubicBezTo>
                    <a:cubicBezTo>
                      <a:pt x="3533" y="251"/>
                      <a:pt x="3531" y="263"/>
                      <a:pt x="3526" y="274"/>
                    </a:cubicBezTo>
                    <a:cubicBezTo>
                      <a:pt x="3521" y="285"/>
                      <a:pt x="3514" y="294"/>
                      <a:pt x="3505" y="302"/>
                    </a:cubicBezTo>
                    <a:cubicBezTo>
                      <a:pt x="3495" y="310"/>
                      <a:pt x="3483" y="316"/>
                      <a:pt x="3468" y="320"/>
                    </a:cubicBezTo>
                    <a:cubicBezTo>
                      <a:pt x="3453" y="324"/>
                      <a:pt x="3435" y="326"/>
                      <a:pt x="3415" y="326"/>
                    </a:cubicBezTo>
                    <a:cubicBezTo>
                      <a:pt x="3409" y="326"/>
                      <a:pt x="3404" y="326"/>
                      <a:pt x="3398" y="326"/>
                    </a:cubicBezTo>
                    <a:cubicBezTo>
                      <a:pt x="3393" y="326"/>
                      <a:pt x="3387" y="326"/>
                      <a:pt x="3382" y="325"/>
                    </a:cubicBezTo>
                    <a:cubicBezTo>
                      <a:pt x="3376" y="325"/>
                      <a:pt x="3371" y="325"/>
                      <a:pt x="3366" y="325"/>
                    </a:cubicBezTo>
                    <a:cubicBezTo>
                      <a:pt x="3361" y="324"/>
                      <a:pt x="3356" y="324"/>
                      <a:pt x="3351" y="323"/>
                    </a:cubicBezTo>
                    <a:cubicBezTo>
                      <a:pt x="3343" y="323"/>
                      <a:pt x="3337" y="320"/>
                      <a:pt x="3334" y="316"/>
                    </a:cubicBezTo>
                    <a:cubicBezTo>
                      <a:pt x="3330" y="312"/>
                      <a:pt x="3329" y="306"/>
                      <a:pt x="3329" y="298"/>
                    </a:cubicBezTo>
                    <a:lnTo>
                      <a:pt x="3329" y="91"/>
                    </a:lnTo>
                    <a:cubicBezTo>
                      <a:pt x="3329" y="90"/>
                      <a:pt x="3329" y="88"/>
                      <a:pt x="3330" y="87"/>
                    </a:cubicBezTo>
                    <a:cubicBezTo>
                      <a:pt x="3331" y="86"/>
                      <a:pt x="3333" y="85"/>
                      <a:pt x="3335" y="84"/>
                    </a:cubicBezTo>
                    <a:cubicBezTo>
                      <a:pt x="3337" y="83"/>
                      <a:pt x="3340" y="82"/>
                      <a:pt x="3344" y="82"/>
                    </a:cubicBezTo>
                    <a:cubicBezTo>
                      <a:pt x="3348" y="81"/>
                      <a:pt x="3353" y="81"/>
                      <a:pt x="3358" y="81"/>
                    </a:cubicBezTo>
                    <a:cubicBezTo>
                      <a:pt x="3370" y="81"/>
                      <a:pt x="3379" y="82"/>
                      <a:pt x="3384" y="84"/>
                    </a:cubicBezTo>
                    <a:cubicBezTo>
                      <a:pt x="3389" y="85"/>
                      <a:pt x="3391" y="88"/>
                      <a:pt x="3391" y="91"/>
                    </a:cubicBezTo>
                    <a:lnTo>
                      <a:pt x="3391" y="159"/>
                    </a:lnTo>
                    <a:close/>
                    <a:moveTo>
                      <a:pt x="3469" y="242"/>
                    </a:moveTo>
                    <a:cubicBezTo>
                      <a:pt x="3469" y="236"/>
                      <a:pt x="3469" y="231"/>
                      <a:pt x="3467" y="226"/>
                    </a:cubicBezTo>
                    <a:cubicBezTo>
                      <a:pt x="3465" y="222"/>
                      <a:pt x="3462" y="218"/>
                      <a:pt x="3458" y="215"/>
                    </a:cubicBezTo>
                    <a:cubicBezTo>
                      <a:pt x="3454" y="211"/>
                      <a:pt x="3449" y="209"/>
                      <a:pt x="3443" y="207"/>
                    </a:cubicBezTo>
                    <a:cubicBezTo>
                      <a:pt x="3437" y="206"/>
                      <a:pt x="3429" y="205"/>
                      <a:pt x="3420" y="205"/>
                    </a:cubicBezTo>
                    <a:cubicBezTo>
                      <a:pt x="3414" y="205"/>
                      <a:pt x="3409" y="205"/>
                      <a:pt x="3404" y="205"/>
                    </a:cubicBezTo>
                    <a:cubicBezTo>
                      <a:pt x="3400" y="205"/>
                      <a:pt x="3395" y="206"/>
                      <a:pt x="3391" y="206"/>
                    </a:cubicBezTo>
                    <a:lnTo>
                      <a:pt x="3391" y="277"/>
                    </a:lnTo>
                    <a:cubicBezTo>
                      <a:pt x="3396" y="278"/>
                      <a:pt x="3401" y="278"/>
                      <a:pt x="3405" y="279"/>
                    </a:cubicBezTo>
                    <a:cubicBezTo>
                      <a:pt x="3410" y="279"/>
                      <a:pt x="3415" y="279"/>
                      <a:pt x="3421" y="279"/>
                    </a:cubicBezTo>
                    <a:cubicBezTo>
                      <a:pt x="3438" y="279"/>
                      <a:pt x="3450" y="276"/>
                      <a:pt x="3458" y="269"/>
                    </a:cubicBezTo>
                    <a:cubicBezTo>
                      <a:pt x="3466" y="263"/>
                      <a:pt x="3469" y="253"/>
                      <a:pt x="3469" y="24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1" name="Freeform 1223"/>
              <p:cNvSpPr>
                <a:spLocks noEditPoints="1"/>
              </p:cNvSpPr>
              <p:nvPr/>
            </p:nvSpPr>
            <p:spPr bwMode="auto">
              <a:xfrm>
                <a:off x="5941" y="3063"/>
                <a:ext cx="723" cy="190"/>
              </a:xfrm>
              <a:custGeom>
                <a:avLst/>
                <a:gdLst/>
                <a:ahLst/>
                <a:cxnLst>
                  <a:cxn ang="0">
                    <a:pos x="3070" y="203"/>
                  </a:cxn>
                  <a:cxn ang="0">
                    <a:pos x="3153" y="208"/>
                  </a:cxn>
                  <a:cxn ang="0">
                    <a:pos x="3064" y="250"/>
                  </a:cxn>
                  <a:cxn ang="0">
                    <a:pos x="3059" y="0"/>
                  </a:cxn>
                  <a:cxn ang="0">
                    <a:pos x="3057" y="44"/>
                  </a:cxn>
                  <a:cxn ang="0">
                    <a:pos x="199" y="712"/>
                  </a:cxn>
                  <a:cxn ang="0">
                    <a:pos x="62" y="825"/>
                  </a:cxn>
                  <a:cxn ang="0">
                    <a:pos x="0" y="511"/>
                  </a:cxn>
                  <a:cxn ang="0">
                    <a:pos x="53" y="511"/>
                  </a:cxn>
                  <a:cxn ang="0">
                    <a:pos x="219" y="571"/>
                  </a:cxn>
                  <a:cxn ang="0">
                    <a:pos x="90" y="558"/>
                  </a:cxn>
                  <a:cxn ang="0">
                    <a:pos x="156" y="648"/>
                  </a:cxn>
                  <a:cxn ang="0">
                    <a:pos x="357" y="695"/>
                  </a:cxn>
                  <a:cxn ang="0">
                    <a:pos x="467" y="695"/>
                  </a:cxn>
                  <a:cxn ang="0">
                    <a:pos x="410" y="745"/>
                  </a:cxn>
                  <a:cxn ang="0">
                    <a:pos x="326" y="506"/>
                  </a:cxn>
                  <a:cxn ang="0">
                    <a:pos x="407" y="556"/>
                  </a:cxn>
                  <a:cxn ang="0">
                    <a:pos x="691" y="704"/>
                  </a:cxn>
                  <a:cxn ang="0">
                    <a:pos x="516" y="724"/>
                  </a:cxn>
                  <a:cxn ang="0">
                    <a:pos x="528" y="685"/>
                  </a:cxn>
                  <a:cxn ang="0">
                    <a:pos x="629" y="657"/>
                  </a:cxn>
                  <a:cxn ang="0">
                    <a:pos x="544" y="619"/>
                  </a:cxn>
                  <a:cxn ang="0">
                    <a:pos x="625" y="581"/>
                  </a:cxn>
                  <a:cxn ang="0">
                    <a:pos x="532" y="558"/>
                  </a:cxn>
                  <a:cxn ang="0">
                    <a:pos x="533" y="511"/>
                  </a:cxn>
                  <a:cxn ang="0">
                    <a:pos x="688" y="579"/>
                  </a:cxn>
                  <a:cxn ang="0">
                    <a:pos x="699" y="671"/>
                  </a:cxn>
                  <a:cxn ang="0">
                    <a:pos x="778" y="815"/>
                  </a:cxn>
                  <a:cxn ang="0">
                    <a:pos x="750" y="501"/>
                  </a:cxn>
                  <a:cxn ang="0">
                    <a:pos x="890" y="505"/>
                  </a:cxn>
                  <a:cxn ang="0">
                    <a:pos x="1172" y="733"/>
                  </a:cxn>
                  <a:cxn ang="0">
                    <a:pos x="1110" y="733"/>
                  </a:cxn>
                  <a:cxn ang="0">
                    <a:pos x="953" y="746"/>
                  </a:cxn>
                  <a:cxn ang="0">
                    <a:pos x="950" y="689"/>
                  </a:cxn>
                  <a:cxn ang="0">
                    <a:pos x="1027" y="503"/>
                  </a:cxn>
                  <a:cxn ang="0">
                    <a:pos x="1378" y="740"/>
                  </a:cxn>
                  <a:cxn ang="0">
                    <a:pos x="1235" y="511"/>
                  </a:cxn>
                  <a:cxn ang="0">
                    <a:pos x="1298" y="511"/>
                  </a:cxn>
                  <a:cxn ang="0">
                    <a:pos x="1380" y="662"/>
                  </a:cxn>
                  <a:cxn ang="0">
                    <a:pos x="1313" y="699"/>
                  </a:cxn>
                  <a:cxn ang="0">
                    <a:pos x="1625" y="558"/>
                  </a:cxn>
                  <a:cxn ang="0">
                    <a:pos x="1513" y="740"/>
                  </a:cxn>
                  <a:cxn ang="0">
                    <a:pos x="1441" y="529"/>
                  </a:cxn>
                  <a:cxn ang="0">
                    <a:pos x="1634" y="517"/>
                  </a:cxn>
                  <a:cxn ang="0">
                    <a:pos x="1806" y="733"/>
                  </a:cxn>
                  <a:cxn ang="0">
                    <a:pos x="1663" y="641"/>
                  </a:cxn>
                  <a:cxn ang="0">
                    <a:pos x="1774" y="547"/>
                  </a:cxn>
                  <a:cxn ang="0">
                    <a:pos x="1668" y="552"/>
                  </a:cxn>
                  <a:cxn ang="0">
                    <a:pos x="1804" y="502"/>
                  </a:cxn>
                  <a:cxn ang="0">
                    <a:pos x="1729" y="647"/>
                  </a:cxn>
                  <a:cxn ang="0">
                    <a:pos x="2083" y="530"/>
                  </a:cxn>
                  <a:cxn ang="0">
                    <a:pos x="2010" y="740"/>
                  </a:cxn>
                  <a:cxn ang="0">
                    <a:pos x="1899" y="558"/>
                  </a:cxn>
                  <a:cxn ang="0">
                    <a:pos x="1899" y="502"/>
                  </a:cxn>
                  <a:cxn ang="0">
                    <a:pos x="2409" y="740"/>
                  </a:cxn>
                  <a:cxn ang="0">
                    <a:pos x="2355" y="507"/>
                  </a:cxn>
                  <a:cxn ang="0">
                    <a:pos x="2416" y="733"/>
                  </a:cxn>
                  <a:cxn ang="0">
                    <a:pos x="2314" y="694"/>
                  </a:cxn>
                  <a:cxn ang="0">
                    <a:pos x="2122" y="736"/>
                  </a:cxn>
                  <a:cxn ang="0">
                    <a:pos x="2179" y="511"/>
                  </a:cxn>
                  <a:cxn ang="0">
                    <a:pos x="2179" y="626"/>
                  </a:cxn>
                </a:cxnLst>
                <a:rect l="0" t="0" r="r" b="b"/>
                <a:pathLst>
                  <a:path w="3163" h="831">
                    <a:moveTo>
                      <a:pt x="3163" y="119"/>
                    </a:moveTo>
                    <a:cubicBezTo>
                      <a:pt x="3163" y="126"/>
                      <a:pt x="3162" y="132"/>
                      <a:pt x="3158" y="135"/>
                    </a:cubicBezTo>
                    <a:cubicBezTo>
                      <a:pt x="3155" y="139"/>
                      <a:pt x="3150" y="141"/>
                      <a:pt x="3144" y="141"/>
                    </a:cubicBezTo>
                    <a:lnTo>
                      <a:pt x="3009" y="141"/>
                    </a:lnTo>
                    <a:cubicBezTo>
                      <a:pt x="3009" y="150"/>
                      <a:pt x="3011" y="159"/>
                      <a:pt x="3013" y="166"/>
                    </a:cubicBezTo>
                    <a:cubicBezTo>
                      <a:pt x="3015" y="174"/>
                      <a:pt x="3019" y="181"/>
                      <a:pt x="3023" y="186"/>
                    </a:cubicBezTo>
                    <a:cubicBezTo>
                      <a:pt x="3028" y="192"/>
                      <a:pt x="3035" y="196"/>
                      <a:pt x="3042" y="198"/>
                    </a:cubicBezTo>
                    <a:cubicBezTo>
                      <a:pt x="3050" y="201"/>
                      <a:pt x="3059" y="203"/>
                      <a:pt x="3070" y="203"/>
                    </a:cubicBezTo>
                    <a:cubicBezTo>
                      <a:pt x="3081" y="203"/>
                      <a:pt x="3091" y="202"/>
                      <a:pt x="3099" y="200"/>
                    </a:cubicBezTo>
                    <a:cubicBezTo>
                      <a:pt x="3107" y="199"/>
                      <a:pt x="3114" y="197"/>
                      <a:pt x="3120" y="195"/>
                    </a:cubicBezTo>
                    <a:cubicBezTo>
                      <a:pt x="3126" y="193"/>
                      <a:pt x="3131" y="191"/>
                      <a:pt x="3135" y="190"/>
                    </a:cubicBezTo>
                    <a:cubicBezTo>
                      <a:pt x="3139" y="188"/>
                      <a:pt x="3143" y="188"/>
                      <a:pt x="3145" y="188"/>
                    </a:cubicBezTo>
                    <a:cubicBezTo>
                      <a:pt x="3147" y="188"/>
                      <a:pt x="3148" y="188"/>
                      <a:pt x="3149" y="188"/>
                    </a:cubicBezTo>
                    <a:cubicBezTo>
                      <a:pt x="3150" y="189"/>
                      <a:pt x="3151" y="190"/>
                      <a:pt x="3151" y="192"/>
                    </a:cubicBezTo>
                    <a:cubicBezTo>
                      <a:pt x="3152" y="193"/>
                      <a:pt x="3152" y="195"/>
                      <a:pt x="3153" y="198"/>
                    </a:cubicBezTo>
                    <a:cubicBezTo>
                      <a:pt x="3153" y="201"/>
                      <a:pt x="3153" y="204"/>
                      <a:pt x="3153" y="208"/>
                    </a:cubicBezTo>
                    <a:cubicBezTo>
                      <a:pt x="3153" y="212"/>
                      <a:pt x="3153" y="215"/>
                      <a:pt x="3153" y="217"/>
                    </a:cubicBezTo>
                    <a:cubicBezTo>
                      <a:pt x="3153" y="220"/>
                      <a:pt x="3152" y="222"/>
                      <a:pt x="3152" y="224"/>
                    </a:cubicBezTo>
                    <a:cubicBezTo>
                      <a:pt x="3152" y="226"/>
                      <a:pt x="3151" y="227"/>
                      <a:pt x="3151" y="229"/>
                    </a:cubicBezTo>
                    <a:cubicBezTo>
                      <a:pt x="3150" y="230"/>
                      <a:pt x="3149" y="231"/>
                      <a:pt x="3148" y="232"/>
                    </a:cubicBezTo>
                    <a:cubicBezTo>
                      <a:pt x="3147" y="233"/>
                      <a:pt x="3144" y="235"/>
                      <a:pt x="3139" y="237"/>
                    </a:cubicBezTo>
                    <a:cubicBezTo>
                      <a:pt x="3134" y="239"/>
                      <a:pt x="3128" y="241"/>
                      <a:pt x="3121" y="243"/>
                    </a:cubicBezTo>
                    <a:cubicBezTo>
                      <a:pt x="3113" y="245"/>
                      <a:pt x="3105" y="246"/>
                      <a:pt x="3095" y="248"/>
                    </a:cubicBezTo>
                    <a:cubicBezTo>
                      <a:pt x="3086" y="249"/>
                      <a:pt x="3075" y="250"/>
                      <a:pt x="3064" y="250"/>
                    </a:cubicBezTo>
                    <a:cubicBezTo>
                      <a:pt x="3045" y="250"/>
                      <a:pt x="3027" y="247"/>
                      <a:pt x="3013" y="242"/>
                    </a:cubicBezTo>
                    <a:cubicBezTo>
                      <a:pt x="2998" y="237"/>
                      <a:pt x="2985" y="230"/>
                      <a:pt x="2975" y="220"/>
                    </a:cubicBezTo>
                    <a:cubicBezTo>
                      <a:pt x="2965" y="210"/>
                      <a:pt x="2958" y="197"/>
                      <a:pt x="2953" y="182"/>
                    </a:cubicBezTo>
                    <a:cubicBezTo>
                      <a:pt x="2948" y="166"/>
                      <a:pt x="2946" y="148"/>
                      <a:pt x="2946" y="127"/>
                    </a:cubicBezTo>
                    <a:cubicBezTo>
                      <a:pt x="2946" y="108"/>
                      <a:pt x="2948" y="90"/>
                      <a:pt x="2954" y="74"/>
                    </a:cubicBezTo>
                    <a:cubicBezTo>
                      <a:pt x="2959" y="58"/>
                      <a:pt x="2966" y="45"/>
                      <a:pt x="2976" y="34"/>
                    </a:cubicBezTo>
                    <a:cubicBezTo>
                      <a:pt x="2986" y="23"/>
                      <a:pt x="2998" y="14"/>
                      <a:pt x="3012" y="9"/>
                    </a:cubicBezTo>
                    <a:cubicBezTo>
                      <a:pt x="3026" y="3"/>
                      <a:pt x="3041" y="0"/>
                      <a:pt x="3059" y="0"/>
                    </a:cubicBezTo>
                    <a:cubicBezTo>
                      <a:pt x="3077" y="0"/>
                      <a:pt x="3093" y="3"/>
                      <a:pt x="3106" y="8"/>
                    </a:cubicBezTo>
                    <a:cubicBezTo>
                      <a:pt x="3120" y="14"/>
                      <a:pt x="3130" y="21"/>
                      <a:pt x="3139" y="31"/>
                    </a:cubicBezTo>
                    <a:cubicBezTo>
                      <a:pt x="3147" y="41"/>
                      <a:pt x="3154" y="52"/>
                      <a:pt x="3158" y="65"/>
                    </a:cubicBezTo>
                    <a:cubicBezTo>
                      <a:pt x="3161" y="79"/>
                      <a:pt x="3163" y="93"/>
                      <a:pt x="3163" y="108"/>
                    </a:cubicBezTo>
                    <a:lnTo>
                      <a:pt x="3163" y="119"/>
                    </a:lnTo>
                    <a:close/>
                    <a:moveTo>
                      <a:pt x="3103" y="101"/>
                    </a:moveTo>
                    <a:cubicBezTo>
                      <a:pt x="3103" y="83"/>
                      <a:pt x="3100" y="69"/>
                      <a:pt x="3092" y="59"/>
                    </a:cubicBezTo>
                    <a:cubicBezTo>
                      <a:pt x="3085" y="49"/>
                      <a:pt x="3073" y="44"/>
                      <a:pt x="3057" y="44"/>
                    </a:cubicBezTo>
                    <a:cubicBezTo>
                      <a:pt x="3049" y="44"/>
                      <a:pt x="3043" y="46"/>
                      <a:pt x="3037" y="49"/>
                    </a:cubicBezTo>
                    <a:cubicBezTo>
                      <a:pt x="3031" y="52"/>
                      <a:pt x="3026" y="56"/>
                      <a:pt x="3022" y="61"/>
                    </a:cubicBezTo>
                    <a:cubicBezTo>
                      <a:pt x="3018" y="66"/>
                      <a:pt x="3015" y="72"/>
                      <a:pt x="3013" y="79"/>
                    </a:cubicBezTo>
                    <a:cubicBezTo>
                      <a:pt x="3011" y="85"/>
                      <a:pt x="3010" y="93"/>
                      <a:pt x="3009" y="101"/>
                    </a:cubicBezTo>
                    <a:lnTo>
                      <a:pt x="3103" y="101"/>
                    </a:lnTo>
                    <a:close/>
                    <a:moveTo>
                      <a:pt x="224" y="619"/>
                    </a:moveTo>
                    <a:cubicBezTo>
                      <a:pt x="224" y="638"/>
                      <a:pt x="221" y="656"/>
                      <a:pt x="217" y="672"/>
                    </a:cubicBezTo>
                    <a:cubicBezTo>
                      <a:pt x="213" y="688"/>
                      <a:pt x="207" y="701"/>
                      <a:pt x="199" y="712"/>
                    </a:cubicBezTo>
                    <a:cubicBezTo>
                      <a:pt x="191" y="723"/>
                      <a:pt x="180" y="732"/>
                      <a:pt x="168" y="738"/>
                    </a:cubicBezTo>
                    <a:cubicBezTo>
                      <a:pt x="156" y="744"/>
                      <a:pt x="143" y="747"/>
                      <a:pt x="127" y="747"/>
                    </a:cubicBezTo>
                    <a:cubicBezTo>
                      <a:pt x="120" y="747"/>
                      <a:pt x="115" y="746"/>
                      <a:pt x="109" y="745"/>
                    </a:cubicBezTo>
                    <a:cubicBezTo>
                      <a:pt x="104" y="744"/>
                      <a:pt x="99" y="742"/>
                      <a:pt x="93" y="739"/>
                    </a:cubicBezTo>
                    <a:cubicBezTo>
                      <a:pt x="88" y="737"/>
                      <a:pt x="83" y="733"/>
                      <a:pt x="78" y="730"/>
                    </a:cubicBezTo>
                    <a:cubicBezTo>
                      <a:pt x="73" y="726"/>
                      <a:pt x="68" y="721"/>
                      <a:pt x="63" y="716"/>
                    </a:cubicBezTo>
                    <a:lnTo>
                      <a:pt x="63" y="820"/>
                    </a:lnTo>
                    <a:cubicBezTo>
                      <a:pt x="63" y="822"/>
                      <a:pt x="63" y="824"/>
                      <a:pt x="62" y="825"/>
                    </a:cubicBezTo>
                    <a:cubicBezTo>
                      <a:pt x="61" y="826"/>
                      <a:pt x="59" y="827"/>
                      <a:pt x="57" y="828"/>
                    </a:cubicBezTo>
                    <a:cubicBezTo>
                      <a:pt x="54" y="829"/>
                      <a:pt x="51" y="830"/>
                      <a:pt x="47" y="830"/>
                    </a:cubicBezTo>
                    <a:cubicBezTo>
                      <a:pt x="43" y="831"/>
                      <a:pt x="38" y="831"/>
                      <a:pt x="32" y="831"/>
                    </a:cubicBezTo>
                    <a:cubicBezTo>
                      <a:pt x="26" y="831"/>
                      <a:pt x="21" y="831"/>
                      <a:pt x="17" y="830"/>
                    </a:cubicBezTo>
                    <a:cubicBezTo>
                      <a:pt x="13" y="830"/>
                      <a:pt x="9" y="829"/>
                      <a:pt x="7" y="828"/>
                    </a:cubicBezTo>
                    <a:cubicBezTo>
                      <a:pt x="5" y="827"/>
                      <a:pt x="3" y="826"/>
                      <a:pt x="2" y="825"/>
                    </a:cubicBezTo>
                    <a:cubicBezTo>
                      <a:pt x="1" y="824"/>
                      <a:pt x="0" y="822"/>
                      <a:pt x="0" y="820"/>
                    </a:cubicBezTo>
                    <a:lnTo>
                      <a:pt x="0" y="511"/>
                    </a:lnTo>
                    <a:cubicBezTo>
                      <a:pt x="0" y="509"/>
                      <a:pt x="1" y="508"/>
                      <a:pt x="2" y="507"/>
                    </a:cubicBezTo>
                    <a:cubicBezTo>
                      <a:pt x="3" y="505"/>
                      <a:pt x="4" y="504"/>
                      <a:pt x="6" y="504"/>
                    </a:cubicBezTo>
                    <a:cubicBezTo>
                      <a:pt x="8" y="503"/>
                      <a:pt x="11" y="502"/>
                      <a:pt x="14" y="502"/>
                    </a:cubicBezTo>
                    <a:cubicBezTo>
                      <a:pt x="18" y="501"/>
                      <a:pt x="22" y="501"/>
                      <a:pt x="27" y="501"/>
                    </a:cubicBezTo>
                    <a:cubicBezTo>
                      <a:pt x="32" y="501"/>
                      <a:pt x="36" y="501"/>
                      <a:pt x="40" y="502"/>
                    </a:cubicBezTo>
                    <a:cubicBezTo>
                      <a:pt x="43" y="502"/>
                      <a:pt x="46" y="503"/>
                      <a:pt x="48" y="504"/>
                    </a:cubicBezTo>
                    <a:cubicBezTo>
                      <a:pt x="50" y="504"/>
                      <a:pt x="51" y="505"/>
                      <a:pt x="52" y="507"/>
                    </a:cubicBezTo>
                    <a:cubicBezTo>
                      <a:pt x="53" y="508"/>
                      <a:pt x="53" y="509"/>
                      <a:pt x="53" y="511"/>
                    </a:cubicBezTo>
                    <a:lnTo>
                      <a:pt x="53" y="537"/>
                    </a:lnTo>
                    <a:cubicBezTo>
                      <a:pt x="60" y="530"/>
                      <a:pt x="66" y="525"/>
                      <a:pt x="72" y="520"/>
                    </a:cubicBezTo>
                    <a:cubicBezTo>
                      <a:pt x="79" y="515"/>
                      <a:pt x="85" y="510"/>
                      <a:pt x="91" y="507"/>
                    </a:cubicBezTo>
                    <a:cubicBezTo>
                      <a:pt x="98" y="504"/>
                      <a:pt x="105" y="501"/>
                      <a:pt x="111" y="499"/>
                    </a:cubicBezTo>
                    <a:cubicBezTo>
                      <a:pt x="118" y="498"/>
                      <a:pt x="126" y="497"/>
                      <a:pt x="133" y="497"/>
                    </a:cubicBezTo>
                    <a:cubicBezTo>
                      <a:pt x="150" y="497"/>
                      <a:pt x="163" y="500"/>
                      <a:pt x="175" y="506"/>
                    </a:cubicBezTo>
                    <a:cubicBezTo>
                      <a:pt x="186" y="513"/>
                      <a:pt x="196" y="521"/>
                      <a:pt x="203" y="533"/>
                    </a:cubicBezTo>
                    <a:cubicBezTo>
                      <a:pt x="210" y="544"/>
                      <a:pt x="215" y="557"/>
                      <a:pt x="219" y="571"/>
                    </a:cubicBezTo>
                    <a:cubicBezTo>
                      <a:pt x="222" y="586"/>
                      <a:pt x="224" y="602"/>
                      <a:pt x="224" y="619"/>
                    </a:cubicBezTo>
                    <a:close/>
                    <a:moveTo>
                      <a:pt x="158" y="623"/>
                    </a:moveTo>
                    <a:cubicBezTo>
                      <a:pt x="158" y="614"/>
                      <a:pt x="158" y="605"/>
                      <a:pt x="156" y="596"/>
                    </a:cubicBezTo>
                    <a:cubicBezTo>
                      <a:pt x="155" y="587"/>
                      <a:pt x="153" y="579"/>
                      <a:pt x="149" y="573"/>
                    </a:cubicBezTo>
                    <a:cubicBezTo>
                      <a:pt x="146" y="566"/>
                      <a:pt x="141" y="560"/>
                      <a:pt x="136" y="556"/>
                    </a:cubicBezTo>
                    <a:cubicBezTo>
                      <a:pt x="130" y="552"/>
                      <a:pt x="123" y="550"/>
                      <a:pt x="115" y="550"/>
                    </a:cubicBezTo>
                    <a:cubicBezTo>
                      <a:pt x="111" y="550"/>
                      <a:pt x="107" y="551"/>
                      <a:pt x="103" y="552"/>
                    </a:cubicBezTo>
                    <a:cubicBezTo>
                      <a:pt x="99" y="553"/>
                      <a:pt x="95" y="555"/>
                      <a:pt x="90" y="558"/>
                    </a:cubicBezTo>
                    <a:cubicBezTo>
                      <a:pt x="86" y="561"/>
                      <a:pt x="82" y="565"/>
                      <a:pt x="77" y="569"/>
                    </a:cubicBezTo>
                    <a:cubicBezTo>
                      <a:pt x="73" y="574"/>
                      <a:pt x="68" y="579"/>
                      <a:pt x="63" y="586"/>
                    </a:cubicBezTo>
                    <a:lnTo>
                      <a:pt x="63" y="659"/>
                    </a:lnTo>
                    <a:cubicBezTo>
                      <a:pt x="72" y="670"/>
                      <a:pt x="80" y="678"/>
                      <a:pt x="88" y="684"/>
                    </a:cubicBezTo>
                    <a:cubicBezTo>
                      <a:pt x="96" y="691"/>
                      <a:pt x="104" y="694"/>
                      <a:pt x="113" y="694"/>
                    </a:cubicBezTo>
                    <a:cubicBezTo>
                      <a:pt x="121" y="694"/>
                      <a:pt x="128" y="692"/>
                      <a:pt x="134" y="687"/>
                    </a:cubicBezTo>
                    <a:cubicBezTo>
                      <a:pt x="139" y="683"/>
                      <a:pt x="144" y="678"/>
                      <a:pt x="148" y="671"/>
                    </a:cubicBezTo>
                    <a:cubicBezTo>
                      <a:pt x="151" y="664"/>
                      <a:pt x="154" y="657"/>
                      <a:pt x="156" y="648"/>
                    </a:cubicBezTo>
                    <a:cubicBezTo>
                      <a:pt x="158" y="640"/>
                      <a:pt x="158" y="631"/>
                      <a:pt x="158" y="623"/>
                    </a:cubicBezTo>
                    <a:close/>
                    <a:moveTo>
                      <a:pt x="478" y="615"/>
                    </a:moveTo>
                    <a:cubicBezTo>
                      <a:pt x="478" y="623"/>
                      <a:pt x="477" y="629"/>
                      <a:pt x="473" y="632"/>
                    </a:cubicBezTo>
                    <a:cubicBezTo>
                      <a:pt x="470" y="636"/>
                      <a:pt x="465" y="638"/>
                      <a:pt x="459" y="638"/>
                    </a:cubicBezTo>
                    <a:lnTo>
                      <a:pt x="324" y="638"/>
                    </a:lnTo>
                    <a:cubicBezTo>
                      <a:pt x="324" y="647"/>
                      <a:pt x="325" y="656"/>
                      <a:pt x="328" y="663"/>
                    </a:cubicBezTo>
                    <a:cubicBezTo>
                      <a:pt x="330" y="671"/>
                      <a:pt x="333" y="678"/>
                      <a:pt x="338" y="683"/>
                    </a:cubicBezTo>
                    <a:cubicBezTo>
                      <a:pt x="343" y="688"/>
                      <a:pt x="349" y="693"/>
                      <a:pt x="357" y="695"/>
                    </a:cubicBezTo>
                    <a:cubicBezTo>
                      <a:pt x="365" y="698"/>
                      <a:pt x="374" y="700"/>
                      <a:pt x="385" y="700"/>
                    </a:cubicBezTo>
                    <a:cubicBezTo>
                      <a:pt x="396" y="700"/>
                      <a:pt x="405" y="699"/>
                      <a:pt x="414" y="697"/>
                    </a:cubicBezTo>
                    <a:cubicBezTo>
                      <a:pt x="422" y="696"/>
                      <a:pt x="429" y="694"/>
                      <a:pt x="435" y="692"/>
                    </a:cubicBezTo>
                    <a:cubicBezTo>
                      <a:pt x="441" y="690"/>
                      <a:pt x="446" y="688"/>
                      <a:pt x="450" y="687"/>
                    </a:cubicBezTo>
                    <a:cubicBezTo>
                      <a:pt x="454" y="685"/>
                      <a:pt x="457" y="684"/>
                      <a:pt x="460" y="684"/>
                    </a:cubicBezTo>
                    <a:cubicBezTo>
                      <a:pt x="461" y="684"/>
                      <a:pt x="463" y="685"/>
                      <a:pt x="464" y="685"/>
                    </a:cubicBezTo>
                    <a:cubicBezTo>
                      <a:pt x="465" y="686"/>
                      <a:pt x="465" y="687"/>
                      <a:pt x="466" y="688"/>
                    </a:cubicBezTo>
                    <a:cubicBezTo>
                      <a:pt x="467" y="690"/>
                      <a:pt x="467" y="692"/>
                      <a:pt x="467" y="695"/>
                    </a:cubicBezTo>
                    <a:cubicBezTo>
                      <a:pt x="468" y="697"/>
                      <a:pt x="468" y="701"/>
                      <a:pt x="468" y="705"/>
                    </a:cubicBezTo>
                    <a:cubicBezTo>
                      <a:pt x="468" y="709"/>
                      <a:pt x="468" y="712"/>
                      <a:pt x="468" y="714"/>
                    </a:cubicBezTo>
                    <a:cubicBezTo>
                      <a:pt x="467" y="717"/>
                      <a:pt x="467" y="719"/>
                      <a:pt x="467" y="721"/>
                    </a:cubicBezTo>
                    <a:cubicBezTo>
                      <a:pt x="467" y="723"/>
                      <a:pt x="466" y="724"/>
                      <a:pt x="465" y="726"/>
                    </a:cubicBezTo>
                    <a:cubicBezTo>
                      <a:pt x="465" y="727"/>
                      <a:pt x="464" y="728"/>
                      <a:pt x="463" y="729"/>
                    </a:cubicBezTo>
                    <a:cubicBezTo>
                      <a:pt x="462" y="730"/>
                      <a:pt x="459" y="732"/>
                      <a:pt x="454" y="734"/>
                    </a:cubicBezTo>
                    <a:cubicBezTo>
                      <a:pt x="449" y="736"/>
                      <a:pt x="443" y="738"/>
                      <a:pt x="435" y="740"/>
                    </a:cubicBezTo>
                    <a:cubicBezTo>
                      <a:pt x="428" y="742"/>
                      <a:pt x="420" y="743"/>
                      <a:pt x="410" y="745"/>
                    </a:cubicBezTo>
                    <a:cubicBezTo>
                      <a:pt x="400" y="746"/>
                      <a:pt x="390" y="747"/>
                      <a:pt x="379" y="747"/>
                    </a:cubicBezTo>
                    <a:cubicBezTo>
                      <a:pt x="359" y="747"/>
                      <a:pt x="342" y="744"/>
                      <a:pt x="327" y="739"/>
                    </a:cubicBezTo>
                    <a:cubicBezTo>
                      <a:pt x="313" y="734"/>
                      <a:pt x="300" y="727"/>
                      <a:pt x="290" y="717"/>
                    </a:cubicBezTo>
                    <a:cubicBezTo>
                      <a:pt x="280" y="707"/>
                      <a:pt x="273" y="694"/>
                      <a:pt x="268" y="678"/>
                    </a:cubicBezTo>
                    <a:cubicBezTo>
                      <a:pt x="263" y="663"/>
                      <a:pt x="261" y="645"/>
                      <a:pt x="261" y="624"/>
                    </a:cubicBezTo>
                    <a:cubicBezTo>
                      <a:pt x="261" y="605"/>
                      <a:pt x="263" y="587"/>
                      <a:pt x="268" y="571"/>
                    </a:cubicBezTo>
                    <a:cubicBezTo>
                      <a:pt x="273" y="555"/>
                      <a:pt x="281" y="542"/>
                      <a:pt x="291" y="531"/>
                    </a:cubicBezTo>
                    <a:cubicBezTo>
                      <a:pt x="300" y="520"/>
                      <a:pt x="312" y="511"/>
                      <a:pt x="326" y="506"/>
                    </a:cubicBezTo>
                    <a:cubicBezTo>
                      <a:pt x="340" y="500"/>
                      <a:pt x="356" y="497"/>
                      <a:pt x="374" y="497"/>
                    </a:cubicBezTo>
                    <a:cubicBezTo>
                      <a:pt x="392" y="497"/>
                      <a:pt x="408" y="500"/>
                      <a:pt x="421" y="505"/>
                    </a:cubicBezTo>
                    <a:cubicBezTo>
                      <a:pt x="434" y="510"/>
                      <a:pt x="445" y="518"/>
                      <a:pt x="454" y="528"/>
                    </a:cubicBezTo>
                    <a:cubicBezTo>
                      <a:pt x="462" y="537"/>
                      <a:pt x="468" y="549"/>
                      <a:pt x="472" y="562"/>
                    </a:cubicBezTo>
                    <a:cubicBezTo>
                      <a:pt x="476" y="575"/>
                      <a:pt x="478" y="590"/>
                      <a:pt x="478" y="605"/>
                    </a:cubicBezTo>
                    <a:lnTo>
                      <a:pt x="478" y="615"/>
                    </a:lnTo>
                    <a:close/>
                    <a:moveTo>
                      <a:pt x="418" y="597"/>
                    </a:moveTo>
                    <a:cubicBezTo>
                      <a:pt x="418" y="580"/>
                      <a:pt x="415" y="566"/>
                      <a:pt x="407" y="556"/>
                    </a:cubicBezTo>
                    <a:cubicBezTo>
                      <a:pt x="400" y="546"/>
                      <a:pt x="388" y="541"/>
                      <a:pt x="372" y="541"/>
                    </a:cubicBezTo>
                    <a:cubicBezTo>
                      <a:pt x="364" y="541"/>
                      <a:pt x="357" y="543"/>
                      <a:pt x="351" y="545"/>
                    </a:cubicBezTo>
                    <a:cubicBezTo>
                      <a:pt x="346" y="548"/>
                      <a:pt x="341" y="553"/>
                      <a:pt x="337" y="558"/>
                    </a:cubicBezTo>
                    <a:cubicBezTo>
                      <a:pt x="333" y="563"/>
                      <a:pt x="330" y="569"/>
                      <a:pt x="328" y="575"/>
                    </a:cubicBezTo>
                    <a:cubicBezTo>
                      <a:pt x="326" y="582"/>
                      <a:pt x="325" y="590"/>
                      <a:pt x="324" y="597"/>
                    </a:cubicBezTo>
                    <a:lnTo>
                      <a:pt x="418" y="597"/>
                    </a:lnTo>
                    <a:close/>
                    <a:moveTo>
                      <a:pt x="699" y="671"/>
                    </a:moveTo>
                    <a:cubicBezTo>
                      <a:pt x="699" y="683"/>
                      <a:pt x="697" y="694"/>
                      <a:pt x="691" y="704"/>
                    </a:cubicBezTo>
                    <a:cubicBezTo>
                      <a:pt x="686" y="713"/>
                      <a:pt x="679" y="721"/>
                      <a:pt x="670" y="727"/>
                    </a:cubicBezTo>
                    <a:cubicBezTo>
                      <a:pt x="661" y="734"/>
                      <a:pt x="649" y="739"/>
                      <a:pt x="636" y="742"/>
                    </a:cubicBezTo>
                    <a:cubicBezTo>
                      <a:pt x="623" y="745"/>
                      <a:pt x="608" y="747"/>
                      <a:pt x="592" y="747"/>
                    </a:cubicBezTo>
                    <a:cubicBezTo>
                      <a:pt x="583" y="747"/>
                      <a:pt x="575" y="746"/>
                      <a:pt x="567" y="745"/>
                    </a:cubicBezTo>
                    <a:cubicBezTo>
                      <a:pt x="560" y="744"/>
                      <a:pt x="553" y="742"/>
                      <a:pt x="546" y="740"/>
                    </a:cubicBezTo>
                    <a:cubicBezTo>
                      <a:pt x="539" y="738"/>
                      <a:pt x="534" y="736"/>
                      <a:pt x="530" y="734"/>
                    </a:cubicBezTo>
                    <a:cubicBezTo>
                      <a:pt x="525" y="732"/>
                      <a:pt x="522" y="730"/>
                      <a:pt x="520" y="729"/>
                    </a:cubicBezTo>
                    <a:cubicBezTo>
                      <a:pt x="519" y="727"/>
                      <a:pt x="517" y="726"/>
                      <a:pt x="516" y="724"/>
                    </a:cubicBezTo>
                    <a:cubicBezTo>
                      <a:pt x="515" y="722"/>
                      <a:pt x="515" y="721"/>
                      <a:pt x="514" y="719"/>
                    </a:cubicBezTo>
                    <a:cubicBezTo>
                      <a:pt x="514" y="717"/>
                      <a:pt x="513" y="714"/>
                      <a:pt x="513" y="711"/>
                    </a:cubicBezTo>
                    <a:cubicBezTo>
                      <a:pt x="513" y="708"/>
                      <a:pt x="513" y="705"/>
                      <a:pt x="513" y="701"/>
                    </a:cubicBezTo>
                    <a:cubicBezTo>
                      <a:pt x="513" y="697"/>
                      <a:pt x="513" y="694"/>
                      <a:pt x="513" y="692"/>
                    </a:cubicBezTo>
                    <a:cubicBezTo>
                      <a:pt x="514" y="689"/>
                      <a:pt x="514" y="687"/>
                      <a:pt x="515" y="686"/>
                    </a:cubicBezTo>
                    <a:cubicBezTo>
                      <a:pt x="515" y="684"/>
                      <a:pt x="516" y="683"/>
                      <a:pt x="517" y="683"/>
                    </a:cubicBezTo>
                    <a:cubicBezTo>
                      <a:pt x="518" y="682"/>
                      <a:pt x="519" y="682"/>
                      <a:pt x="520" y="682"/>
                    </a:cubicBezTo>
                    <a:cubicBezTo>
                      <a:pt x="522" y="682"/>
                      <a:pt x="525" y="683"/>
                      <a:pt x="528" y="685"/>
                    </a:cubicBezTo>
                    <a:cubicBezTo>
                      <a:pt x="531" y="687"/>
                      <a:pt x="536" y="689"/>
                      <a:pt x="541" y="692"/>
                    </a:cubicBezTo>
                    <a:cubicBezTo>
                      <a:pt x="546" y="694"/>
                      <a:pt x="553" y="696"/>
                      <a:pt x="560" y="699"/>
                    </a:cubicBezTo>
                    <a:cubicBezTo>
                      <a:pt x="568" y="701"/>
                      <a:pt x="577" y="702"/>
                      <a:pt x="587" y="702"/>
                    </a:cubicBezTo>
                    <a:cubicBezTo>
                      <a:pt x="595" y="702"/>
                      <a:pt x="601" y="701"/>
                      <a:pt x="607" y="700"/>
                    </a:cubicBezTo>
                    <a:cubicBezTo>
                      <a:pt x="612" y="698"/>
                      <a:pt x="617" y="696"/>
                      <a:pt x="621" y="693"/>
                    </a:cubicBezTo>
                    <a:cubicBezTo>
                      <a:pt x="624" y="690"/>
                      <a:pt x="627" y="687"/>
                      <a:pt x="629" y="683"/>
                    </a:cubicBezTo>
                    <a:cubicBezTo>
                      <a:pt x="631" y="679"/>
                      <a:pt x="632" y="675"/>
                      <a:pt x="632" y="670"/>
                    </a:cubicBezTo>
                    <a:cubicBezTo>
                      <a:pt x="632" y="665"/>
                      <a:pt x="631" y="661"/>
                      <a:pt x="629" y="657"/>
                    </a:cubicBezTo>
                    <a:cubicBezTo>
                      <a:pt x="627" y="654"/>
                      <a:pt x="624" y="651"/>
                      <a:pt x="620" y="648"/>
                    </a:cubicBezTo>
                    <a:cubicBezTo>
                      <a:pt x="616" y="645"/>
                      <a:pt x="610" y="644"/>
                      <a:pt x="603" y="642"/>
                    </a:cubicBezTo>
                    <a:cubicBezTo>
                      <a:pt x="597" y="641"/>
                      <a:pt x="588" y="640"/>
                      <a:pt x="578" y="640"/>
                    </a:cubicBezTo>
                    <a:lnTo>
                      <a:pt x="554" y="640"/>
                    </a:lnTo>
                    <a:cubicBezTo>
                      <a:pt x="552" y="640"/>
                      <a:pt x="550" y="640"/>
                      <a:pt x="549" y="639"/>
                    </a:cubicBezTo>
                    <a:cubicBezTo>
                      <a:pt x="548" y="638"/>
                      <a:pt x="547" y="637"/>
                      <a:pt x="546" y="635"/>
                    </a:cubicBezTo>
                    <a:cubicBezTo>
                      <a:pt x="545" y="634"/>
                      <a:pt x="544" y="632"/>
                      <a:pt x="544" y="629"/>
                    </a:cubicBezTo>
                    <a:cubicBezTo>
                      <a:pt x="544" y="626"/>
                      <a:pt x="544" y="623"/>
                      <a:pt x="544" y="619"/>
                    </a:cubicBezTo>
                    <a:cubicBezTo>
                      <a:pt x="544" y="615"/>
                      <a:pt x="544" y="612"/>
                      <a:pt x="544" y="609"/>
                    </a:cubicBezTo>
                    <a:cubicBezTo>
                      <a:pt x="545" y="606"/>
                      <a:pt x="545" y="604"/>
                      <a:pt x="546" y="603"/>
                    </a:cubicBezTo>
                    <a:cubicBezTo>
                      <a:pt x="547" y="601"/>
                      <a:pt x="548" y="600"/>
                      <a:pt x="549" y="600"/>
                    </a:cubicBezTo>
                    <a:cubicBezTo>
                      <a:pt x="550" y="599"/>
                      <a:pt x="552" y="599"/>
                      <a:pt x="554" y="599"/>
                    </a:cubicBezTo>
                    <a:lnTo>
                      <a:pt x="577" y="599"/>
                    </a:lnTo>
                    <a:cubicBezTo>
                      <a:pt x="586" y="599"/>
                      <a:pt x="593" y="598"/>
                      <a:pt x="600" y="597"/>
                    </a:cubicBezTo>
                    <a:cubicBezTo>
                      <a:pt x="606" y="595"/>
                      <a:pt x="612" y="593"/>
                      <a:pt x="616" y="591"/>
                    </a:cubicBezTo>
                    <a:cubicBezTo>
                      <a:pt x="620" y="588"/>
                      <a:pt x="623" y="585"/>
                      <a:pt x="625" y="581"/>
                    </a:cubicBezTo>
                    <a:cubicBezTo>
                      <a:pt x="627" y="578"/>
                      <a:pt x="628" y="573"/>
                      <a:pt x="628" y="568"/>
                    </a:cubicBezTo>
                    <a:cubicBezTo>
                      <a:pt x="628" y="564"/>
                      <a:pt x="627" y="560"/>
                      <a:pt x="625" y="557"/>
                    </a:cubicBezTo>
                    <a:cubicBezTo>
                      <a:pt x="623" y="553"/>
                      <a:pt x="620" y="551"/>
                      <a:pt x="617" y="548"/>
                    </a:cubicBezTo>
                    <a:cubicBezTo>
                      <a:pt x="614" y="546"/>
                      <a:pt x="610" y="544"/>
                      <a:pt x="605" y="543"/>
                    </a:cubicBezTo>
                    <a:cubicBezTo>
                      <a:pt x="600" y="542"/>
                      <a:pt x="595" y="542"/>
                      <a:pt x="590" y="542"/>
                    </a:cubicBezTo>
                    <a:cubicBezTo>
                      <a:pt x="580" y="542"/>
                      <a:pt x="572" y="543"/>
                      <a:pt x="564" y="545"/>
                    </a:cubicBezTo>
                    <a:cubicBezTo>
                      <a:pt x="557" y="547"/>
                      <a:pt x="551" y="549"/>
                      <a:pt x="545" y="552"/>
                    </a:cubicBezTo>
                    <a:cubicBezTo>
                      <a:pt x="540" y="554"/>
                      <a:pt x="535" y="556"/>
                      <a:pt x="532" y="558"/>
                    </a:cubicBezTo>
                    <a:cubicBezTo>
                      <a:pt x="528" y="560"/>
                      <a:pt x="525" y="561"/>
                      <a:pt x="524" y="561"/>
                    </a:cubicBezTo>
                    <a:cubicBezTo>
                      <a:pt x="522" y="561"/>
                      <a:pt x="522" y="561"/>
                      <a:pt x="521" y="561"/>
                    </a:cubicBezTo>
                    <a:cubicBezTo>
                      <a:pt x="520" y="560"/>
                      <a:pt x="519" y="559"/>
                      <a:pt x="518" y="558"/>
                    </a:cubicBezTo>
                    <a:cubicBezTo>
                      <a:pt x="518" y="557"/>
                      <a:pt x="517" y="555"/>
                      <a:pt x="517" y="552"/>
                    </a:cubicBezTo>
                    <a:cubicBezTo>
                      <a:pt x="516" y="550"/>
                      <a:pt x="516" y="546"/>
                      <a:pt x="516" y="542"/>
                    </a:cubicBezTo>
                    <a:cubicBezTo>
                      <a:pt x="516" y="536"/>
                      <a:pt x="516" y="531"/>
                      <a:pt x="517" y="527"/>
                    </a:cubicBezTo>
                    <a:cubicBezTo>
                      <a:pt x="518" y="523"/>
                      <a:pt x="520" y="520"/>
                      <a:pt x="522" y="518"/>
                    </a:cubicBezTo>
                    <a:cubicBezTo>
                      <a:pt x="524" y="516"/>
                      <a:pt x="528" y="513"/>
                      <a:pt x="533" y="511"/>
                    </a:cubicBezTo>
                    <a:cubicBezTo>
                      <a:pt x="538" y="508"/>
                      <a:pt x="544" y="506"/>
                      <a:pt x="551" y="504"/>
                    </a:cubicBezTo>
                    <a:cubicBezTo>
                      <a:pt x="558" y="502"/>
                      <a:pt x="566" y="500"/>
                      <a:pt x="574" y="499"/>
                    </a:cubicBezTo>
                    <a:cubicBezTo>
                      <a:pt x="583" y="497"/>
                      <a:pt x="591" y="497"/>
                      <a:pt x="600" y="497"/>
                    </a:cubicBezTo>
                    <a:cubicBezTo>
                      <a:pt x="614" y="497"/>
                      <a:pt x="626" y="498"/>
                      <a:pt x="637" y="501"/>
                    </a:cubicBezTo>
                    <a:cubicBezTo>
                      <a:pt x="649" y="503"/>
                      <a:pt x="658" y="508"/>
                      <a:pt x="666" y="513"/>
                    </a:cubicBezTo>
                    <a:cubicBezTo>
                      <a:pt x="674" y="518"/>
                      <a:pt x="680" y="525"/>
                      <a:pt x="684" y="533"/>
                    </a:cubicBezTo>
                    <a:cubicBezTo>
                      <a:pt x="688" y="541"/>
                      <a:pt x="690" y="550"/>
                      <a:pt x="690" y="560"/>
                    </a:cubicBezTo>
                    <a:cubicBezTo>
                      <a:pt x="690" y="567"/>
                      <a:pt x="689" y="573"/>
                      <a:pt x="688" y="579"/>
                    </a:cubicBezTo>
                    <a:cubicBezTo>
                      <a:pt x="685" y="584"/>
                      <a:pt x="683" y="590"/>
                      <a:pt x="679" y="594"/>
                    </a:cubicBezTo>
                    <a:cubicBezTo>
                      <a:pt x="675" y="599"/>
                      <a:pt x="671" y="603"/>
                      <a:pt x="666" y="607"/>
                    </a:cubicBezTo>
                    <a:cubicBezTo>
                      <a:pt x="661" y="611"/>
                      <a:pt x="655" y="613"/>
                      <a:pt x="648" y="615"/>
                    </a:cubicBezTo>
                    <a:lnTo>
                      <a:pt x="647" y="616"/>
                    </a:lnTo>
                    <a:cubicBezTo>
                      <a:pt x="655" y="617"/>
                      <a:pt x="661" y="619"/>
                      <a:pt x="667" y="622"/>
                    </a:cubicBezTo>
                    <a:cubicBezTo>
                      <a:pt x="674" y="625"/>
                      <a:pt x="679" y="629"/>
                      <a:pt x="684" y="634"/>
                    </a:cubicBezTo>
                    <a:cubicBezTo>
                      <a:pt x="689" y="639"/>
                      <a:pt x="692" y="644"/>
                      <a:pt x="695" y="650"/>
                    </a:cubicBezTo>
                    <a:cubicBezTo>
                      <a:pt x="698" y="657"/>
                      <a:pt x="699" y="664"/>
                      <a:pt x="699" y="671"/>
                    </a:cubicBezTo>
                    <a:close/>
                    <a:moveTo>
                      <a:pt x="873" y="741"/>
                    </a:moveTo>
                    <a:lnTo>
                      <a:pt x="846" y="820"/>
                    </a:lnTo>
                    <a:cubicBezTo>
                      <a:pt x="845" y="824"/>
                      <a:pt x="840" y="827"/>
                      <a:pt x="834" y="828"/>
                    </a:cubicBezTo>
                    <a:cubicBezTo>
                      <a:pt x="827" y="830"/>
                      <a:pt x="818" y="831"/>
                      <a:pt x="805" y="831"/>
                    </a:cubicBezTo>
                    <a:cubicBezTo>
                      <a:pt x="798" y="831"/>
                      <a:pt x="793" y="831"/>
                      <a:pt x="789" y="830"/>
                    </a:cubicBezTo>
                    <a:cubicBezTo>
                      <a:pt x="785" y="830"/>
                      <a:pt x="782" y="829"/>
                      <a:pt x="780" y="828"/>
                    </a:cubicBezTo>
                    <a:cubicBezTo>
                      <a:pt x="778" y="826"/>
                      <a:pt x="777" y="824"/>
                      <a:pt x="777" y="823"/>
                    </a:cubicBezTo>
                    <a:cubicBezTo>
                      <a:pt x="777" y="820"/>
                      <a:pt x="777" y="818"/>
                      <a:pt x="778" y="815"/>
                    </a:cubicBezTo>
                    <a:lnTo>
                      <a:pt x="808" y="741"/>
                    </a:lnTo>
                    <a:cubicBezTo>
                      <a:pt x="806" y="740"/>
                      <a:pt x="804" y="738"/>
                      <a:pt x="802" y="736"/>
                    </a:cubicBezTo>
                    <a:cubicBezTo>
                      <a:pt x="800" y="734"/>
                      <a:pt x="799" y="732"/>
                      <a:pt x="798" y="730"/>
                    </a:cubicBezTo>
                    <a:lnTo>
                      <a:pt x="722" y="526"/>
                    </a:lnTo>
                    <a:cubicBezTo>
                      <a:pt x="720" y="520"/>
                      <a:pt x="719" y="516"/>
                      <a:pt x="719" y="513"/>
                    </a:cubicBezTo>
                    <a:cubicBezTo>
                      <a:pt x="719" y="510"/>
                      <a:pt x="720" y="507"/>
                      <a:pt x="722" y="506"/>
                    </a:cubicBezTo>
                    <a:cubicBezTo>
                      <a:pt x="724" y="504"/>
                      <a:pt x="727" y="503"/>
                      <a:pt x="732" y="502"/>
                    </a:cubicBezTo>
                    <a:cubicBezTo>
                      <a:pt x="736" y="501"/>
                      <a:pt x="743" y="501"/>
                      <a:pt x="750" y="501"/>
                    </a:cubicBezTo>
                    <a:cubicBezTo>
                      <a:pt x="757" y="501"/>
                      <a:pt x="763" y="501"/>
                      <a:pt x="767" y="501"/>
                    </a:cubicBezTo>
                    <a:cubicBezTo>
                      <a:pt x="771" y="502"/>
                      <a:pt x="775" y="502"/>
                      <a:pt x="777" y="503"/>
                    </a:cubicBezTo>
                    <a:cubicBezTo>
                      <a:pt x="779" y="504"/>
                      <a:pt x="781" y="506"/>
                      <a:pt x="782" y="508"/>
                    </a:cubicBezTo>
                    <a:cubicBezTo>
                      <a:pt x="783" y="510"/>
                      <a:pt x="785" y="513"/>
                      <a:pt x="786" y="517"/>
                    </a:cubicBezTo>
                    <a:lnTo>
                      <a:pt x="838" y="665"/>
                    </a:lnTo>
                    <a:lnTo>
                      <a:pt x="839" y="665"/>
                    </a:lnTo>
                    <a:lnTo>
                      <a:pt x="886" y="514"/>
                    </a:lnTo>
                    <a:cubicBezTo>
                      <a:pt x="887" y="509"/>
                      <a:pt x="889" y="507"/>
                      <a:pt x="890" y="505"/>
                    </a:cubicBezTo>
                    <a:cubicBezTo>
                      <a:pt x="892" y="504"/>
                      <a:pt x="894" y="503"/>
                      <a:pt x="898" y="502"/>
                    </a:cubicBezTo>
                    <a:cubicBezTo>
                      <a:pt x="902" y="501"/>
                      <a:pt x="908" y="501"/>
                      <a:pt x="917" y="501"/>
                    </a:cubicBezTo>
                    <a:cubicBezTo>
                      <a:pt x="924" y="501"/>
                      <a:pt x="930" y="501"/>
                      <a:pt x="935" y="502"/>
                    </a:cubicBezTo>
                    <a:cubicBezTo>
                      <a:pt x="940" y="503"/>
                      <a:pt x="943" y="504"/>
                      <a:pt x="945" y="506"/>
                    </a:cubicBezTo>
                    <a:cubicBezTo>
                      <a:pt x="948" y="508"/>
                      <a:pt x="949" y="510"/>
                      <a:pt x="949" y="513"/>
                    </a:cubicBezTo>
                    <a:cubicBezTo>
                      <a:pt x="949" y="516"/>
                      <a:pt x="948" y="520"/>
                      <a:pt x="947" y="524"/>
                    </a:cubicBezTo>
                    <a:lnTo>
                      <a:pt x="873" y="741"/>
                    </a:lnTo>
                    <a:close/>
                    <a:moveTo>
                      <a:pt x="1172" y="733"/>
                    </a:moveTo>
                    <a:cubicBezTo>
                      <a:pt x="1172" y="734"/>
                      <a:pt x="1172" y="736"/>
                      <a:pt x="1171" y="737"/>
                    </a:cubicBezTo>
                    <a:cubicBezTo>
                      <a:pt x="1170" y="738"/>
                      <a:pt x="1168" y="739"/>
                      <a:pt x="1166" y="740"/>
                    </a:cubicBezTo>
                    <a:cubicBezTo>
                      <a:pt x="1164" y="741"/>
                      <a:pt x="1161" y="741"/>
                      <a:pt x="1156" y="742"/>
                    </a:cubicBezTo>
                    <a:cubicBezTo>
                      <a:pt x="1152" y="742"/>
                      <a:pt x="1147" y="743"/>
                      <a:pt x="1141" y="743"/>
                    </a:cubicBezTo>
                    <a:cubicBezTo>
                      <a:pt x="1135" y="743"/>
                      <a:pt x="1130" y="742"/>
                      <a:pt x="1126" y="742"/>
                    </a:cubicBezTo>
                    <a:cubicBezTo>
                      <a:pt x="1122" y="741"/>
                      <a:pt x="1119" y="741"/>
                      <a:pt x="1116" y="740"/>
                    </a:cubicBezTo>
                    <a:cubicBezTo>
                      <a:pt x="1114" y="739"/>
                      <a:pt x="1112" y="738"/>
                      <a:pt x="1112" y="737"/>
                    </a:cubicBezTo>
                    <a:cubicBezTo>
                      <a:pt x="1111" y="736"/>
                      <a:pt x="1110" y="734"/>
                      <a:pt x="1110" y="733"/>
                    </a:cubicBezTo>
                    <a:lnTo>
                      <a:pt x="1110" y="553"/>
                    </a:lnTo>
                    <a:lnTo>
                      <a:pt x="1065" y="553"/>
                    </a:lnTo>
                    <a:cubicBezTo>
                      <a:pt x="1063" y="580"/>
                      <a:pt x="1059" y="602"/>
                      <a:pt x="1055" y="622"/>
                    </a:cubicBezTo>
                    <a:cubicBezTo>
                      <a:pt x="1051" y="642"/>
                      <a:pt x="1047" y="658"/>
                      <a:pt x="1042" y="673"/>
                    </a:cubicBezTo>
                    <a:cubicBezTo>
                      <a:pt x="1037" y="687"/>
                      <a:pt x="1031" y="699"/>
                      <a:pt x="1025" y="708"/>
                    </a:cubicBezTo>
                    <a:cubicBezTo>
                      <a:pt x="1019" y="717"/>
                      <a:pt x="1012" y="725"/>
                      <a:pt x="1004" y="730"/>
                    </a:cubicBezTo>
                    <a:cubicBezTo>
                      <a:pt x="997" y="736"/>
                      <a:pt x="989" y="740"/>
                      <a:pt x="980" y="742"/>
                    </a:cubicBezTo>
                    <a:cubicBezTo>
                      <a:pt x="971" y="744"/>
                      <a:pt x="962" y="746"/>
                      <a:pt x="953" y="746"/>
                    </a:cubicBezTo>
                    <a:cubicBezTo>
                      <a:pt x="950" y="746"/>
                      <a:pt x="948" y="745"/>
                      <a:pt x="947" y="745"/>
                    </a:cubicBezTo>
                    <a:cubicBezTo>
                      <a:pt x="945" y="744"/>
                      <a:pt x="944" y="743"/>
                      <a:pt x="943" y="741"/>
                    </a:cubicBezTo>
                    <a:cubicBezTo>
                      <a:pt x="943" y="739"/>
                      <a:pt x="942" y="736"/>
                      <a:pt x="942" y="732"/>
                    </a:cubicBezTo>
                    <a:cubicBezTo>
                      <a:pt x="941" y="729"/>
                      <a:pt x="941" y="724"/>
                      <a:pt x="941" y="718"/>
                    </a:cubicBezTo>
                    <a:cubicBezTo>
                      <a:pt x="941" y="712"/>
                      <a:pt x="941" y="707"/>
                      <a:pt x="942" y="703"/>
                    </a:cubicBezTo>
                    <a:cubicBezTo>
                      <a:pt x="942" y="699"/>
                      <a:pt x="942" y="696"/>
                      <a:pt x="943" y="694"/>
                    </a:cubicBezTo>
                    <a:cubicBezTo>
                      <a:pt x="944" y="692"/>
                      <a:pt x="945" y="691"/>
                      <a:pt x="946" y="690"/>
                    </a:cubicBezTo>
                    <a:cubicBezTo>
                      <a:pt x="947" y="689"/>
                      <a:pt x="948" y="689"/>
                      <a:pt x="950" y="689"/>
                    </a:cubicBezTo>
                    <a:cubicBezTo>
                      <a:pt x="955" y="689"/>
                      <a:pt x="959" y="688"/>
                      <a:pt x="963" y="686"/>
                    </a:cubicBezTo>
                    <a:cubicBezTo>
                      <a:pt x="967" y="684"/>
                      <a:pt x="971" y="681"/>
                      <a:pt x="975" y="676"/>
                    </a:cubicBezTo>
                    <a:cubicBezTo>
                      <a:pt x="979" y="671"/>
                      <a:pt x="982" y="665"/>
                      <a:pt x="986" y="657"/>
                    </a:cubicBezTo>
                    <a:cubicBezTo>
                      <a:pt x="989" y="649"/>
                      <a:pt x="992" y="639"/>
                      <a:pt x="995" y="626"/>
                    </a:cubicBezTo>
                    <a:cubicBezTo>
                      <a:pt x="998" y="614"/>
                      <a:pt x="1000" y="599"/>
                      <a:pt x="1003" y="582"/>
                    </a:cubicBezTo>
                    <a:cubicBezTo>
                      <a:pt x="1005" y="565"/>
                      <a:pt x="1008" y="546"/>
                      <a:pt x="1010" y="523"/>
                    </a:cubicBezTo>
                    <a:cubicBezTo>
                      <a:pt x="1010" y="516"/>
                      <a:pt x="1012" y="511"/>
                      <a:pt x="1014" y="508"/>
                    </a:cubicBezTo>
                    <a:cubicBezTo>
                      <a:pt x="1017" y="505"/>
                      <a:pt x="1021" y="503"/>
                      <a:pt x="1027" y="503"/>
                    </a:cubicBezTo>
                    <a:lnTo>
                      <a:pt x="1155" y="503"/>
                    </a:lnTo>
                    <a:cubicBezTo>
                      <a:pt x="1161" y="503"/>
                      <a:pt x="1165" y="505"/>
                      <a:pt x="1168" y="508"/>
                    </a:cubicBezTo>
                    <a:cubicBezTo>
                      <a:pt x="1171" y="511"/>
                      <a:pt x="1172" y="516"/>
                      <a:pt x="1172" y="523"/>
                    </a:cubicBezTo>
                    <a:lnTo>
                      <a:pt x="1172" y="733"/>
                    </a:lnTo>
                    <a:close/>
                    <a:moveTo>
                      <a:pt x="1446" y="658"/>
                    </a:moveTo>
                    <a:cubicBezTo>
                      <a:pt x="1446" y="671"/>
                      <a:pt x="1443" y="683"/>
                      <a:pt x="1438" y="694"/>
                    </a:cubicBezTo>
                    <a:cubicBezTo>
                      <a:pt x="1433" y="705"/>
                      <a:pt x="1426" y="714"/>
                      <a:pt x="1416" y="722"/>
                    </a:cubicBezTo>
                    <a:cubicBezTo>
                      <a:pt x="1406" y="730"/>
                      <a:pt x="1393" y="735"/>
                      <a:pt x="1378" y="740"/>
                    </a:cubicBezTo>
                    <a:cubicBezTo>
                      <a:pt x="1362" y="744"/>
                      <a:pt x="1344" y="746"/>
                      <a:pt x="1323" y="746"/>
                    </a:cubicBezTo>
                    <a:cubicBezTo>
                      <a:pt x="1318" y="746"/>
                      <a:pt x="1312" y="746"/>
                      <a:pt x="1306" y="746"/>
                    </a:cubicBezTo>
                    <a:cubicBezTo>
                      <a:pt x="1301" y="746"/>
                      <a:pt x="1295" y="746"/>
                      <a:pt x="1289" y="745"/>
                    </a:cubicBezTo>
                    <a:cubicBezTo>
                      <a:pt x="1284" y="745"/>
                      <a:pt x="1278" y="745"/>
                      <a:pt x="1273" y="745"/>
                    </a:cubicBezTo>
                    <a:cubicBezTo>
                      <a:pt x="1267" y="744"/>
                      <a:pt x="1262" y="744"/>
                      <a:pt x="1258" y="743"/>
                    </a:cubicBezTo>
                    <a:cubicBezTo>
                      <a:pt x="1250" y="742"/>
                      <a:pt x="1244" y="740"/>
                      <a:pt x="1240" y="736"/>
                    </a:cubicBezTo>
                    <a:cubicBezTo>
                      <a:pt x="1237" y="732"/>
                      <a:pt x="1235" y="726"/>
                      <a:pt x="1235" y="718"/>
                    </a:cubicBezTo>
                    <a:lnTo>
                      <a:pt x="1235" y="511"/>
                    </a:lnTo>
                    <a:cubicBezTo>
                      <a:pt x="1235" y="509"/>
                      <a:pt x="1236" y="508"/>
                      <a:pt x="1237" y="507"/>
                    </a:cubicBezTo>
                    <a:cubicBezTo>
                      <a:pt x="1238" y="505"/>
                      <a:pt x="1239" y="504"/>
                      <a:pt x="1242" y="504"/>
                    </a:cubicBezTo>
                    <a:cubicBezTo>
                      <a:pt x="1244" y="503"/>
                      <a:pt x="1247" y="502"/>
                      <a:pt x="1251" y="502"/>
                    </a:cubicBezTo>
                    <a:cubicBezTo>
                      <a:pt x="1255" y="501"/>
                      <a:pt x="1260" y="501"/>
                      <a:pt x="1266" y="501"/>
                    </a:cubicBezTo>
                    <a:cubicBezTo>
                      <a:pt x="1272" y="501"/>
                      <a:pt x="1277" y="501"/>
                      <a:pt x="1281" y="502"/>
                    </a:cubicBezTo>
                    <a:cubicBezTo>
                      <a:pt x="1285" y="502"/>
                      <a:pt x="1288" y="503"/>
                      <a:pt x="1291" y="504"/>
                    </a:cubicBezTo>
                    <a:cubicBezTo>
                      <a:pt x="1293" y="504"/>
                      <a:pt x="1295" y="505"/>
                      <a:pt x="1296" y="507"/>
                    </a:cubicBezTo>
                    <a:cubicBezTo>
                      <a:pt x="1297" y="508"/>
                      <a:pt x="1298" y="509"/>
                      <a:pt x="1298" y="511"/>
                    </a:cubicBezTo>
                    <a:lnTo>
                      <a:pt x="1298" y="579"/>
                    </a:lnTo>
                    <a:cubicBezTo>
                      <a:pt x="1303" y="579"/>
                      <a:pt x="1309" y="578"/>
                      <a:pt x="1316" y="578"/>
                    </a:cubicBezTo>
                    <a:cubicBezTo>
                      <a:pt x="1323" y="578"/>
                      <a:pt x="1329" y="578"/>
                      <a:pt x="1336" y="578"/>
                    </a:cubicBezTo>
                    <a:cubicBezTo>
                      <a:pt x="1355" y="578"/>
                      <a:pt x="1371" y="579"/>
                      <a:pt x="1385" y="583"/>
                    </a:cubicBezTo>
                    <a:cubicBezTo>
                      <a:pt x="1399" y="587"/>
                      <a:pt x="1410" y="592"/>
                      <a:pt x="1419" y="599"/>
                    </a:cubicBezTo>
                    <a:cubicBezTo>
                      <a:pt x="1428" y="606"/>
                      <a:pt x="1435" y="615"/>
                      <a:pt x="1439" y="624"/>
                    </a:cubicBezTo>
                    <a:cubicBezTo>
                      <a:pt x="1443" y="634"/>
                      <a:pt x="1446" y="645"/>
                      <a:pt x="1446" y="658"/>
                    </a:cubicBezTo>
                    <a:close/>
                    <a:moveTo>
                      <a:pt x="1380" y="662"/>
                    </a:moveTo>
                    <a:cubicBezTo>
                      <a:pt x="1380" y="656"/>
                      <a:pt x="1379" y="651"/>
                      <a:pt x="1377" y="646"/>
                    </a:cubicBezTo>
                    <a:cubicBezTo>
                      <a:pt x="1375" y="641"/>
                      <a:pt x="1372" y="638"/>
                      <a:pt x="1368" y="634"/>
                    </a:cubicBezTo>
                    <a:cubicBezTo>
                      <a:pt x="1364" y="631"/>
                      <a:pt x="1359" y="629"/>
                      <a:pt x="1352" y="627"/>
                    </a:cubicBezTo>
                    <a:cubicBezTo>
                      <a:pt x="1346" y="625"/>
                      <a:pt x="1338" y="625"/>
                      <a:pt x="1329" y="625"/>
                    </a:cubicBezTo>
                    <a:cubicBezTo>
                      <a:pt x="1323" y="625"/>
                      <a:pt x="1318" y="625"/>
                      <a:pt x="1312" y="625"/>
                    </a:cubicBezTo>
                    <a:cubicBezTo>
                      <a:pt x="1307" y="625"/>
                      <a:pt x="1302" y="625"/>
                      <a:pt x="1298" y="626"/>
                    </a:cubicBezTo>
                    <a:lnTo>
                      <a:pt x="1298" y="697"/>
                    </a:lnTo>
                    <a:cubicBezTo>
                      <a:pt x="1302" y="698"/>
                      <a:pt x="1308" y="698"/>
                      <a:pt x="1313" y="699"/>
                    </a:cubicBezTo>
                    <a:cubicBezTo>
                      <a:pt x="1318" y="699"/>
                      <a:pt x="1324" y="699"/>
                      <a:pt x="1330" y="699"/>
                    </a:cubicBezTo>
                    <a:cubicBezTo>
                      <a:pt x="1347" y="699"/>
                      <a:pt x="1360" y="696"/>
                      <a:pt x="1368" y="689"/>
                    </a:cubicBezTo>
                    <a:cubicBezTo>
                      <a:pt x="1376" y="683"/>
                      <a:pt x="1380" y="673"/>
                      <a:pt x="1380" y="662"/>
                    </a:cubicBezTo>
                    <a:close/>
                    <a:moveTo>
                      <a:pt x="1635" y="530"/>
                    </a:moveTo>
                    <a:cubicBezTo>
                      <a:pt x="1635" y="536"/>
                      <a:pt x="1635" y="540"/>
                      <a:pt x="1634" y="544"/>
                    </a:cubicBezTo>
                    <a:cubicBezTo>
                      <a:pt x="1634" y="547"/>
                      <a:pt x="1633" y="550"/>
                      <a:pt x="1632" y="552"/>
                    </a:cubicBezTo>
                    <a:cubicBezTo>
                      <a:pt x="1632" y="555"/>
                      <a:pt x="1630" y="556"/>
                      <a:pt x="1629" y="557"/>
                    </a:cubicBezTo>
                    <a:cubicBezTo>
                      <a:pt x="1628" y="558"/>
                      <a:pt x="1627" y="558"/>
                      <a:pt x="1625" y="558"/>
                    </a:cubicBezTo>
                    <a:lnTo>
                      <a:pt x="1569" y="558"/>
                    </a:lnTo>
                    <a:lnTo>
                      <a:pt x="1569" y="733"/>
                    </a:lnTo>
                    <a:cubicBezTo>
                      <a:pt x="1569" y="734"/>
                      <a:pt x="1569" y="736"/>
                      <a:pt x="1568" y="737"/>
                    </a:cubicBezTo>
                    <a:cubicBezTo>
                      <a:pt x="1567" y="738"/>
                      <a:pt x="1565" y="739"/>
                      <a:pt x="1563" y="740"/>
                    </a:cubicBezTo>
                    <a:cubicBezTo>
                      <a:pt x="1561" y="741"/>
                      <a:pt x="1557" y="741"/>
                      <a:pt x="1553" y="742"/>
                    </a:cubicBezTo>
                    <a:cubicBezTo>
                      <a:pt x="1549" y="742"/>
                      <a:pt x="1544" y="743"/>
                      <a:pt x="1538" y="743"/>
                    </a:cubicBezTo>
                    <a:cubicBezTo>
                      <a:pt x="1532" y="743"/>
                      <a:pt x="1527" y="742"/>
                      <a:pt x="1523" y="742"/>
                    </a:cubicBezTo>
                    <a:cubicBezTo>
                      <a:pt x="1519" y="741"/>
                      <a:pt x="1516" y="741"/>
                      <a:pt x="1513" y="740"/>
                    </a:cubicBezTo>
                    <a:cubicBezTo>
                      <a:pt x="1511" y="739"/>
                      <a:pt x="1509" y="738"/>
                      <a:pt x="1509" y="737"/>
                    </a:cubicBezTo>
                    <a:cubicBezTo>
                      <a:pt x="1508" y="736"/>
                      <a:pt x="1507" y="734"/>
                      <a:pt x="1507" y="733"/>
                    </a:cubicBezTo>
                    <a:lnTo>
                      <a:pt x="1507" y="558"/>
                    </a:lnTo>
                    <a:lnTo>
                      <a:pt x="1451" y="558"/>
                    </a:lnTo>
                    <a:cubicBezTo>
                      <a:pt x="1450" y="558"/>
                      <a:pt x="1448" y="558"/>
                      <a:pt x="1447" y="557"/>
                    </a:cubicBezTo>
                    <a:cubicBezTo>
                      <a:pt x="1446" y="556"/>
                      <a:pt x="1445" y="554"/>
                      <a:pt x="1444" y="552"/>
                    </a:cubicBezTo>
                    <a:cubicBezTo>
                      <a:pt x="1443" y="550"/>
                      <a:pt x="1442" y="547"/>
                      <a:pt x="1442" y="543"/>
                    </a:cubicBezTo>
                    <a:cubicBezTo>
                      <a:pt x="1442" y="539"/>
                      <a:pt x="1441" y="535"/>
                      <a:pt x="1441" y="529"/>
                    </a:cubicBezTo>
                    <a:cubicBezTo>
                      <a:pt x="1441" y="524"/>
                      <a:pt x="1442" y="520"/>
                      <a:pt x="1442" y="517"/>
                    </a:cubicBezTo>
                    <a:cubicBezTo>
                      <a:pt x="1443" y="513"/>
                      <a:pt x="1443" y="511"/>
                      <a:pt x="1444" y="509"/>
                    </a:cubicBezTo>
                    <a:cubicBezTo>
                      <a:pt x="1445" y="506"/>
                      <a:pt x="1446" y="505"/>
                      <a:pt x="1447" y="504"/>
                    </a:cubicBezTo>
                    <a:cubicBezTo>
                      <a:pt x="1448" y="503"/>
                      <a:pt x="1450" y="502"/>
                      <a:pt x="1451" y="502"/>
                    </a:cubicBezTo>
                    <a:lnTo>
                      <a:pt x="1625" y="502"/>
                    </a:lnTo>
                    <a:cubicBezTo>
                      <a:pt x="1627" y="502"/>
                      <a:pt x="1628" y="503"/>
                      <a:pt x="1629" y="504"/>
                    </a:cubicBezTo>
                    <a:cubicBezTo>
                      <a:pt x="1630" y="505"/>
                      <a:pt x="1632" y="506"/>
                      <a:pt x="1632" y="509"/>
                    </a:cubicBezTo>
                    <a:cubicBezTo>
                      <a:pt x="1633" y="511"/>
                      <a:pt x="1634" y="514"/>
                      <a:pt x="1634" y="517"/>
                    </a:cubicBezTo>
                    <a:cubicBezTo>
                      <a:pt x="1635" y="521"/>
                      <a:pt x="1635" y="525"/>
                      <a:pt x="1635" y="530"/>
                    </a:cubicBezTo>
                    <a:close/>
                    <a:moveTo>
                      <a:pt x="1857" y="733"/>
                    </a:moveTo>
                    <a:cubicBezTo>
                      <a:pt x="1857" y="736"/>
                      <a:pt x="1857" y="737"/>
                      <a:pt x="1855" y="739"/>
                    </a:cubicBezTo>
                    <a:cubicBezTo>
                      <a:pt x="1853" y="740"/>
                      <a:pt x="1851" y="741"/>
                      <a:pt x="1847" y="742"/>
                    </a:cubicBezTo>
                    <a:cubicBezTo>
                      <a:pt x="1844" y="742"/>
                      <a:pt x="1838" y="743"/>
                      <a:pt x="1831" y="743"/>
                    </a:cubicBezTo>
                    <a:cubicBezTo>
                      <a:pt x="1824" y="743"/>
                      <a:pt x="1818" y="742"/>
                      <a:pt x="1815" y="742"/>
                    </a:cubicBezTo>
                    <a:cubicBezTo>
                      <a:pt x="1812" y="741"/>
                      <a:pt x="1809" y="740"/>
                      <a:pt x="1808" y="739"/>
                    </a:cubicBezTo>
                    <a:cubicBezTo>
                      <a:pt x="1807" y="737"/>
                      <a:pt x="1806" y="736"/>
                      <a:pt x="1806" y="733"/>
                    </a:cubicBezTo>
                    <a:lnTo>
                      <a:pt x="1806" y="716"/>
                    </a:lnTo>
                    <a:cubicBezTo>
                      <a:pt x="1797" y="725"/>
                      <a:pt x="1786" y="733"/>
                      <a:pt x="1775" y="739"/>
                    </a:cubicBezTo>
                    <a:cubicBezTo>
                      <a:pt x="1763" y="744"/>
                      <a:pt x="1750" y="747"/>
                      <a:pt x="1736" y="747"/>
                    </a:cubicBezTo>
                    <a:cubicBezTo>
                      <a:pt x="1724" y="747"/>
                      <a:pt x="1713" y="745"/>
                      <a:pt x="1703" y="742"/>
                    </a:cubicBezTo>
                    <a:cubicBezTo>
                      <a:pt x="1693" y="739"/>
                      <a:pt x="1685" y="735"/>
                      <a:pt x="1678" y="728"/>
                    </a:cubicBezTo>
                    <a:cubicBezTo>
                      <a:pt x="1671" y="722"/>
                      <a:pt x="1665" y="715"/>
                      <a:pt x="1661" y="706"/>
                    </a:cubicBezTo>
                    <a:cubicBezTo>
                      <a:pt x="1657" y="697"/>
                      <a:pt x="1655" y="687"/>
                      <a:pt x="1655" y="675"/>
                    </a:cubicBezTo>
                    <a:cubicBezTo>
                      <a:pt x="1655" y="662"/>
                      <a:pt x="1658" y="651"/>
                      <a:pt x="1663" y="641"/>
                    </a:cubicBezTo>
                    <a:cubicBezTo>
                      <a:pt x="1668" y="631"/>
                      <a:pt x="1675" y="624"/>
                      <a:pt x="1685" y="617"/>
                    </a:cubicBezTo>
                    <a:cubicBezTo>
                      <a:pt x="1695" y="611"/>
                      <a:pt x="1708" y="607"/>
                      <a:pt x="1723" y="604"/>
                    </a:cubicBezTo>
                    <a:cubicBezTo>
                      <a:pt x="1737" y="601"/>
                      <a:pt x="1755" y="599"/>
                      <a:pt x="1774" y="599"/>
                    </a:cubicBezTo>
                    <a:lnTo>
                      <a:pt x="1796" y="599"/>
                    </a:lnTo>
                    <a:lnTo>
                      <a:pt x="1796" y="586"/>
                    </a:lnTo>
                    <a:cubicBezTo>
                      <a:pt x="1796" y="579"/>
                      <a:pt x="1795" y="573"/>
                      <a:pt x="1794" y="568"/>
                    </a:cubicBezTo>
                    <a:cubicBezTo>
                      <a:pt x="1793" y="562"/>
                      <a:pt x="1790" y="558"/>
                      <a:pt x="1787" y="554"/>
                    </a:cubicBezTo>
                    <a:cubicBezTo>
                      <a:pt x="1784" y="551"/>
                      <a:pt x="1779" y="548"/>
                      <a:pt x="1774" y="547"/>
                    </a:cubicBezTo>
                    <a:cubicBezTo>
                      <a:pt x="1769" y="545"/>
                      <a:pt x="1762" y="544"/>
                      <a:pt x="1754" y="544"/>
                    </a:cubicBezTo>
                    <a:cubicBezTo>
                      <a:pt x="1744" y="544"/>
                      <a:pt x="1734" y="545"/>
                      <a:pt x="1726" y="548"/>
                    </a:cubicBezTo>
                    <a:cubicBezTo>
                      <a:pt x="1718" y="550"/>
                      <a:pt x="1711" y="553"/>
                      <a:pt x="1704" y="556"/>
                    </a:cubicBezTo>
                    <a:cubicBezTo>
                      <a:pt x="1698" y="558"/>
                      <a:pt x="1693" y="561"/>
                      <a:pt x="1689" y="563"/>
                    </a:cubicBezTo>
                    <a:cubicBezTo>
                      <a:pt x="1684" y="566"/>
                      <a:pt x="1681" y="567"/>
                      <a:pt x="1678" y="567"/>
                    </a:cubicBezTo>
                    <a:cubicBezTo>
                      <a:pt x="1677" y="567"/>
                      <a:pt x="1675" y="566"/>
                      <a:pt x="1673" y="565"/>
                    </a:cubicBezTo>
                    <a:cubicBezTo>
                      <a:pt x="1672" y="564"/>
                      <a:pt x="1671" y="562"/>
                      <a:pt x="1670" y="560"/>
                    </a:cubicBezTo>
                    <a:cubicBezTo>
                      <a:pt x="1669" y="558"/>
                      <a:pt x="1668" y="555"/>
                      <a:pt x="1668" y="552"/>
                    </a:cubicBezTo>
                    <a:cubicBezTo>
                      <a:pt x="1667" y="549"/>
                      <a:pt x="1667" y="545"/>
                      <a:pt x="1667" y="542"/>
                    </a:cubicBezTo>
                    <a:cubicBezTo>
                      <a:pt x="1667" y="536"/>
                      <a:pt x="1668" y="532"/>
                      <a:pt x="1668" y="529"/>
                    </a:cubicBezTo>
                    <a:cubicBezTo>
                      <a:pt x="1669" y="526"/>
                      <a:pt x="1671" y="524"/>
                      <a:pt x="1673" y="521"/>
                    </a:cubicBezTo>
                    <a:cubicBezTo>
                      <a:pt x="1675" y="519"/>
                      <a:pt x="1679" y="516"/>
                      <a:pt x="1685" y="513"/>
                    </a:cubicBezTo>
                    <a:cubicBezTo>
                      <a:pt x="1691" y="510"/>
                      <a:pt x="1698" y="508"/>
                      <a:pt x="1706" y="505"/>
                    </a:cubicBezTo>
                    <a:cubicBezTo>
                      <a:pt x="1713" y="503"/>
                      <a:pt x="1722" y="501"/>
                      <a:pt x="1731" y="499"/>
                    </a:cubicBezTo>
                    <a:cubicBezTo>
                      <a:pt x="1740" y="498"/>
                      <a:pt x="1750" y="497"/>
                      <a:pt x="1760" y="497"/>
                    </a:cubicBezTo>
                    <a:cubicBezTo>
                      <a:pt x="1777" y="497"/>
                      <a:pt x="1792" y="499"/>
                      <a:pt x="1804" y="502"/>
                    </a:cubicBezTo>
                    <a:cubicBezTo>
                      <a:pt x="1817" y="505"/>
                      <a:pt x="1827" y="511"/>
                      <a:pt x="1835" y="518"/>
                    </a:cubicBezTo>
                    <a:cubicBezTo>
                      <a:pt x="1843" y="525"/>
                      <a:pt x="1848" y="534"/>
                      <a:pt x="1852" y="545"/>
                    </a:cubicBezTo>
                    <a:cubicBezTo>
                      <a:pt x="1856" y="556"/>
                      <a:pt x="1857" y="569"/>
                      <a:pt x="1857" y="584"/>
                    </a:cubicBezTo>
                    <a:lnTo>
                      <a:pt x="1857" y="733"/>
                    </a:lnTo>
                    <a:close/>
                    <a:moveTo>
                      <a:pt x="1796" y="638"/>
                    </a:moveTo>
                    <a:lnTo>
                      <a:pt x="1772" y="638"/>
                    </a:lnTo>
                    <a:cubicBezTo>
                      <a:pt x="1762" y="638"/>
                      <a:pt x="1754" y="639"/>
                      <a:pt x="1746" y="641"/>
                    </a:cubicBezTo>
                    <a:cubicBezTo>
                      <a:pt x="1739" y="642"/>
                      <a:pt x="1734" y="644"/>
                      <a:pt x="1729" y="647"/>
                    </a:cubicBezTo>
                    <a:cubicBezTo>
                      <a:pt x="1725" y="650"/>
                      <a:pt x="1721" y="654"/>
                      <a:pt x="1719" y="658"/>
                    </a:cubicBezTo>
                    <a:cubicBezTo>
                      <a:pt x="1717" y="662"/>
                      <a:pt x="1716" y="667"/>
                      <a:pt x="1716" y="673"/>
                    </a:cubicBezTo>
                    <a:cubicBezTo>
                      <a:pt x="1716" y="682"/>
                      <a:pt x="1719" y="689"/>
                      <a:pt x="1725" y="695"/>
                    </a:cubicBezTo>
                    <a:cubicBezTo>
                      <a:pt x="1731" y="700"/>
                      <a:pt x="1739" y="703"/>
                      <a:pt x="1749" y="703"/>
                    </a:cubicBezTo>
                    <a:cubicBezTo>
                      <a:pt x="1758" y="703"/>
                      <a:pt x="1766" y="700"/>
                      <a:pt x="1774" y="696"/>
                    </a:cubicBezTo>
                    <a:cubicBezTo>
                      <a:pt x="1781" y="691"/>
                      <a:pt x="1788" y="685"/>
                      <a:pt x="1796" y="676"/>
                    </a:cubicBezTo>
                    <a:lnTo>
                      <a:pt x="1796" y="638"/>
                    </a:lnTo>
                    <a:close/>
                    <a:moveTo>
                      <a:pt x="2083" y="530"/>
                    </a:moveTo>
                    <a:cubicBezTo>
                      <a:pt x="2083" y="536"/>
                      <a:pt x="2082" y="540"/>
                      <a:pt x="2082" y="544"/>
                    </a:cubicBezTo>
                    <a:cubicBezTo>
                      <a:pt x="2081" y="547"/>
                      <a:pt x="2081" y="550"/>
                      <a:pt x="2080" y="552"/>
                    </a:cubicBezTo>
                    <a:cubicBezTo>
                      <a:pt x="2079" y="555"/>
                      <a:pt x="2078" y="556"/>
                      <a:pt x="2077" y="557"/>
                    </a:cubicBezTo>
                    <a:cubicBezTo>
                      <a:pt x="2076" y="558"/>
                      <a:pt x="2074" y="558"/>
                      <a:pt x="2073" y="558"/>
                    </a:cubicBezTo>
                    <a:lnTo>
                      <a:pt x="2017" y="558"/>
                    </a:lnTo>
                    <a:lnTo>
                      <a:pt x="2017" y="733"/>
                    </a:lnTo>
                    <a:cubicBezTo>
                      <a:pt x="2017" y="734"/>
                      <a:pt x="2016" y="736"/>
                      <a:pt x="2015" y="737"/>
                    </a:cubicBezTo>
                    <a:cubicBezTo>
                      <a:pt x="2014" y="738"/>
                      <a:pt x="2013" y="739"/>
                      <a:pt x="2010" y="740"/>
                    </a:cubicBezTo>
                    <a:cubicBezTo>
                      <a:pt x="2008" y="741"/>
                      <a:pt x="2005" y="741"/>
                      <a:pt x="2001" y="742"/>
                    </a:cubicBezTo>
                    <a:cubicBezTo>
                      <a:pt x="1997" y="742"/>
                      <a:pt x="1992" y="743"/>
                      <a:pt x="1986" y="743"/>
                    </a:cubicBezTo>
                    <a:cubicBezTo>
                      <a:pt x="1980" y="743"/>
                      <a:pt x="1975" y="742"/>
                      <a:pt x="1971" y="742"/>
                    </a:cubicBezTo>
                    <a:cubicBezTo>
                      <a:pt x="1967" y="741"/>
                      <a:pt x="1964" y="741"/>
                      <a:pt x="1961" y="740"/>
                    </a:cubicBezTo>
                    <a:cubicBezTo>
                      <a:pt x="1959" y="739"/>
                      <a:pt x="1957" y="738"/>
                      <a:pt x="1956" y="737"/>
                    </a:cubicBezTo>
                    <a:cubicBezTo>
                      <a:pt x="1955" y="736"/>
                      <a:pt x="1955" y="734"/>
                      <a:pt x="1955" y="733"/>
                    </a:cubicBezTo>
                    <a:lnTo>
                      <a:pt x="1955" y="558"/>
                    </a:lnTo>
                    <a:lnTo>
                      <a:pt x="1899" y="558"/>
                    </a:lnTo>
                    <a:cubicBezTo>
                      <a:pt x="1897" y="558"/>
                      <a:pt x="1896" y="558"/>
                      <a:pt x="1895" y="557"/>
                    </a:cubicBezTo>
                    <a:cubicBezTo>
                      <a:pt x="1893" y="556"/>
                      <a:pt x="1892" y="554"/>
                      <a:pt x="1891" y="552"/>
                    </a:cubicBezTo>
                    <a:cubicBezTo>
                      <a:pt x="1891" y="550"/>
                      <a:pt x="1890" y="547"/>
                      <a:pt x="1890" y="543"/>
                    </a:cubicBezTo>
                    <a:cubicBezTo>
                      <a:pt x="1889" y="539"/>
                      <a:pt x="1889" y="535"/>
                      <a:pt x="1889" y="529"/>
                    </a:cubicBezTo>
                    <a:cubicBezTo>
                      <a:pt x="1889" y="524"/>
                      <a:pt x="1889" y="520"/>
                      <a:pt x="1890" y="517"/>
                    </a:cubicBezTo>
                    <a:cubicBezTo>
                      <a:pt x="1890" y="513"/>
                      <a:pt x="1891" y="511"/>
                      <a:pt x="1892" y="509"/>
                    </a:cubicBezTo>
                    <a:cubicBezTo>
                      <a:pt x="1893" y="506"/>
                      <a:pt x="1894" y="505"/>
                      <a:pt x="1895" y="504"/>
                    </a:cubicBezTo>
                    <a:cubicBezTo>
                      <a:pt x="1896" y="503"/>
                      <a:pt x="1897" y="502"/>
                      <a:pt x="1899" y="502"/>
                    </a:cubicBezTo>
                    <a:lnTo>
                      <a:pt x="2073" y="502"/>
                    </a:lnTo>
                    <a:cubicBezTo>
                      <a:pt x="2074" y="502"/>
                      <a:pt x="2076" y="503"/>
                      <a:pt x="2077" y="504"/>
                    </a:cubicBezTo>
                    <a:cubicBezTo>
                      <a:pt x="2078" y="505"/>
                      <a:pt x="2079" y="506"/>
                      <a:pt x="2080" y="509"/>
                    </a:cubicBezTo>
                    <a:cubicBezTo>
                      <a:pt x="2081" y="511"/>
                      <a:pt x="2081" y="514"/>
                      <a:pt x="2082" y="517"/>
                    </a:cubicBezTo>
                    <a:cubicBezTo>
                      <a:pt x="2082" y="521"/>
                      <a:pt x="2083" y="525"/>
                      <a:pt x="2083" y="530"/>
                    </a:cubicBezTo>
                    <a:close/>
                    <a:moveTo>
                      <a:pt x="2416" y="733"/>
                    </a:moveTo>
                    <a:cubicBezTo>
                      <a:pt x="2416" y="734"/>
                      <a:pt x="2415" y="736"/>
                      <a:pt x="2414" y="737"/>
                    </a:cubicBezTo>
                    <a:cubicBezTo>
                      <a:pt x="2413" y="738"/>
                      <a:pt x="2412" y="739"/>
                      <a:pt x="2409" y="740"/>
                    </a:cubicBezTo>
                    <a:cubicBezTo>
                      <a:pt x="2407" y="741"/>
                      <a:pt x="2404" y="741"/>
                      <a:pt x="2400" y="742"/>
                    </a:cubicBezTo>
                    <a:cubicBezTo>
                      <a:pt x="2396" y="742"/>
                      <a:pt x="2391" y="743"/>
                      <a:pt x="2384" y="743"/>
                    </a:cubicBezTo>
                    <a:cubicBezTo>
                      <a:pt x="2378" y="743"/>
                      <a:pt x="2373" y="742"/>
                      <a:pt x="2370" y="742"/>
                    </a:cubicBezTo>
                    <a:cubicBezTo>
                      <a:pt x="2366" y="741"/>
                      <a:pt x="2362" y="741"/>
                      <a:pt x="2360" y="740"/>
                    </a:cubicBezTo>
                    <a:cubicBezTo>
                      <a:pt x="2357" y="739"/>
                      <a:pt x="2356" y="738"/>
                      <a:pt x="2355" y="737"/>
                    </a:cubicBezTo>
                    <a:cubicBezTo>
                      <a:pt x="2354" y="736"/>
                      <a:pt x="2353" y="734"/>
                      <a:pt x="2353" y="733"/>
                    </a:cubicBezTo>
                    <a:lnTo>
                      <a:pt x="2353" y="511"/>
                    </a:lnTo>
                    <a:cubicBezTo>
                      <a:pt x="2353" y="509"/>
                      <a:pt x="2354" y="508"/>
                      <a:pt x="2355" y="507"/>
                    </a:cubicBezTo>
                    <a:cubicBezTo>
                      <a:pt x="2356" y="505"/>
                      <a:pt x="2357" y="504"/>
                      <a:pt x="2360" y="504"/>
                    </a:cubicBezTo>
                    <a:cubicBezTo>
                      <a:pt x="2362" y="503"/>
                      <a:pt x="2366" y="502"/>
                      <a:pt x="2370" y="502"/>
                    </a:cubicBezTo>
                    <a:cubicBezTo>
                      <a:pt x="2373" y="501"/>
                      <a:pt x="2378" y="501"/>
                      <a:pt x="2384" y="501"/>
                    </a:cubicBezTo>
                    <a:cubicBezTo>
                      <a:pt x="2391" y="501"/>
                      <a:pt x="2396" y="501"/>
                      <a:pt x="2400" y="502"/>
                    </a:cubicBezTo>
                    <a:cubicBezTo>
                      <a:pt x="2404" y="502"/>
                      <a:pt x="2407" y="503"/>
                      <a:pt x="2409" y="504"/>
                    </a:cubicBezTo>
                    <a:cubicBezTo>
                      <a:pt x="2412" y="504"/>
                      <a:pt x="2413" y="505"/>
                      <a:pt x="2414" y="507"/>
                    </a:cubicBezTo>
                    <a:cubicBezTo>
                      <a:pt x="2415" y="508"/>
                      <a:pt x="2416" y="509"/>
                      <a:pt x="2416" y="511"/>
                    </a:cubicBezTo>
                    <a:lnTo>
                      <a:pt x="2416" y="733"/>
                    </a:lnTo>
                    <a:close/>
                    <a:moveTo>
                      <a:pt x="2179" y="579"/>
                    </a:moveTo>
                    <a:cubicBezTo>
                      <a:pt x="2185" y="579"/>
                      <a:pt x="2190" y="578"/>
                      <a:pt x="2196" y="578"/>
                    </a:cubicBezTo>
                    <a:cubicBezTo>
                      <a:pt x="2202" y="578"/>
                      <a:pt x="2208" y="578"/>
                      <a:pt x="2215" y="578"/>
                    </a:cubicBezTo>
                    <a:cubicBezTo>
                      <a:pt x="2234" y="578"/>
                      <a:pt x="2249" y="579"/>
                      <a:pt x="2263" y="583"/>
                    </a:cubicBezTo>
                    <a:cubicBezTo>
                      <a:pt x="2276" y="587"/>
                      <a:pt x="2287" y="592"/>
                      <a:pt x="2295" y="599"/>
                    </a:cubicBezTo>
                    <a:cubicBezTo>
                      <a:pt x="2304" y="606"/>
                      <a:pt x="2310" y="615"/>
                      <a:pt x="2315" y="624"/>
                    </a:cubicBezTo>
                    <a:cubicBezTo>
                      <a:pt x="2319" y="634"/>
                      <a:pt x="2321" y="645"/>
                      <a:pt x="2321" y="658"/>
                    </a:cubicBezTo>
                    <a:cubicBezTo>
                      <a:pt x="2321" y="671"/>
                      <a:pt x="2319" y="683"/>
                      <a:pt x="2314" y="694"/>
                    </a:cubicBezTo>
                    <a:cubicBezTo>
                      <a:pt x="2309" y="705"/>
                      <a:pt x="2302" y="714"/>
                      <a:pt x="2292" y="722"/>
                    </a:cubicBezTo>
                    <a:cubicBezTo>
                      <a:pt x="2283" y="730"/>
                      <a:pt x="2271" y="735"/>
                      <a:pt x="2256" y="740"/>
                    </a:cubicBezTo>
                    <a:cubicBezTo>
                      <a:pt x="2241" y="744"/>
                      <a:pt x="2223" y="746"/>
                      <a:pt x="2203" y="746"/>
                    </a:cubicBezTo>
                    <a:cubicBezTo>
                      <a:pt x="2197" y="746"/>
                      <a:pt x="2192" y="746"/>
                      <a:pt x="2186" y="746"/>
                    </a:cubicBezTo>
                    <a:cubicBezTo>
                      <a:pt x="2180" y="746"/>
                      <a:pt x="2175" y="746"/>
                      <a:pt x="2169" y="745"/>
                    </a:cubicBezTo>
                    <a:cubicBezTo>
                      <a:pt x="2164" y="745"/>
                      <a:pt x="2159" y="745"/>
                      <a:pt x="2154" y="745"/>
                    </a:cubicBezTo>
                    <a:cubicBezTo>
                      <a:pt x="2148" y="744"/>
                      <a:pt x="2144" y="744"/>
                      <a:pt x="2139" y="743"/>
                    </a:cubicBezTo>
                    <a:cubicBezTo>
                      <a:pt x="2131" y="742"/>
                      <a:pt x="2125" y="740"/>
                      <a:pt x="2122" y="736"/>
                    </a:cubicBezTo>
                    <a:cubicBezTo>
                      <a:pt x="2118" y="732"/>
                      <a:pt x="2116" y="726"/>
                      <a:pt x="2116" y="718"/>
                    </a:cubicBezTo>
                    <a:lnTo>
                      <a:pt x="2116" y="511"/>
                    </a:lnTo>
                    <a:cubicBezTo>
                      <a:pt x="2116" y="509"/>
                      <a:pt x="2117" y="508"/>
                      <a:pt x="2118" y="507"/>
                    </a:cubicBezTo>
                    <a:cubicBezTo>
                      <a:pt x="2119" y="505"/>
                      <a:pt x="2120" y="504"/>
                      <a:pt x="2123" y="504"/>
                    </a:cubicBezTo>
                    <a:cubicBezTo>
                      <a:pt x="2125" y="503"/>
                      <a:pt x="2128" y="502"/>
                      <a:pt x="2132" y="502"/>
                    </a:cubicBezTo>
                    <a:cubicBezTo>
                      <a:pt x="2136" y="501"/>
                      <a:pt x="2140" y="501"/>
                      <a:pt x="2146" y="501"/>
                    </a:cubicBezTo>
                    <a:cubicBezTo>
                      <a:pt x="2158" y="501"/>
                      <a:pt x="2167" y="502"/>
                      <a:pt x="2172" y="504"/>
                    </a:cubicBezTo>
                    <a:cubicBezTo>
                      <a:pt x="2176" y="505"/>
                      <a:pt x="2179" y="508"/>
                      <a:pt x="2179" y="511"/>
                    </a:cubicBezTo>
                    <a:lnTo>
                      <a:pt x="2179" y="579"/>
                    </a:lnTo>
                    <a:close/>
                    <a:moveTo>
                      <a:pt x="2257" y="662"/>
                    </a:moveTo>
                    <a:cubicBezTo>
                      <a:pt x="2257" y="656"/>
                      <a:pt x="2256" y="651"/>
                      <a:pt x="2255" y="646"/>
                    </a:cubicBezTo>
                    <a:cubicBezTo>
                      <a:pt x="2253" y="641"/>
                      <a:pt x="2250" y="638"/>
                      <a:pt x="2246" y="634"/>
                    </a:cubicBezTo>
                    <a:cubicBezTo>
                      <a:pt x="2242" y="631"/>
                      <a:pt x="2237" y="629"/>
                      <a:pt x="2231" y="627"/>
                    </a:cubicBezTo>
                    <a:cubicBezTo>
                      <a:pt x="2225" y="625"/>
                      <a:pt x="2217" y="625"/>
                      <a:pt x="2208" y="625"/>
                    </a:cubicBezTo>
                    <a:cubicBezTo>
                      <a:pt x="2202" y="625"/>
                      <a:pt x="2197" y="625"/>
                      <a:pt x="2192" y="625"/>
                    </a:cubicBezTo>
                    <a:cubicBezTo>
                      <a:pt x="2188" y="625"/>
                      <a:pt x="2183" y="625"/>
                      <a:pt x="2179" y="626"/>
                    </a:cubicBezTo>
                    <a:lnTo>
                      <a:pt x="2179" y="697"/>
                    </a:lnTo>
                    <a:cubicBezTo>
                      <a:pt x="2184" y="698"/>
                      <a:pt x="2188" y="698"/>
                      <a:pt x="2193" y="699"/>
                    </a:cubicBezTo>
                    <a:cubicBezTo>
                      <a:pt x="2198" y="699"/>
                      <a:pt x="2203" y="699"/>
                      <a:pt x="2209" y="699"/>
                    </a:cubicBezTo>
                    <a:cubicBezTo>
                      <a:pt x="2226" y="699"/>
                      <a:pt x="2238" y="696"/>
                      <a:pt x="2246" y="689"/>
                    </a:cubicBezTo>
                    <a:cubicBezTo>
                      <a:pt x="2253" y="683"/>
                      <a:pt x="2257" y="673"/>
                      <a:pt x="2257" y="662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2" name="Freeform 1224"/>
              <p:cNvSpPr>
                <a:spLocks noEditPoints="1"/>
              </p:cNvSpPr>
              <p:nvPr/>
            </p:nvSpPr>
            <p:spPr bwMode="auto">
              <a:xfrm>
                <a:off x="4348" y="2602"/>
                <a:ext cx="377" cy="74"/>
              </a:xfrm>
              <a:custGeom>
                <a:avLst/>
                <a:gdLst/>
                <a:ahLst/>
                <a:cxnLst>
                  <a:cxn ang="0">
                    <a:pos x="218" y="324"/>
                  </a:cxn>
                  <a:cxn ang="0">
                    <a:pos x="171" y="318"/>
                  </a:cxn>
                  <a:cxn ang="0">
                    <a:pos x="118" y="207"/>
                  </a:cxn>
                  <a:cxn ang="0">
                    <a:pos x="0" y="102"/>
                  </a:cxn>
                  <a:cxn ang="0">
                    <a:pos x="16" y="1"/>
                  </a:cxn>
                  <a:cxn ang="0">
                    <a:pos x="63" y="6"/>
                  </a:cxn>
                  <a:cxn ang="0">
                    <a:pos x="78" y="139"/>
                  </a:cxn>
                  <a:cxn ang="0">
                    <a:pos x="170" y="151"/>
                  </a:cxn>
                  <a:cxn ang="0">
                    <a:pos x="187" y="1"/>
                  </a:cxn>
                  <a:cxn ang="0">
                    <a:pos x="233" y="6"/>
                  </a:cxn>
                  <a:cxn ang="0">
                    <a:pos x="518" y="40"/>
                  </a:cxn>
                  <a:cxn ang="0">
                    <a:pos x="429" y="55"/>
                  </a:cxn>
                  <a:cxn ang="0">
                    <a:pos x="412" y="324"/>
                  </a:cxn>
                  <a:cxn ang="0">
                    <a:pos x="365" y="318"/>
                  </a:cxn>
                  <a:cxn ang="0">
                    <a:pos x="278" y="53"/>
                  </a:cxn>
                  <a:cxn ang="0">
                    <a:pos x="274" y="15"/>
                  </a:cxn>
                  <a:cxn ang="0">
                    <a:pos x="509" y="1"/>
                  </a:cxn>
                  <a:cxn ang="0">
                    <a:pos x="519" y="28"/>
                  </a:cxn>
                  <a:cxn ang="0">
                    <a:pos x="742" y="321"/>
                  </a:cxn>
                  <a:cxn ang="0">
                    <a:pos x="557" y="302"/>
                  </a:cxn>
                  <a:cxn ang="0">
                    <a:pos x="737" y="1"/>
                  </a:cxn>
                  <a:cxn ang="0">
                    <a:pos x="746" y="27"/>
                  </a:cxn>
                  <a:cxn ang="0">
                    <a:pos x="737" y="52"/>
                  </a:cxn>
                  <a:cxn ang="0">
                    <a:pos x="723" y="132"/>
                  </a:cxn>
                  <a:cxn ang="0">
                    <a:pos x="728" y="168"/>
                  </a:cxn>
                  <a:cxn ang="0">
                    <a:pos x="622" y="181"/>
                  </a:cxn>
                  <a:cxn ang="0">
                    <a:pos x="745" y="277"/>
                  </a:cxn>
                  <a:cxn ang="0">
                    <a:pos x="1054" y="318"/>
                  </a:cxn>
                  <a:cxn ang="0">
                    <a:pos x="1008" y="324"/>
                  </a:cxn>
                  <a:cxn ang="0">
                    <a:pos x="991" y="184"/>
                  </a:cxn>
                  <a:cxn ang="0">
                    <a:pos x="864" y="321"/>
                  </a:cxn>
                  <a:cxn ang="0">
                    <a:pos x="812" y="321"/>
                  </a:cxn>
                  <a:cxn ang="0">
                    <a:pos x="807" y="6"/>
                  </a:cxn>
                  <a:cxn ang="0">
                    <a:pos x="854" y="1"/>
                  </a:cxn>
                  <a:cxn ang="0">
                    <a:pos x="871" y="128"/>
                  </a:cxn>
                  <a:cxn ang="0">
                    <a:pos x="998" y="3"/>
                  </a:cxn>
                  <a:cxn ang="0">
                    <a:pos x="1049" y="3"/>
                  </a:cxn>
                  <a:cxn ang="0">
                    <a:pos x="1388" y="314"/>
                  </a:cxn>
                  <a:cxn ang="0">
                    <a:pos x="1355" y="324"/>
                  </a:cxn>
                  <a:cxn ang="0">
                    <a:pos x="1323" y="314"/>
                  </a:cxn>
                  <a:cxn ang="0">
                    <a:pos x="1323" y="109"/>
                  </a:cxn>
                  <a:cxn ang="0">
                    <a:pos x="1299" y="148"/>
                  </a:cxn>
                  <a:cxn ang="0">
                    <a:pos x="1170" y="324"/>
                  </a:cxn>
                  <a:cxn ang="0">
                    <a:pos x="1127" y="319"/>
                  </a:cxn>
                  <a:cxn ang="0">
                    <a:pos x="1133" y="2"/>
                  </a:cxn>
                  <a:cxn ang="0">
                    <a:pos x="1185" y="2"/>
                  </a:cxn>
                  <a:cxn ang="0">
                    <a:pos x="1191" y="197"/>
                  </a:cxn>
                  <a:cxn ang="0">
                    <a:pos x="1215" y="176"/>
                  </a:cxn>
                  <a:cxn ang="0">
                    <a:pos x="1344" y="0"/>
                  </a:cxn>
                  <a:cxn ang="0">
                    <a:pos x="1386" y="5"/>
                  </a:cxn>
                  <a:cxn ang="0">
                    <a:pos x="1648" y="309"/>
                  </a:cxn>
                  <a:cxn ang="0">
                    <a:pos x="1477" y="323"/>
                  </a:cxn>
                  <a:cxn ang="0">
                    <a:pos x="1463" y="6"/>
                  </a:cxn>
                  <a:cxn ang="0">
                    <a:pos x="1645" y="7"/>
                  </a:cxn>
                  <a:cxn ang="0">
                    <a:pos x="1645" y="47"/>
                  </a:cxn>
                  <a:cxn ang="0">
                    <a:pos x="1523" y="131"/>
                  </a:cxn>
                  <a:cxn ang="0">
                    <a:pos x="1629" y="144"/>
                  </a:cxn>
                  <a:cxn ang="0">
                    <a:pos x="1624" y="180"/>
                  </a:cxn>
                  <a:cxn ang="0">
                    <a:pos x="1639" y="272"/>
                  </a:cxn>
                  <a:cxn ang="0">
                    <a:pos x="1648" y="297"/>
                  </a:cxn>
                </a:cxnLst>
                <a:rect l="0" t="0" r="r" b="b"/>
                <a:pathLst>
                  <a:path w="1648" h="324">
                    <a:moveTo>
                      <a:pt x="235" y="314"/>
                    </a:moveTo>
                    <a:cubicBezTo>
                      <a:pt x="235" y="316"/>
                      <a:pt x="234" y="317"/>
                      <a:pt x="233" y="318"/>
                    </a:cubicBezTo>
                    <a:cubicBezTo>
                      <a:pt x="232" y="320"/>
                      <a:pt x="231" y="321"/>
                      <a:pt x="228" y="321"/>
                    </a:cubicBezTo>
                    <a:cubicBezTo>
                      <a:pt x="226" y="322"/>
                      <a:pt x="223" y="323"/>
                      <a:pt x="218" y="324"/>
                    </a:cubicBezTo>
                    <a:cubicBezTo>
                      <a:pt x="214" y="324"/>
                      <a:pt x="209" y="324"/>
                      <a:pt x="203" y="324"/>
                    </a:cubicBezTo>
                    <a:cubicBezTo>
                      <a:pt x="197" y="324"/>
                      <a:pt x="192" y="324"/>
                      <a:pt x="187" y="324"/>
                    </a:cubicBezTo>
                    <a:cubicBezTo>
                      <a:pt x="183" y="323"/>
                      <a:pt x="180" y="322"/>
                      <a:pt x="177" y="321"/>
                    </a:cubicBezTo>
                    <a:cubicBezTo>
                      <a:pt x="174" y="321"/>
                      <a:pt x="173" y="320"/>
                      <a:pt x="171" y="318"/>
                    </a:cubicBezTo>
                    <a:cubicBezTo>
                      <a:pt x="170" y="317"/>
                      <a:pt x="170" y="316"/>
                      <a:pt x="170" y="314"/>
                    </a:cubicBezTo>
                    <a:lnTo>
                      <a:pt x="170" y="204"/>
                    </a:lnTo>
                    <a:cubicBezTo>
                      <a:pt x="161" y="205"/>
                      <a:pt x="152" y="206"/>
                      <a:pt x="144" y="206"/>
                    </a:cubicBezTo>
                    <a:cubicBezTo>
                      <a:pt x="135" y="207"/>
                      <a:pt x="127" y="207"/>
                      <a:pt x="118" y="207"/>
                    </a:cubicBezTo>
                    <a:cubicBezTo>
                      <a:pt x="100" y="207"/>
                      <a:pt x="84" y="206"/>
                      <a:pt x="70" y="203"/>
                    </a:cubicBezTo>
                    <a:cubicBezTo>
                      <a:pt x="55" y="199"/>
                      <a:pt x="43" y="194"/>
                      <a:pt x="32" y="186"/>
                    </a:cubicBezTo>
                    <a:cubicBezTo>
                      <a:pt x="22" y="178"/>
                      <a:pt x="14" y="167"/>
                      <a:pt x="8" y="154"/>
                    </a:cubicBezTo>
                    <a:cubicBezTo>
                      <a:pt x="2" y="140"/>
                      <a:pt x="0" y="123"/>
                      <a:pt x="0" y="102"/>
                    </a:cubicBezTo>
                    <a:lnTo>
                      <a:pt x="0" y="10"/>
                    </a:lnTo>
                    <a:cubicBezTo>
                      <a:pt x="0" y="8"/>
                      <a:pt x="0" y="7"/>
                      <a:pt x="1" y="6"/>
                    </a:cubicBezTo>
                    <a:cubicBezTo>
                      <a:pt x="2" y="4"/>
                      <a:pt x="4" y="3"/>
                      <a:pt x="6" y="3"/>
                    </a:cubicBezTo>
                    <a:cubicBezTo>
                      <a:pt x="8" y="2"/>
                      <a:pt x="12" y="1"/>
                      <a:pt x="16" y="1"/>
                    </a:cubicBezTo>
                    <a:cubicBezTo>
                      <a:pt x="20" y="0"/>
                      <a:pt x="25" y="0"/>
                      <a:pt x="31" y="0"/>
                    </a:cubicBezTo>
                    <a:cubicBezTo>
                      <a:pt x="37" y="0"/>
                      <a:pt x="43" y="0"/>
                      <a:pt x="47" y="1"/>
                    </a:cubicBezTo>
                    <a:cubicBezTo>
                      <a:pt x="51" y="1"/>
                      <a:pt x="54" y="2"/>
                      <a:pt x="57" y="3"/>
                    </a:cubicBezTo>
                    <a:cubicBezTo>
                      <a:pt x="60" y="3"/>
                      <a:pt x="62" y="4"/>
                      <a:pt x="63" y="6"/>
                    </a:cubicBezTo>
                    <a:cubicBezTo>
                      <a:pt x="64" y="7"/>
                      <a:pt x="65" y="8"/>
                      <a:pt x="65" y="10"/>
                    </a:cubicBezTo>
                    <a:lnTo>
                      <a:pt x="65" y="95"/>
                    </a:lnTo>
                    <a:cubicBezTo>
                      <a:pt x="65" y="105"/>
                      <a:pt x="66" y="114"/>
                      <a:pt x="68" y="121"/>
                    </a:cubicBezTo>
                    <a:cubicBezTo>
                      <a:pt x="70" y="129"/>
                      <a:pt x="73" y="135"/>
                      <a:pt x="78" y="139"/>
                    </a:cubicBezTo>
                    <a:cubicBezTo>
                      <a:pt x="83" y="144"/>
                      <a:pt x="89" y="148"/>
                      <a:pt x="97" y="150"/>
                    </a:cubicBezTo>
                    <a:cubicBezTo>
                      <a:pt x="105" y="153"/>
                      <a:pt x="115" y="154"/>
                      <a:pt x="126" y="154"/>
                    </a:cubicBezTo>
                    <a:cubicBezTo>
                      <a:pt x="134" y="154"/>
                      <a:pt x="141" y="154"/>
                      <a:pt x="148" y="153"/>
                    </a:cubicBezTo>
                    <a:cubicBezTo>
                      <a:pt x="155" y="153"/>
                      <a:pt x="162" y="152"/>
                      <a:pt x="170" y="151"/>
                    </a:cubicBezTo>
                    <a:lnTo>
                      <a:pt x="170" y="10"/>
                    </a:lnTo>
                    <a:cubicBezTo>
                      <a:pt x="170" y="8"/>
                      <a:pt x="170" y="7"/>
                      <a:pt x="171" y="6"/>
                    </a:cubicBezTo>
                    <a:cubicBezTo>
                      <a:pt x="173" y="4"/>
                      <a:pt x="174" y="3"/>
                      <a:pt x="177" y="3"/>
                    </a:cubicBezTo>
                    <a:cubicBezTo>
                      <a:pt x="180" y="2"/>
                      <a:pt x="183" y="1"/>
                      <a:pt x="187" y="1"/>
                    </a:cubicBezTo>
                    <a:cubicBezTo>
                      <a:pt x="192" y="0"/>
                      <a:pt x="197" y="0"/>
                      <a:pt x="203" y="0"/>
                    </a:cubicBezTo>
                    <a:cubicBezTo>
                      <a:pt x="209" y="0"/>
                      <a:pt x="214" y="0"/>
                      <a:pt x="218" y="1"/>
                    </a:cubicBezTo>
                    <a:cubicBezTo>
                      <a:pt x="223" y="1"/>
                      <a:pt x="226" y="2"/>
                      <a:pt x="228" y="3"/>
                    </a:cubicBezTo>
                    <a:cubicBezTo>
                      <a:pt x="231" y="3"/>
                      <a:pt x="232" y="4"/>
                      <a:pt x="233" y="6"/>
                    </a:cubicBezTo>
                    <a:cubicBezTo>
                      <a:pt x="234" y="7"/>
                      <a:pt x="235" y="8"/>
                      <a:pt x="235" y="10"/>
                    </a:cubicBezTo>
                    <a:lnTo>
                      <a:pt x="235" y="314"/>
                    </a:lnTo>
                    <a:close/>
                    <a:moveTo>
                      <a:pt x="519" y="28"/>
                    </a:moveTo>
                    <a:cubicBezTo>
                      <a:pt x="519" y="33"/>
                      <a:pt x="519" y="37"/>
                      <a:pt x="518" y="40"/>
                    </a:cubicBezTo>
                    <a:cubicBezTo>
                      <a:pt x="518" y="44"/>
                      <a:pt x="517" y="47"/>
                      <a:pt x="516" y="49"/>
                    </a:cubicBezTo>
                    <a:cubicBezTo>
                      <a:pt x="516" y="51"/>
                      <a:pt x="515" y="52"/>
                      <a:pt x="513" y="53"/>
                    </a:cubicBezTo>
                    <a:cubicBezTo>
                      <a:pt x="512" y="54"/>
                      <a:pt x="511" y="55"/>
                      <a:pt x="509" y="55"/>
                    </a:cubicBezTo>
                    <a:lnTo>
                      <a:pt x="429" y="55"/>
                    </a:lnTo>
                    <a:lnTo>
                      <a:pt x="429" y="314"/>
                    </a:lnTo>
                    <a:cubicBezTo>
                      <a:pt x="429" y="315"/>
                      <a:pt x="428" y="317"/>
                      <a:pt x="427" y="318"/>
                    </a:cubicBezTo>
                    <a:cubicBezTo>
                      <a:pt x="426" y="320"/>
                      <a:pt x="424" y="321"/>
                      <a:pt x="422" y="321"/>
                    </a:cubicBezTo>
                    <a:cubicBezTo>
                      <a:pt x="419" y="322"/>
                      <a:pt x="416" y="323"/>
                      <a:pt x="412" y="324"/>
                    </a:cubicBezTo>
                    <a:cubicBezTo>
                      <a:pt x="408" y="324"/>
                      <a:pt x="402" y="324"/>
                      <a:pt x="396" y="324"/>
                    </a:cubicBezTo>
                    <a:cubicBezTo>
                      <a:pt x="390" y="324"/>
                      <a:pt x="384" y="324"/>
                      <a:pt x="380" y="324"/>
                    </a:cubicBezTo>
                    <a:cubicBezTo>
                      <a:pt x="376" y="323"/>
                      <a:pt x="373" y="322"/>
                      <a:pt x="370" y="321"/>
                    </a:cubicBezTo>
                    <a:cubicBezTo>
                      <a:pt x="368" y="321"/>
                      <a:pt x="366" y="320"/>
                      <a:pt x="365" y="318"/>
                    </a:cubicBezTo>
                    <a:cubicBezTo>
                      <a:pt x="364" y="317"/>
                      <a:pt x="363" y="315"/>
                      <a:pt x="363" y="314"/>
                    </a:cubicBezTo>
                    <a:lnTo>
                      <a:pt x="363" y="55"/>
                    </a:lnTo>
                    <a:lnTo>
                      <a:pt x="283" y="55"/>
                    </a:lnTo>
                    <a:cubicBezTo>
                      <a:pt x="281" y="55"/>
                      <a:pt x="280" y="54"/>
                      <a:pt x="278" y="53"/>
                    </a:cubicBezTo>
                    <a:cubicBezTo>
                      <a:pt x="277" y="52"/>
                      <a:pt x="276" y="51"/>
                      <a:pt x="275" y="49"/>
                    </a:cubicBezTo>
                    <a:cubicBezTo>
                      <a:pt x="275" y="47"/>
                      <a:pt x="274" y="44"/>
                      <a:pt x="274" y="40"/>
                    </a:cubicBezTo>
                    <a:cubicBezTo>
                      <a:pt x="273" y="37"/>
                      <a:pt x="273" y="33"/>
                      <a:pt x="273" y="28"/>
                    </a:cubicBezTo>
                    <a:cubicBezTo>
                      <a:pt x="273" y="23"/>
                      <a:pt x="273" y="19"/>
                      <a:pt x="274" y="15"/>
                    </a:cubicBezTo>
                    <a:cubicBezTo>
                      <a:pt x="274" y="12"/>
                      <a:pt x="275" y="9"/>
                      <a:pt x="275" y="7"/>
                    </a:cubicBezTo>
                    <a:cubicBezTo>
                      <a:pt x="276" y="5"/>
                      <a:pt x="277" y="4"/>
                      <a:pt x="278" y="3"/>
                    </a:cubicBezTo>
                    <a:cubicBezTo>
                      <a:pt x="280" y="2"/>
                      <a:pt x="281" y="1"/>
                      <a:pt x="283" y="1"/>
                    </a:cubicBezTo>
                    <a:lnTo>
                      <a:pt x="509" y="1"/>
                    </a:lnTo>
                    <a:cubicBezTo>
                      <a:pt x="511" y="1"/>
                      <a:pt x="512" y="2"/>
                      <a:pt x="513" y="3"/>
                    </a:cubicBezTo>
                    <a:cubicBezTo>
                      <a:pt x="515" y="4"/>
                      <a:pt x="516" y="5"/>
                      <a:pt x="516" y="7"/>
                    </a:cubicBezTo>
                    <a:cubicBezTo>
                      <a:pt x="517" y="9"/>
                      <a:pt x="518" y="12"/>
                      <a:pt x="518" y="15"/>
                    </a:cubicBezTo>
                    <a:cubicBezTo>
                      <a:pt x="519" y="19"/>
                      <a:pt x="519" y="23"/>
                      <a:pt x="519" y="28"/>
                    </a:cubicBezTo>
                    <a:close/>
                    <a:moveTo>
                      <a:pt x="748" y="297"/>
                    </a:moveTo>
                    <a:cubicBezTo>
                      <a:pt x="748" y="302"/>
                      <a:pt x="747" y="306"/>
                      <a:pt x="747" y="309"/>
                    </a:cubicBezTo>
                    <a:cubicBezTo>
                      <a:pt x="747" y="312"/>
                      <a:pt x="746" y="315"/>
                      <a:pt x="745" y="317"/>
                    </a:cubicBezTo>
                    <a:cubicBezTo>
                      <a:pt x="744" y="319"/>
                      <a:pt x="743" y="320"/>
                      <a:pt x="742" y="321"/>
                    </a:cubicBezTo>
                    <a:cubicBezTo>
                      <a:pt x="741" y="322"/>
                      <a:pt x="739" y="323"/>
                      <a:pt x="738" y="323"/>
                    </a:cubicBezTo>
                    <a:lnTo>
                      <a:pt x="576" y="323"/>
                    </a:lnTo>
                    <a:cubicBezTo>
                      <a:pt x="571" y="323"/>
                      <a:pt x="566" y="321"/>
                      <a:pt x="563" y="318"/>
                    </a:cubicBezTo>
                    <a:cubicBezTo>
                      <a:pt x="559" y="315"/>
                      <a:pt x="557" y="309"/>
                      <a:pt x="557" y="302"/>
                    </a:cubicBezTo>
                    <a:lnTo>
                      <a:pt x="557" y="22"/>
                    </a:lnTo>
                    <a:cubicBezTo>
                      <a:pt x="557" y="15"/>
                      <a:pt x="559" y="9"/>
                      <a:pt x="563" y="6"/>
                    </a:cubicBezTo>
                    <a:cubicBezTo>
                      <a:pt x="566" y="3"/>
                      <a:pt x="571" y="1"/>
                      <a:pt x="576" y="1"/>
                    </a:cubicBezTo>
                    <a:lnTo>
                      <a:pt x="737" y="1"/>
                    </a:lnTo>
                    <a:cubicBezTo>
                      <a:pt x="738" y="1"/>
                      <a:pt x="740" y="2"/>
                      <a:pt x="741" y="3"/>
                    </a:cubicBezTo>
                    <a:cubicBezTo>
                      <a:pt x="742" y="3"/>
                      <a:pt x="743" y="5"/>
                      <a:pt x="744" y="7"/>
                    </a:cubicBezTo>
                    <a:cubicBezTo>
                      <a:pt x="745" y="9"/>
                      <a:pt x="745" y="12"/>
                      <a:pt x="746" y="15"/>
                    </a:cubicBezTo>
                    <a:cubicBezTo>
                      <a:pt x="746" y="18"/>
                      <a:pt x="746" y="22"/>
                      <a:pt x="746" y="27"/>
                    </a:cubicBezTo>
                    <a:cubicBezTo>
                      <a:pt x="746" y="32"/>
                      <a:pt x="746" y="36"/>
                      <a:pt x="746" y="39"/>
                    </a:cubicBezTo>
                    <a:cubicBezTo>
                      <a:pt x="745" y="42"/>
                      <a:pt x="745" y="45"/>
                      <a:pt x="744" y="47"/>
                    </a:cubicBezTo>
                    <a:cubicBezTo>
                      <a:pt x="743" y="49"/>
                      <a:pt x="742" y="50"/>
                      <a:pt x="741" y="51"/>
                    </a:cubicBezTo>
                    <a:cubicBezTo>
                      <a:pt x="740" y="52"/>
                      <a:pt x="738" y="52"/>
                      <a:pt x="737" y="52"/>
                    </a:cubicBezTo>
                    <a:lnTo>
                      <a:pt x="622" y="52"/>
                    </a:lnTo>
                    <a:lnTo>
                      <a:pt x="622" y="131"/>
                    </a:lnTo>
                    <a:lnTo>
                      <a:pt x="719" y="131"/>
                    </a:lnTo>
                    <a:cubicBezTo>
                      <a:pt x="721" y="131"/>
                      <a:pt x="722" y="131"/>
                      <a:pt x="723" y="132"/>
                    </a:cubicBezTo>
                    <a:cubicBezTo>
                      <a:pt x="725" y="133"/>
                      <a:pt x="726" y="135"/>
                      <a:pt x="726" y="137"/>
                    </a:cubicBezTo>
                    <a:cubicBezTo>
                      <a:pt x="727" y="139"/>
                      <a:pt x="728" y="141"/>
                      <a:pt x="728" y="144"/>
                    </a:cubicBezTo>
                    <a:cubicBezTo>
                      <a:pt x="729" y="147"/>
                      <a:pt x="729" y="151"/>
                      <a:pt x="729" y="156"/>
                    </a:cubicBezTo>
                    <a:cubicBezTo>
                      <a:pt x="729" y="161"/>
                      <a:pt x="729" y="165"/>
                      <a:pt x="728" y="168"/>
                    </a:cubicBezTo>
                    <a:cubicBezTo>
                      <a:pt x="728" y="171"/>
                      <a:pt x="727" y="174"/>
                      <a:pt x="726" y="176"/>
                    </a:cubicBezTo>
                    <a:cubicBezTo>
                      <a:pt x="726" y="178"/>
                      <a:pt x="725" y="179"/>
                      <a:pt x="723" y="180"/>
                    </a:cubicBezTo>
                    <a:cubicBezTo>
                      <a:pt x="722" y="180"/>
                      <a:pt x="721" y="181"/>
                      <a:pt x="719" y="181"/>
                    </a:cubicBezTo>
                    <a:lnTo>
                      <a:pt x="622" y="181"/>
                    </a:lnTo>
                    <a:lnTo>
                      <a:pt x="622" y="272"/>
                    </a:lnTo>
                    <a:lnTo>
                      <a:pt x="738" y="272"/>
                    </a:lnTo>
                    <a:cubicBezTo>
                      <a:pt x="739" y="272"/>
                      <a:pt x="741" y="272"/>
                      <a:pt x="742" y="273"/>
                    </a:cubicBezTo>
                    <a:cubicBezTo>
                      <a:pt x="743" y="274"/>
                      <a:pt x="744" y="275"/>
                      <a:pt x="745" y="277"/>
                    </a:cubicBezTo>
                    <a:cubicBezTo>
                      <a:pt x="746" y="279"/>
                      <a:pt x="747" y="282"/>
                      <a:pt x="747" y="285"/>
                    </a:cubicBezTo>
                    <a:cubicBezTo>
                      <a:pt x="747" y="288"/>
                      <a:pt x="748" y="292"/>
                      <a:pt x="748" y="297"/>
                    </a:cubicBezTo>
                    <a:close/>
                    <a:moveTo>
                      <a:pt x="1056" y="314"/>
                    </a:moveTo>
                    <a:cubicBezTo>
                      <a:pt x="1056" y="315"/>
                      <a:pt x="1056" y="317"/>
                      <a:pt x="1054" y="318"/>
                    </a:cubicBezTo>
                    <a:cubicBezTo>
                      <a:pt x="1053" y="320"/>
                      <a:pt x="1052" y="321"/>
                      <a:pt x="1049" y="321"/>
                    </a:cubicBezTo>
                    <a:cubicBezTo>
                      <a:pt x="1047" y="322"/>
                      <a:pt x="1043" y="323"/>
                      <a:pt x="1039" y="324"/>
                    </a:cubicBezTo>
                    <a:cubicBezTo>
                      <a:pt x="1035" y="324"/>
                      <a:pt x="1030" y="324"/>
                      <a:pt x="1024" y="324"/>
                    </a:cubicBezTo>
                    <a:cubicBezTo>
                      <a:pt x="1017" y="324"/>
                      <a:pt x="1012" y="324"/>
                      <a:pt x="1008" y="324"/>
                    </a:cubicBezTo>
                    <a:cubicBezTo>
                      <a:pt x="1003" y="323"/>
                      <a:pt x="1000" y="322"/>
                      <a:pt x="998" y="321"/>
                    </a:cubicBezTo>
                    <a:cubicBezTo>
                      <a:pt x="995" y="321"/>
                      <a:pt x="993" y="320"/>
                      <a:pt x="992" y="318"/>
                    </a:cubicBezTo>
                    <a:cubicBezTo>
                      <a:pt x="991" y="317"/>
                      <a:pt x="991" y="315"/>
                      <a:pt x="991" y="314"/>
                    </a:cubicBezTo>
                    <a:lnTo>
                      <a:pt x="991" y="184"/>
                    </a:lnTo>
                    <a:lnTo>
                      <a:pt x="871" y="184"/>
                    </a:lnTo>
                    <a:lnTo>
                      <a:pt x="871" y="314"/>
                    </a:lnTo>
                    <a:cubicBezTo>
                      <a:pt x="871" y="315"/>
                      <a:pt x="870" y="317"/>
                      <a:pt x="869" y="318"/>
                    </a:cubicBezTo>
                    <a:cubicBezTo>
                      <a:pt x="868" y="320"/>
                      <a:pt x="866" y="321"/>
                      <a:pt x="864" y="321"/>
                    </a:cubicBezTo>
                    <a:cubicBezTo>
                      <a:pt x="861" y="322"/>
                      <a:pt x="858" y="323"/>
                      <a:pt x="854" y="324"/>
                    </a:cubicBezTo>
                    <a:cubicBezTo>
                      <a:pt x="850" y="324"/>
                      <a:pt x="844" y="324"/>
                      <a:pt x="838" y="324"/>
                    </a:cubicBezTo>
                    <a:cubicBezTo>
                      <a:pt x="832" y="324"/>
                      <a:pt x="826" y="324"/>
                      <a:pt x="822" y="324"/>
                    </a:cubicBezTo>
                    <a:cubicBezTo>
                      <a:pt x="818" y="323"/>
                      <a:pt x="815" y="322"/>
                      <a:pt x="812" y="321"/>
                    </a:cubicBezTo>
                    <a:cubicBezTo>
                      <a:pt x="810" y="321"/>
                      <a:pt x="808" y="320"/>
                      <a:pt x="807" y="318"/>
                    </a:cubicBezTo>
                    <a:cubicBezTo>
                      <a:pt x="806" y="317"/>
                      <a:pt x="805" y="315"/>
                      <a:pt x="805" y="314"/>
                    </a:cubicBezTo>
                    <a:lnTo>
                      <a:pt x="805" y="10"/>
                    </a:lnTo>
                    <a:cubicBezTo>
                      <a:pt x="805" y="9"/>
                      <a:pt x="806" y="7"/>
                      <a:pt x="807" y="6"/>
                    </a:cubicBezTo>
                    <a:cubicBezTo>
                      <a:pt x="808" y="4"/>
                      <a:pt x="810" y="3"/>
                      <a:pt x="812" y="3"/>
                    </a:cubicBezTo>
                    <a:cubicBezTo>
                      <a:pt x="815" y="2"/>
                      <a:pt x="818" y="1"/>
                      <a:pt x="822" y="1"/>
                    </a:cubicBezTo>
                    <a:cubicBezTo>
                      <a:pt x="826" y="0"/>
                      <a:pt x="832" y="0"/>
                      <a:pt x="838" y="0"/>
                    </a:cubicBezTo>
                    <a:cubicBezTo>
                      <a:pt x="844" y="0"/>
                      <a:pt x="850" y="0"/>
                      <a:pt x="854" y="1"/>
                    </a:cubicBezTo>
                    <a:cubicBezTo>
                      <a:pt x="858" y="1"/>
                      <a:pt x="861" y="2"/>
                      <a:pt x="864" y="3"/>
                    </a:cubicBezTo>
                    <a:cubicBezTo>
                      <a:pt x="866" y="3"/>
                      <a:pt x="868" y="4"/>
                      <a:pt x="869" y="6"/>
                    </a:cubicBezTo>
                    <a:cubicBezTo>
                      <a:pt x="870" y="7"/>
                      <a:pt x="871" y="9"/>
                      <a:pt x="871" y="10"/>
                    </a:cubicBezTo>
                    <a:lnTo>
                      <a:pt x="871" y="128"/>
                    </a:lnTo>
                    <a:lnTo>
                      <a:pt x="991" y="128"/>
                    </a:lnTo>
                    <a:lnTo>
                      <a:pt x="991" y="10"/>
                    </a:lnTo>
                    <a:cubicBezTo>
                      <a:pt x="991" y="9"/>
                      <a:pt x="991" y="7"/>
                      <a:pt x="992" y="6"/>
                    </a:cubicBezTo>
                    <a:cubicBezTo>
                      <a:pt x="993" y="4"/>
                      <a:pt x="995" y="3"/>
                      <a:pt x="998" y="3"/>
                    </a:cubicBezTo>
                    <a:cubicBezTo>
                      <a:pt x="1000" y="2"/>
                      <a:pt x="1003" y="1"/>
                      <a:pt x="1008" y="1"/>
                    </a:cubicBezTo>
                    <a:cubicBezTo>
                      <a:pt x="1012" y="0"/>
                      <a:pt x="1017" y="0"/>
                      <a:pt x="1024" y="0"/>
                    </a:cubicBezTo>
                    <a:cubicBezTo>
                      <a:pt x="1030" y="0"/>
                      <a:pt x="1035" y="0"/>
                      <a:pt x="1039" y="1"/>
                    </a:cubicBezTo>
                    <a:cubicBezTo>
                      <a:pt x="1043" y="1"/>
                      <a:pt x="1047" y="2"/>
                      <a:pt x="1049" y="3"/>
                    </a:cubicBezTo>
                    <a:cubicBezTo>
                      <a:pt x="1052" y="3"/>
                      <a:pt x="1053" y="4"/>
                      <a:pt x="1054" y="6"/>
                    </a:cubicBezTo>
                    <a:cubicBezTo>
                      <a:pt x="1056" y="7"/>
                      <a:pt x="1056" y="9"/>
                      <a:pt x="1056" y="10"/>
                    </a:cubicBezTo>
                    <a:lnTo>
                      <a:pt x="1056" y="314"/>
                    </a:lnTo>
                    <a:close/>
                    <a:moveTo>
                      <a:pt x="1388" y="314"/>
                    </a:moveTo>
                    <a:cubicBezTo>
                      <a:pt x="1388" y="316"/>
                      <a:pt x="1387" y="317"/>
                      <a:pt x="1386" y="319"/>
                    </a:cubicBezTo>
                    <a:cubicBezTo>
                      <a:pt x="1385" y="320"/>
                      <a:pt x="1383" y="321"/>
                      <a:pt x="1381" y="322"/>
                    </a:cubicBezTo>
                    <a:cubicBezTo>
                      <a:pt x="1378" y="323"/>
                      <a:pt x="1375" y="323"/>
                      <a:pt x="1371" y="324"/>
                    </a:cubicBezTo>
                    <a:cubicBezTo>
                      <a:pt x="1367" y="324"/>
                      <a:pt x="1361" y="324"/>
                      <a:pt x="1355" y="324"/>
                    </a:cubicBezTo>
                    <a:cubicBezTo>
                      <a:pt x="1349" y="324"/>
                      <a:pt x="1343" y="324"/>
                      <a:pt x="1339" y="324"/>
                    </a:cubicBezTo>
                    <a:cubicBezTo>
                      <a:pt x="1335" y="323"/>
                      <a:pt x="1332" y="323"/>
                      <a:pt x="1329" y="322"/>
                    </a:cubicBezTo>
                    <a:cubicBezTo>
                      <a:pt x="1327" y="321"/>
                      <a:pt x="1325" y="320"/>
                      <a:pt x="1324" y="319"/>
                    </a:cubicBezTo>
                    <a:cubicBezTo>
                      <a:pt x="1323" y="317"/>
                      <a:pt x="1323" y="316"/>
                      <a:pt x="1323" y="314"/>
                    </a:cubicBezTo>
                    <a:lnTo>
                      <a:pt x="1323" y="145"/>
                    </a:lnTo>
                    <a:cubicBezTo>
                      <a:pt x="1323" y="138"/>
                      <a:pt x="1323" y="132"/>
                      <a:pt x="1323" y="126"/>
                    </a:cubicBezTo>
                    <a:cubicBezTo>
                      <a:pt x="1323" y="120"/>
                      <a:pt x="1323" y="114"/>
                      <a:pt x="1324" y="109"/>
                    </a:cubicBezTo>
                    <a:lnTo>
                      <a:pt x="1323" y="109"/>
                    </a:lnTo>
                    <a:cubicBezTo>
                      <a:pt x="1322" y="112"/>
                      <a:pt x="1320" y="114"/>
                      <a:pt x="1318" y="117"/>
                    </a:cubicBezTo>
                    <a:cubicBezTo>
                      <a:pt x="1317" y="121"/>
                      <a:pt x="1315" y="124"/>
                      <a:pt x="1313" y="127"/>
                    </a:cubicBezTo>
                    <a:cubicBezTo>
                      <a:pt x="1311" y="131"/>
                      <a:pt x="1308" y="134"/>
                      <a:pt x="1306" y="138"/>
                    </a:cubicBezTo>
                    <a:cubicBezTo>
                      <a:pt x="1304" y="141"/>
                      <a:pt x="1301" y="145"/>
                      <a:pt x="1299" y="148"/>
                    </a:cubicBezTo>
                    <a:lnTo>
                      <a:pt x="1187" y="315"/>
                    </a:lnTo>
                    <a:cubicBezTo>
                      <a:pt x="1186" y="316"/>
                      <a:pt x="1185" y="318"/>
                      <a:pt x="1183" y="319"/>
                    </a:cubicBezTo>
                    <a:cubicBezTo>
                      <a:pt x="1182" y="321"/>
                      <a:pt x="1180" y="322"/>
                      <a:pt x="1178" y="322"/>
                    </a:cubicBezTo>
                    <a:cubicBezTo>
                      <a:pt x="1176" y="323"/>
                      <a:pt x="1173" y="324"/>
                      <a:pt x="1170" y="324"/>
                    </a:cubicBezTo>
                    <a:cubicBezTo>
                      <a:pt x="1166" y="324"/>
                      <a:pt x="1162" y="324"/>
                      <a:pt x="1157" y="324"/>
                    </a:cubicBezTo>
                    <a:cubicBezTo>
                      <a:pt x="1150" y="324"/>
                      <a:pt x="1145" y="324"/>
                      <a:pt x="1141" y="324"/>
                    </a:cubicBezTo>
                    <a:cubicBezTo>
                      <a:pt x="1137" y="323"/>
                      <a:pt x="1134" y="323"/>
                      <a:pt x="1132" y="322"/>
                    </a:cubicBezTo>
                    <a:cubicBezTo>
                      <a:pt x="1130" y="321"/>
                      <a:pt x="1128" y="320"/>
                      <a:pt x="1127" y="319"/>
                    </a:cubicBezTo>
                    <a:cubicBezTo>
                      <a:pt x="1127" y="317"/>
                      <a:pt x="1126" y="316"/>
                      <a:pt x="1126" y="314"/>
                    </a:cubicBezTo>
                    <a:lnTo>
                      <a:pt x="1126" y="10"/>
                    </a:lnTo>
                    <a:cubicBezTo>
                      <a:pt x="1126" y="8"/>
                      <a:pt x="1127" y="7"/>
                      <a:pt x="1128" y="5"/>
                    </a:cubicBezTo>
                    <a:cubicBezTo>
                      <a:pt x="1129" y="4"/>
                      <a:pt x="1131" y="3"/>
                      <a:pt x="1133" y="2"/>
                    </a:cubicBezTo>
                    <a:cubicBezTo>
                      <a:pt x="1136" y="1"/>
                      <a:pt x="1139" y="1"/>
                      <a:pt x="1143" y="0"/>
                    </a:cubicBezTo>
                    <a:cubicBezTo>
                      <a:pt x="1147" y="0"/>
                      <a:pt x="1153" y="0"/>
                      <a:pt x="1159" y="0"/>
                    </a:cubicBezTo>
                    <a:cubicBezTo>
                      <a:pt x="1165" y="0"/>
                      <a:pt x="1171" y="0"/>
                      <a:pt x="1175" y="0"/>
                    </a:cubicBezTo>
                    <a:cubicBezTo>
                      <a:pt x="1179" y="1"/>
                      <a:pt x="1182" y="1"/>
                      <a:pt x="1185" y="2"/>
                    </a:cubicBezTo>
                    <a:cubicBezTo>
                      <a:pt x="1187" y="3"/>
                      <a:pt x="1189" y="4"/>
                      <a:pt x="1190" y="5"/>
                    </a:cubicBezTo>
                    <a:cubicBezTo>
                      <a:pt x="1191" y="7"/>
                      <a:pt x="1192" y="8"/>
                      <a:pt x="1192" y="10"/>
                    </a:cubicBezTo>
                    <a:lnTo>
                      <a:pt x="1192" y="180"/>
                    </a:lnTo>
                    <a:cubicBezTo>
                      <a:pt x="1192" y="185"/>
                      <a:pt x="1191" y="191"/>
                      <a:pt x="1191" y="197"/>
                    </a:cubicBezTo>
                    <a:cubicBezTo>
                      <a:pt x="1191" y="203"/>
                      <a:pt x="1191" y="209"/>
                      <a:pt x="1191" y="214"/>
                    </a:cubicBezTo>
                    <a:lnTo>
                      <a:pt x="1191" y="214"/>
                    </a:lnTo>
                    <a:cubicBezTo>
                      <a:pt x="1194" y="209"/>
                      <a:pt x="1197" y="204"/>
                      <a:pt x="1202" y="197"/>
                    </a:cubicBezTo>
                    <a:cubicBezTo>
                      <a:pt x="1206" y="190"/>
                      <a:pt x="1210" y="183"/>
                      <a:pt x="1215" y="176"/>
                    </a:cubicBezTo>
                    <a:lnTo>
                      <a:pt x="1327" y="10"/>
                    </a:lnTo>
                    <a:cubicBezTo>
                      <a:pt x="1328" y="8"/>
                      <a:pt x="1329" y="6"/>
                      <a:pt x="1331" y="5"/>
                    </a:cubicBezTo>
                    <a:cubicBezTo>
                      <a:pt x="1332" y="4"/>
                      <a:pt x="1334" y="3"/>
                      <a:pt x="1336" y="2"/>
                    </a:cubicBezTo>
                    <a:cubicBezTo>
                      <a:pt x="1338" y="1"/>
                      <a:pt x="1341" y="1"/>
                      <a:pt x="1344" y="0"/>
                    </a:cubicBezTo>
                    <a:cubicBezTo>
                      <a:pt x="1348" y="0"/>
                      <a:pt x="1352" y="0"/>
                      <a:pt x="1357" y="0"/>
                    </a:cubicBezTo>
                    <a:cubicBezTo>
                      <a:pt x="1363" y="0"/>
                      <a:pt x="1368" y="0"/>
                      <a:pt x="1372" y="0"/>
                    </a:cubicBezTo>
                    <a:cubicBezTo>
                      <a:pt x="1376" y="1"/>
                      <a:pt x="1379" y="1"/>
                      <a:pt x="1382" y="2"/>
                    </a:cubicBezTo>
                    <a:cubicBezTo>
                      <a:pt x="1384" y="3"/>
                      <a:pt x="1385" y="4"/>
                      <a:pt x="1386" y="5"/>
                    </a:cubicBezTo>
                    <a:cubicBezTo>
                      <a:pt x="1387" y="7"/>
                      <a:pt x="1388" y="8"/>
                      <a:pt x="1388" y="10"/>
                    </a:cubicBezTo>
                    <a:lnTo>
                      <a:pt x="1388" y="314"/>
                    </a:lnTo>
                    <a:close/>
                    <a:moveTo>
                      <a:pt x="1648" y="297"/>
                    </a:moveTo>
                    <a:cubicBezTo>
                      <a:pt x="1648" y="302"/>
                      <a:pt x="1648" y="306"/>
                      <a:pt x="1648" y="309"/>
                    </a:cubicBezTo>
                    <a:cubicBezTo>
                      <a:pt x="1647" y="312"/>
                      <a:pt x="1647" y="315"/>
                      <a:pt x="1646" y="317"/>
                    </a:cubicBezTo>
                    <a:cubicBezTo>
                      <a:pt x="1645" y="319"/>
                      <a:pt x="1644" y="320"/>
                      <a:pt x="1643" y="321"/>
                    </a:cubicBezTo>
                    <a:cubicBezTo>
                      <a:pt x="1642" y="322"/>
                      <a:pt x="1640" y="323"/>
                      <a:pt x="1639" y="323"/>
                    </a:cubicBezTo>
                    <a:lnTo>
                      <a:pt x="1477" y="323"/>
                    </a:lnTo>
                    <a:cubicBezTo>
                      <a:pt x="1472" y="323"/>
                      <a:pt x="1467" y="321"/>
                      <a:pt x="1463" y="318"/>
                    </a:cubicBezTo>
                    <a:cubicBezTo>
                      <a:pt x="1460" y="315"/>
                      <a:pt x="1458" y="309"/>
                      <a:pt x="1458" y="302"/>
                    </a:cubicBezTo>
                    <a:lnTo>
                      <a:pt x="1458" y="22"/>
                    </a:lnTo>
                    <a:cubicBezTo>
                      <a:pt x="1458" y="15"/>
                      <a:pt x="1460" y="9"/>
                      <a:pt x="1463" y="6"/>
                    </a:cubicBezTo>
                    <a:cubicBezTo>
                      <a:pt x="1467" y="3"/>
                      <a:pt x="1472" y="1"/>
                      <a:pt x="1477" y="1"/>
                    </a:cubicBezTo>
                    <a:lnTo>
                      <a:pt x="1638" y="1"/>
                    </a:lnTo>
                    <a:cubicBezTo>
                      <a:pt x="1639" y="1"/>
                      <a:pt x="1640" y="2"/>
                      <a:pt x="1642" y="3"/>
                    </a:cubicBezTo>
                    <a:cubicBezTo>
                      <a:pt x="1643" y="3"/>
                      <a:pt x="1644" y="5"/>
                      <a:pt x="1645" y="7"/>
                    </a:cubicBezTo>
                    <a:cubicBezTo>
                      <a:pt x="1645" y="9"/>
                      <a:pt x="1646" y="12"/>
                      <a:pt x="1646" y="15"/>
                    </a:cubicBezTo>
                    <a:cubicBezTo>
                      <a:pt x="1647" y="18"/>
                      <a:pt x="1647" y="22"/>
                      <a:pt x="1647" y="27"/>
                    </a:cubicBezTo>
                    <a:cubicBezTo>
                      <a:pt x="1647" y="32"/>
                      <a:pt x="1647" y="36"/>
                      <a:pt x="1646" y="39"/>
                    </a:cubicBezTo>
                    <a:cubicBezTo>
                      <a:pt x="1646" y="42"/>
                      <a:pt x="1645" y="45"/>
                      <a:pt x="1645" y="47"/>
                    </a:cubicBezTo>
                    <a:cubicBezTo>
                      <a:pt x="1644" y="49"/>
                      <a:pt x="1643" y="50"/>
                      <a:pt x="1642" y="51"/>
                    </a:cubicBezTo>
                    <a:cubicBezTo>
                      <a:pt x="1640" y="52"/>
                      <a:pt x="1639" y="52"/>
                      <a:pt x="1638" y="52"/>
                    </a:cubicBezTo>
                    <a:lnTo>
                      <a:pt x="1523" y="52"/>
                    </a:lnTo>
                    <a:lnTo>
                      <a:pt x="1523" y="131"/>
                    </a:lnTo>
                    <a:lnTo>
                      <a:pt x="1620" y="131"/>
                    </a:lnTo>
                    <a:cubicBezTo>
                      <a:pt x="1622" y="131"/>
                      <a:pt x="1623" y="131"/>
                      <a:pt x="1624" y="132"/>
                    </a:cubicBezTo>
                    <a:cubicBezTo>
                      <a:pt x="1625" y="133"/>
                      <a:pt x="1626" y="135"/>
                      <a:pt x="1627" y="137"/>
                    </a:cubicBezTo>
                    <a:cubicBezTo>
                      <a:pt x="1628" y="139"/>
                      <a:pt x="1629" y="141"/>
                      <a:pt x="1629" y="144"/>
                    </a:cubicBezTo>
                    <a:cubicBezTo>
                      <a:pt x="1630" y="147"/>
                      <a:pt x="1630" y="151"/>
                      <a:pt x="1630" y="156"/>
                    </a:cubicBezTo>
                    <a:cubicBezTo>
                      <a:pt x="1630" y="161"/>
                      <a:pt x="1630" y="165"/>
                      <a:pt x="1629" y="168"/>
                    </a:cubicBezTo>
                    <a:cubicBezTo>
                      <a:pt x="1629" y="171"/>
                      <a:pt x="1628" y="174"/>
                      <a:pt x="1627" y="176"/>
                    </a:cubicBezTo>
                    <a:cubicBezTo>
                      <a:pt x="1626" y="178"/>
                      <a:pt x="1625" y="179"/>
                      <a:pt x="1624" y="180"/>
                    </a:cubicBezTo>
                    <a:cubicBezTo>
                      <a:pt x="1623" y="180"/>
                      <a:pt x="1622" y="181"/>
                      <a:pt x="1620" y="181"/>
                    </a:cubicBezTo>
                    <a:lnTo>
                      <a:pt x="1523" y="181"/>
                    </a:lnTo>
                    <a:lnTo>
                      <a:pt x="1523" y="272"/>
                    </a:lnTo>
                    <a:lnTo>
                      <a:pt x="1639" y="272"/>
                    </a:lnTo>
                    <a:cubicBezTo>
                      <a:pt x="1640" y="272"/>
                      <a:pt x="1642" y="272"/>
                      <a:pt x="1643" y="273"/>
                    </a:cubicBezTo>
                    <a:cubicBezTo>
                      <a:pt x="1644" y="274"/>
                      <a:pt x="1645" y="275"/>
                      <a:pt x="1646" y="277"/>
                    </a:cubicBezTo>
                    <a:cubicBezTo>
                      <a:pt x="1647" y="279"/>
                      <a:pt x="1647" y="282"/>
                      <a:pt x="1648" y="285"/>
                    </a:cubicBezTo>
                    <a:cubicBezTo>
                      <a:pt x="1648" y="288"/>
                      <a:pt x="1648" y="292"/>
                      <a:pt x="1648" y="297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3" name="Freeform 1225"/>
              <p:cNvSpPr>
                <a:spLocks/>
              </p:cNvSpPr>
              <p:nvPr/>
            </p:nvSpPr>
            <p:spPr bwMode="auto">
              <a:xfrm>
                <a:off x="497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4" name="Rectangle 1226"/>
              <p:cNvSpPr>
                <a:spLocks noChangeArrowheads="1"/>
              </p:cNvSpPr>
              <p:nvPr/>
            </p:nvSpPr>
            <p:spPr bwMode="auto">
              <a:xfrm>
                <a:off x="498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5" name="Freeform 1227"/>
              <p:cNvSpPr>
                <a:spLocks/>
              </p:cNvSpPr>
              <p:nvPr/>
            </p:nvSpPr>
            <p:spPr bwMode="auto">
              <a:xfrm>
                <a:off x="499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6" name="Freeform 1228"/>
              <p:cNvSpPr>
                <a:spLocks/>
              </p:cNvSpPr>
              <p:nvPr/>
            </p:nvSpPr>
            <p:spPr bwMode="auto">
              <a:xfrm>
                <a:off x="5006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7" name="Rectangle 1229"/>
              <p:cNvSpPr>
                <a:spLocks noChangeArrowheads="1"/>
              </p:cNvSpPr>
              <p:nvPr/>
            </p:nvSpPr>
            <p:spPr bwMode="auto">
              <a:xfrm>
                <a:off x="500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8" name="Freeform 1230"/>
              <p:cNvSpPr>
                <a:spLocks/>
              </p:cNvSpPr>
              <p:nvPr/>
            </p:nvSpPr>
            <p:spPr bwMode="auto">
              <a:xfrm>
                <a:off x="502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79" name="Freeform 1231"/>
              <p:cNvSpPr>
                <a:spLocks/>
              </p:cNvSpPr>
              <p:nvPr/>
            </p:nvSpPr>
            <p:spPr bwMode="auto">
              <a:xfrm>
                <a:off x="503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0" name="Rectangle 1232"/>
              <p:cNvSpPr>
                <a:spLocks noChangeArrowheads="1"/>
              </p:cNvSpPr>
              <p:nvPr/>
            </p:nvSpPr>
            <p:spPr bwMode="auto">
              <a:xfrm>
                <a:off x="503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1" name="Freeform 1233"/>
              <p:cNvSpPr>
                <a:spLocks/>
              </p:cNvSpPr>
              <p:nvPr/>
            </p:nvSpPr>
            <p:spPr bwMode="auto">
              <a:xfrm>
                <a:off x="505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2" name="Freeform 1234"/>
              <p:cNvSpPr>
                <a:spLocks/>
              </p:cNvSpPr>
              <p:nvPr/>
            </p:nvSpPr>
            <p:spPr bwMode="auto">
              <a:xfrm>
                <a:off x="5061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3" name="Rectangle 1235"/>
              <p:cNvSpPr>
                <a:spLocks noChangeArrowheads="1"/>
              </p:cNvSpPr>
              <p:nvPr/>
            </p:nvSpPr>
            <p:spPr bwMode="auto">
              <a:xfrm>
                <a:off x="506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4" name="Freeform 1236"/>
              <p:cNvSpPr>
                <a:spLocks/>
              </p:cNvSpPr>
              <p:nvPr/>
            </p:nvSpPr>
            <p:spPr bwMode="auto">
              <a:xfrm>
                <a:off x="507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5" name="Freeform 1237"/>
              <p:cNvSpPr>
                <a:spLocks/>
              </p:cNvSpPr>
              <p:nvPr/>
            </p:nvSpPr>
            <p:spPr bwMode="auto">
              <a:xfrm>
                <a:off x="508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6" name="Rectangle 1238"/>
              <p:cNvSpPr>
                <a:spLocks noChangeArrowheads="1"/>
              </p:cNvSpPr>
              <p:nvPr/>
            </p:nvSpPr>
            <p:spPr bwMode="auto">
              <a:xfrm>
                <a:off x="509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7" name="Freeform 1239"/>
              <p:cNvSpPr>
                <a:spLocks/>
              </p:cNvSpPr>
              <p:nvPr/>
            </p:nvSpPr>
            <p:spPr bwMode="auto">
              <a:xfrm>
                <a:off x="510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8" name="Freeform 1240"/>
              <p:cNvSpPr>
                <a:spLocks/>
              </p:cNvSpPr>
              <p:nvPr/>
            </p:nvSpPr>
            <p:spPr bwMode="auto">
              <a:xfrm>
                <a:off x="5116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89" name="Rectangle 1241"/>
              <p:cNvSpPr>
                <a:spLocks noChangeArrowheads="1"/>
              </p:cNvSpPr>
              <p:nvPr/>
            </p:nvSpPr>
            <p:spPr bwMode="auto">
              <a:xfrm>
                <a:off x="511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0" name="Freeform 1242"/>
              <p:cNvSpPr>
                <a:spLocks/>
              </p:cNvSpPr>
              <p:nvPr/>
            </p:nvSpPr>
            <p:spPr bwMode="auto">
              <a:xfrm>
                <a:off x="513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1" name="Freeform 1243"/>
              <p:cNvSpPr>
                <a:spLocks/>
              </p:cNvSpPr>
              <p:nvPr/>
            </p:nvSpPr>
            <p:spPr bwMode="auto">
              <a:xfrm>
                <a:off x="5143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2" name="Rectangle 1244"/>
              <p:cNvSpPr>
                <a:spLocks noChangeArrowheads="1"/>
              </p:cNvSpPr>
              <p:nvPr/>
            </p:nvSpPr>
            <p:spPr bwMode="auto">
              <a:xfrm>
                <a:off x="5145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3" name="Freeform 1245"/>
              <p:cNvSpPr>
                <a:spLocks/>
              </p:cNvSpPr>
              <p:nvPr/>
            </p:nvSpPr>
            <p:spPr bwMode="auto">
              <a:xfrm>
                <a:off x="5162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4" name="Freeform 1246"/>
              <p:cNvSpPr>
                <a:spLocks/>
              </p:cNvSpPr>
              <p:nvPr/>
            </p:nvSpPr>
            <p:spPr bwMode="auto">
              <a:xfrm>
                <a:off x="517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5" name="Rectangle 1247"/>
              <p:cNvSpPr>
                <a:spLocks noChangeArrowheads="1"/>
              </p:cNvSpPr>
              <p:nvPr/>
            </p:nvSpPr>
            <p:spPr bwMode="auto">
              <a:xfrm>
                <a:off x="517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6" name="Freeform 1248"/>
              <p:cNvSpPr>
                <a:spLocks/>
              </p:cNvSpPr>
              <p:nvPr/>
            </p:nvSpPr>
            <p:spPr bwMode="auto">
              <a:xfrm>
                <a:off x="518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7" name="Freeform 1249"/>
              <p:cNvSpPr>
                <a:spLocks/>
              </p:cNvSpPr>
              <p:nvPr/>
            </p:nvSpPr>
            <p:spPr bwMode="auto">
              <a:xfrm>
                <a:off x="5198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8" name="Rectangle 1250"/>
              <p:cNvSpPr>
                <a:spLocks noChangeArrowheads="1"/>
              </p:cNvSpPr>
              <p:nvPr/>
            </p:nvSpPr>
            <p:spPr bwMode="auto">
              <a:xfrm>
                <a:off x="5200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99" name="Freeform 1251"/>
              <p:cNvSpPr>
                <a:spLocks/>
              </p:cNvSpPr>
              <p:nvPr/>
            </p:nvSpPr>
            <p:spPr bwMode="auto">
              <a:xfrm>
                <a:off x="5217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0" name="Freeform 1252"/>
              <p:cNvSpPr>
                <a:spLocks/>
              </p:cNvSpPr>
              <p:nvPr/>
            </p:nvSpPr>
            <p:spPr bwMode="auto">
              <a:xfrm>
                <a:off x="522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1" name="Rectangle 1253"/>
              <p:cNvSpPr>
                <a:spLocks noChangeArrowheads="1"/>
              </p:cNvSpPr>
              <p:nvPr/>
            </p:nvSpPr>
            <p:spPr bwMode="auto">
              <a:xfrm>
                <a:off x="522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2" name="Freeform 1254"/>
              <p:cNvSpPr>
                <a:spLocks/>
              </p:cNvSpPr>
              <p:nvPr/>
            </p:nvSpPr>
            <p:spPr bwMode="auto">
              <a:xfrm>
                <a:off x="524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3" name="Freeform 1255"/>
              <p:cNvSpPr>
                <a:spLocks/>
              </p:cNvSpPr>
              <p:nvPr/>
            </p:nvSpPr>
            <p:spPr bwMode="auto">
              <a:xfrm>
                <a:off x="525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4" name="Rectangle 1256"/>
              <p:cNvSpPr>
                <a:spLocks noChangeArrowheads="1"/>
              </p:cNvSpPr>
              <p:nvPr/>
            </p:nvSpPr>
            <p:spPr bwMode="auto">
              <a:xfrm>
                <a:off x="5254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5" name="Freeform 1257"/>
              <p:cNvSpPr>
                <a:spLocks/>
              </p:cNvSpPr>
              <p:nvPr/>
            </p:nvSpPr>
            <p:spPr bwMode="auto">
              <a:xfrm>
                <a:off x="5272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6" name="Freeform 1258"/>
              <p:cNvSpPr>
                <a:spLocks/>
              </p:cNvSpPr>
              <p:nvPr/>
            </p:nvSpPr>
            <p:spPr bwMode="auto">
              <a:xfrm>
                <a:off x="528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7" name="Rectangle 1259"/>
              <p:cNvSpPr>
                <a:spLocks noChangeArrowheads="1"/>
              </p:cNvSpPr>
              <p:nvPr/>
            </p:nvSpPr>
            <p:spPr bwMode="auto">
              <a:xfrm>
                <a:off x="528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8" name="Freeform 1260"/>
              <p:cNvSpPr>
                <a:spLocks/>
              </p:cNvSpPr>
              <p:nvPr/>
            </p:nvSpPr>
            <p:spPr bwMode="auto">
              <a:xfrm>
                <a:off x="529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09" name="Freeform 1261"/>
              <p:cNvSpPr>
                <a:spLocks/>
              </p:cNvSpPr>
              <p:nvPr/>
            </p:nvSpPr>
            <p:spPr bwMode="auto">
              <a:xfrm>
                <a:off x="5308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0" name="Rectangle 1262"/>
              <p:cNvSpPr>
                <a:spLocks noChangeArrowheads="1"/>
              </p:cNvSpPr>
              <p:nvPr/>
            </p:nvSpPr>
            <p:spPr bwMode="auto">
              <a:xfrm>
                <a:off x="5309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1" name="Freeform 1263"/>
              <p:cNvSpPr>
                <a:spLocks/>
              </p:cNvSpPr>
              <p:nvPr/>
            </p:nvSpPr>
            <p:spPr bwMode="auto">
              <a:xfrm>
                <a:off x="5327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2" name="Freeform 1264"/>
              <p:cNvSpPr>
                <a:spLocks/>
              </p:cNvSpPr>
              <p:nvPr/>
            </p:nvSpPr>
            <p:spPr bwMode="auto">
              <a:xfrm>
                <a:off x="533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3" name="Rectangle 1265"/>
              <p:cNvSpPr>
                <a:spLocks noChangeArrowheads="1"/>
              </p:cNvSpPr>
              <p:nvPr/>
            </p:nvSpPr>
            <p:spPr bwMode="auto">
              <a:xfrm>
                <a:off x="533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4" name="Freeform 1266"/>
              <p:cNvSpPr>
                <a:spLocks/>
              </p:cNvSpPr>
              <p:nvPr/>
            </p:nvSpPr>
            <p:spPr bwMode="auto">
              <a:xfrm>
                <a:off x="535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5" name="Freeform 1267"/>
              <p:cNvSpPr>
                <a:spLocks/>
              </p:cNvSpPr>
              <p:nvPr/>
            </p:nvSpPr>
            <p:spPr bwMode="auto">
              <a:xfrm>
                <a:off x="536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6" name="Rectangle 1268"/>
              <p:cNvSpPr>
                <a:spLocks noChangeArrowheads="1"/>
              </p:cNvSpPr>
              <p:nvPr/>
            </p:nvSpPr>
            <p:spPr bwMode="auto">
              <a:xfrm>
                <a:off x="536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7" name="Freeform 1269"/>
              <p:cNvSpPr>
                <a:spLocks/>
              </p:cNvSpPr>
              <p:nvPr/>
            </p:nvSpPr>
            <p:spPr bwMode="auto">
              <a:xfrm>
                <a:off x="538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8" name="Freeform 1270"/>
              <p:cNvSpPr>
                <a:spLocks/>
              </p:cNvSpPr>
              <p:nvPr/>
            </p:nvSpPr>
            <p:spPr bwMode="auto">
              <a:xfrm>
                <a:off x="539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19" name="Rectangle 1271"/>
              <p:cNvSpPr>
                <a:spLocks noChangeArrowheads="1"/>
              </p:cNvSpPr>
              <p:nvPr/>
            </p:nvSpPr>
            <p:spPr bwMode="auto">
              <a:xfrm>
                <a:off x="539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0" name="Freeform 1272"/>
              <p:cNvSpPr>
                <a:spLocks/>
              </p:cNvSpPr>
              <p:nvPr/>
            </p:nvSpPr>
            <p:spPr bwMode="auto">
              <a:xfrm>
                <a:off x="540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1" name="Freeform 1273"/>
              <p:cNvSpPr>
                <a:spLocks/>
              </p:cNvSpPr>
              <p:nvPr/>
            </p:nvSpPr>
            <p:spPr bwMode="auto">
              <a:xfrm>
                <a:off x="5418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2" name="Rectangle 1274"/>
              <p:cNvSpPr>
                <a:spLocks noChangeArrowheads="1"/>
              </p:cNvSpPr>
              <p:nvPr/>
            </p:nvSpPr>
            <p:spPr bwMode="auto">
              <a:xfrm>
                <a:off x="541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3" name="Freeform 1275"/>
              <p:cNvSpPr>
                <a:spLocks/>
              </p:cNvSpPr>
              <p:nvPr/>
            </p:nvSpPr>
            <p:spPr bwMode="auto">
              <a:xfrm>
                <a:off x="543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4" name="Freeform 1276"/>
              <p:cNvSpPr>
                <a:spLocks/>
              </p:cNvSpPr>
              <p:nvPr/>
            </p:nvSpPr>
            <p:spPr bwMode="auto">
              <a:xfrm>
                <a:off x="544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5" name="Rectangle 1277"/>
              <p:cNvSpPr>
                <a:spLocks noChangeArrowheads="1"/>
              </p:cNvSpPr>
              <p:nvPr/>
            </p:nvSpPr>
            <p:spPr bwMode="auto">
              <a:xfrm>
                <a:off x="544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6" name="Freeform 1278"/>
              <p:cNvSpPr>
                <a:spLocks/>
              </p:cNvSpPr>
              <p:nvPr/>
            </p:nvSpPr>
            <p:spPr bwMode="auto">
              <a:xfrm>
                <a:off x="546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7" name="Freeform 1279"/>
              <p:cNvSpPr>
                <a:spLocks/>
              </p:cNvSpPr>
              <p:nvPr/>
            </p:nvSpPr>
            <p:spPr bwMode="auto">
              <a:xfrm>
                <a:off x="547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8" name="Rectangle 1280"/>
              <p:cNvSpPr>
                <a:spLocks noChangeArrowheads="1"/>
              </p:cNvSpPr>
              <p:nvPr/>
            </p:nvSpPr>
            <p:spPr bwMode="auto">
              <a:xfrm>
                <a:off x="547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29" name="Freeform 1281"/>
              <p:cNvSpPr>
                <a:spLocks/>
              </p:cNvSpPr>
              <p:nvPr/>
            </p:nvSpPr>
            <p:spPr bwMode="auto">
              <a:xfrm>
                <a:off x="549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0" name="Freeform 1282"/>
              <p:cNvSpPr>
                <a:spLocks/>
              </p:cNvSpPr>
              <p:nvPr/>
            </p:nvSpPr>
            <p:spPr bwMode="auto">
              <a:xfrm>
                <a:off x="550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1" name="Rectangle 1283"/>
              <p:cNvSpPr>
                <a:spLocks noChangeArrowheads="1"/>
              </p:cNvSpPr>
              <p:nvPr/>
            </p:nvSpPr>
            <p:spPr bwMode="auto">
              <a:xfrm>
                <a:off x="550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2" name="Freeform 1284"/>
              <p:cNvSpPr>
                <a:spLocks/>
              </p:cNvSpPr>
              <p:nvPr/>
            </p:nvSpPr>
            <p:spPr bwMode="auto">
              <a:xfrm>
                <a:off x="551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3" name="Freeform 1285"/>
              <p:cNvSpPr>
                <a:spLocks/>
              </p:cNvSpPr>
              <p:nvPr/>
            </p:nvSpPr>
            <p:spPr bwMode="auto">
              <a:xfrm>
                <a:off x="552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4" name="Rectangle 1286"/>
              <p:cNvSpPr>
                <a:spLocks noChangeArrowheads="1"/>
              </p:cNvSpPr>
              <p:nvPr/>
            </p:nvSpPr>
            <p:spPr bwMode="auto">
              <a:xfrm>
                <a:off x="552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5" name="Freeform 1287"/>
              <p:cNvSpPr>
                <a:spLocks/>
              </p:cNvSpPr>
              <p:nvPr/>
            </p:nvSpPr>
            <p:spPr bwMode="auto">
              <a:xfrm>
                <a:off x="554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6" name="Freeform 1288"/>
              <p:cNvSpPr>
                <a:spLocks/>
              </p:cNvSpPr>
              <p:nvPr/>
            </p:nvSpPr>
            <p:spPr bwMode="auto">
              <a:xfrm>
                <a:off x="5555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7" name="Rectangle 1289"/>
              <p:cNvSpPr>
                <a:spLocks noChangeArrowheads="1"/>
              </p:cNvSpPr>
              <p:nvPr/>
            </p:nvSpPr>
            <p:spPr bwMode="auto">
              <a:xfrm>
                <a:off x="5556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8" name="Freeform 1290"/>
              <p:cNvSpPr>
                <a:spLocks/>
              </p:cNvSpPr>
              <p:nvPr/>
            </p:nvSpPr>
            <p:spPr bwMode="auto">
              <a:xfrm>
                <a:off x="5574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39" name="Freeform 1291"/>
              <p:cNvSpPr>
                <a:spLocks/>
              </p:cNvSpPr>
              <p:nvPr/>
            </p:nvSpPr>
            <p:spPr bwMode="auto">
              <a:xfrm>
                <a:off x="558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0" name="Rectangle 1292"/>
              <p:cNvSpPr>
                <a:spLocks noChangeArrowheads="1"/>
              </p:cNvSpPr>
              <p:nvPr/>
            </p:nvSpPr>
            <p:spPr bwMode="auto">
              <a:xfrm>
                <a:off x="558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1" name="Freeform 1293"/>
              <p:cNvSpPr>
                <a:spLocks/>
              </p:cNvSpPr>
              <p:nvPr/>
            </p:nvSpPr>
            <p:spPr bwMode="auto">
              <a:xfrm>
                <a:off x="560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2" name="Freeform 1294"/>
              <p:cNvSpPr>
                <a:spLocks/>
              </p:cNvSpPr>
              <p:nvPr/>
            </p:nvSpPr>
            <p:spPr bwMode="auto">
              <a:xfrm>
                <a:off x="5610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3" name="Rectangle 1295"/>
              <p:cNvSpPr>
                <a:spLocks noChangeArrowheads="1"/>
              </p:cNvSpPr>
              <p:nvPr/>
            </p:nvSpPr>
            <p:spPr bwMode="auto">
              <a:xfrm>
                <a:off x="5611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4" name="Freeform 1296"/>
              <p:cNvSpPr>
                <a:spLocks/>
              </p:cNvSpPr>
              <p:nvPr/>
            </p:nvSpPr>
            <p:spPr bwMode="auto">
              <a:xfrm>
                <a:off x="5629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5" name="Freeform 1297"/>
              <p:cNvSpPr>
                <a:spLocks/>
              </p:cNvSpPr>
              <p:nvPr/>
            </p:nvSpPr>
            <p:spPr bwMode="auto">
              <a:xfrm>
                <a:off x="563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6" name="Rectangle 1298"/>
              <p:cNvSpPr>
                <a:spLocks noChangeArrowheads="1"/>
              </p:cNvSpPr>
              <p:nvPr/>
            </p:nvSpPr>
            <p:spPr bwMode="auto">
              <a:xfrm>
                <a:off x="563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7" name="Freeform 1299"/>
              <p:cNvSpPr>
                <a:spLocks/>
              </p:cNvSpPr>
              <p:nvPr/>
            </p:nvSpPr>
            <p:spPr bwMode="auto">
              <a:xfrm>
                <a:off x="565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8" name="Freeform 1300"/>
              <p:cNvSpPr>
                <a:spLocks/>
              </p:cNvSpPr>
              <p:nvPr/>
            </p:nvSpPr>
            <p:spPr bwMode="auto">
              <a:xfrm>
                <a:off x="5665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49" name="Rectangle 1301"/>
              <p:cNvSpPr>
                <a:spLocks noChangeArrowheads="1"/>
              </p:cNvSpPr>
              <p:nvPr/>
            </p:nvSpPr>
            <p:spPr bwMode="auto">
              <a:xfrm>
                <a:off x="5666" y="1756"/>
                <a:ext cx="10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0" name="Freeform 1302"/>
              <p:cNvSpPr>
                <a:spLocks/>
              </p:cNvSpPr>
              <p:nvPr/>
            </p:nvSpPr>
            <p:spPr bwMode="auto">
              <a:xfrm>
                <a:off x="567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1" name="Freeform 1303"/>
              <p:cNvSpPr>
                <a:spLocks/>
              </p:cNvSpPr>
              <p:nvPr/>
            </p:nvSpPr>
            <p:spPr bwMode="auto">
              <a:xfrm>
                <a:off x="496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2" name="Rectangle 1304"/>
              <p:cNvSpPr>
                <a:spLocks noChangeArrowheads="1"/>
              </p:cNvSpPr>
              <p:nvPr/>
            </p:nvSpPr>
            <p:spPr bwMode="auto">
              <a:xfrm>
                <a:off x="496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3" name="Freeform 1305"/>
              <p:cNvSpPr>
                <a:spLocks/>
              </p:cNvSpPr>
              <p:nvPr/>
            </p:nvSpPr>
            <p:spPr bwMode="auto">
              <a:xfrm>
                <a:off x="498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4" name="Freeform 1306"/>
              <p:cNvSpPr>
                <a:spLocks/>
              </p:cNvSpPr>
              <p:nvPr/>
            </p:nvSpPr>
            <p:spPr bwMode="auto">
              <a:xfrm>
                <a:off x="498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5" name="Rectangle 1307"/>
              <p:cNvSpPr>
                <a:spLocks noChangeArrowheads="1"/>
              </p:cNvSpPr>
              <p:nvPr/>
            </p:nvSpPr>
            <p:spPr bwMode="auto">
              <a:xfrm>
                <a:off x="499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6" name="Freeform 1308"/>
              <p:cNvSpPr>
                <a:spLocks/>
              </p:cNvSpPr>
              <p:nvPr/>
            </p:nvSpPr>
            <p:spPr bwMode="auto">
              <a:xfrm>
                <a:off x="5008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7" name="Freeform 1309"/>
              <p:cNvSpPr>
                <a:spLocks/>
              </p:cNvSpPr>
              <p:nvPr/>
            </p:nvSpPr>
            <p:spPr bwMode="auto">
              <a:xfrm>
                <a:off x="501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8" name="Rectangle 1310"/>
              <p:cNvSpPr>
                <a:spLocks noChangeArrowheads="1"/>
              </p:cNvSpPr>
              <p:nvPr/>
            </p:nvSpPr>
            <p:spPr bwMode="auto">
              <a:xfrm>
                <a:off x="501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59" name="Freeform 1311"/>
              <p:cNvSpPr>
                <a:spLocks/>
              </p:cNvSpPr>
              <p:nvPr/>
            </p:nvSpPr>
            <p:spPr bwMode="auto">
              <a:xfrm>
                <a:off x="503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0" name="Freeform 1312"/>
              <p:cNvSpPr>
                <a:spLocks/>
              </p:cNvSpPr>
              <p:nvPr/>
            </p:nvSpPr>
            <p:spPr bwMode="auto">
              <a:xfrm>
                <a:off x="504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1" name="Rectangle 1313"/>
              <p:cNvSpPr>
                <a:spLocks noChangeArrowheads="1"/>
              </p:cNvSpPr>
              <p:nvPr/>
            </p:nvSpPr>
            <p:spPr bwMode="auto">
              <a:xfrm>
                <a:off x="504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2" name="Freeform 1314"/>
              <p:cNvSpPr>
                <a:spLocks/>
              </p:cNvSpPr>
              <p:nvPr/>
            </p:nvSpPr>
            <p:spPr bwMode="auto">
              <a:xfrm>
                <a:off x="5063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3" name="Freeform 1315"/>
              <p:cNvSpPr>
                <a:spLocks/>
              </p:cNvSpPr>
              <p:nvPr/>
            </p:nvSpPr>
            <p:spPr bwMode="auto">
              <a:xfrm>
                <a:off x="507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4" name="Rectangle 1316"/>
              <p:cNvSpPr>
                <a:spLocks noChangeArrowheads="1"/>
              </p:cNvSpPr>
              <p:nvPr/>
            </p:nvSpPr>
            <p:spPr bwMode="auto">
              <a:xfrm>
                <a:off x="507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5" name="Freeform 1317"/>
              <p:cNvSpPr>
                <a:spLocks/>
              </p:cNvSpPr>
              <p:nvPr/>
            </p:nvSpPr>
            <p:spPr bwMode="auto">
              <a:xfrm>
                <a:off x="509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6" name="Freeform 1318"/>
              <p:cNvSpPr>
                <a:spLocks/>
              </p:cNvSpPr>
              <p:nvPr/>
            </p:nvSpPr>
            <p:spPr bwMode="auto">
              <a:xfrm>
                <a:off x="5099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7" name="Rectangle 1319"/>
              <p:cNvSpPr>
                <a:spLocks noChangeArrowheads="1"/>
              </p:cNvSpPr>
              <p:nvPr/>
            </p:nvSpPr>
            <p:spPr bwMode="auto">
              <a:xfrm>
                <a:off x="5100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8" name="Freeform 1320"/>
              <p:cNvSpPr>
                <a:spLocks/>
              </p:cNvSpPr>
              <p:nvPr/>
            </p:nvSpPr>
            <p:spPr bwMode="auto">
              <a:xfrm>
                <a:off x="5118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69" name="Freeform 1321"/>
              <p:cNvSpPr>
                <a:spLocks/>
              </p:cNvSpPr>
              <p:nvPr/>
            </p:nvSpPr>
            <p:spPr bwMode="auto">
              <a:xfrm>
                <a:off x="512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0" name="Rectangle 1322"/>
              <p:cNvSpPr>
                <a:spLocks noChangeArrowheads="1"/>
              </p:cNvSpPr>
              <p:nvPr/>
            </p:nvSpPr>
            <p:spPr bwMode="auto">
              <a:xfrm>
                <a:off x="512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1" name="Freeform 1323"/>
              <p:cNvSpPr>
                <a:spLocks/>
              </p:cNvSpPr>
              <p:nvPr/>
            </p:nvSpPr>
            <p:spPr bwMode="auto">
              <a:xfrm>
                <a:off x="514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2" name="Freeform 1324"/>
              <p:cNvSpPr>
                <a:spLocks/>
              </p:cNvSpPr>
              <p:nvPr/>
            </p:nvSpPr>
            <p:spPr bwMode="auto">
              <a:xfrm>
                <a:off x="5154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3" name="Rectangle 1325"/>
              <p:cNvSpPr>
                <a:spLocks noChangeArrowheads="1"/>
              </p:cNvSpPr>
              <p:nvPr/>
            </p:nvSpPr>
            <p:spPr bwMode="auto">
              <a:xfrm>
                <a:off x="5155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4" name="Freeform 1326"/>
              <p:cNvSpPr>
                <a:spLocks/>
              </p:cNvSpPr>
              <p:nvPr/>
            </p:nvSpPr>
            <p:spPr bwMode="auto">
              <a:xfrm>
                <a:off x="5173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5" name="Freeform 1327"/>
              <p:cNvSpPr>
                <a:spLocks/>
              </p:cNvSpPr>
              <p:nvPr/>
            </p:nvSpPr>
            <p:spPr bwMode="auto">
              <a:xfrm>
                <a:off x="518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6" name="Rectangle 1328"/>
              <p:cNvSpPr>
                <a:spLocks noChangeArrowheads="1"/>
              </p:cNvSpPr>
              <p:nvPr/>
            </p:nvSpPr>
            <p:spPr bwMode="auto">
              <a:xfrm>
                <a:off x="518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7" name="Freeform 1329"/>
              <p:cNvSpPr>
                <a:spLocks/>
              </p:cNvSpPr>
              <p:nvPr/>
            </p:nvSpPr>
            <p:spPr bwMode="auto">
              <a:xfrm>
                <a:off x="520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8" name="Freeform 1330"/>
              <p:cNvSpPr>
                <a:spLocks/>
              </p:cNvSpPr>
              <p:nvPr/>
            </p:nvSpPr>
            <p:spPr bwMode="auto">
              <a:xfrm>
                <a:off x="520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79" name="Rectangle 1331"/>
              <p:cNvSpPr>
                <a:spLocks noChangeArrowheads="1"/>
              </p:cNvSpPr>
              <p:nvPr/>
            </p:nvSpPr>
            <p:spPr bwMode="auto">
              <a:xfrm>
                <a:off x="521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0" name="Freeform 1332"/>
              <p:cNvSpPr>
                <a:spLocks/>
              </p:cNvSpPr>
              <p:nvPr/>
            </p:nvSpPr>
            <p:spPr bwMode="auto">
              <a:xfrm>
                <a:off x="522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1" name="Freeform 1333"/>
              <p:cNvSpPr>
                <a:spLocks/>
              </p:cNvSpPr>
              <p:nvPr/>
            </p:nvSpPr>
            <p:spPr bwMode="auto">
              <a:xfrm>
                <a:off x="523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2" name="Rectangle 1334"/>
              <p:cNvSpPr>
                <a:spLocks noChangeArrowheads="1"/>
              </p:cNvSpPr>
              <p:nvPr/>
            </p:nvSpPr>
            <p:spPr bwMode="auto">
              <a:xfrm>
                <a:off x="523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3" name="Freeform 1335"/>
              <p:cNvSpPr>
                <a:spLocks/>
              </p:cNvSpPr>
              <p:nvPr/>
            </p:nvSpPr>
            <p:spPr bwMode="auto">
              <a:xfrm>
                <a:off x="5255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4" name="Freeform 1336"/>
              <p:cNvSpPr>
                <a:spLocks/>
              </p:cNvSpPr>
              <p:nvPr/>
            </p:nvSpPr>
            <p:spPr bwMode="auto">
              <a:xfrm>
                <a:off x="526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5" name="Rectangle 1337"/>
              <p:cNvSpPr>
                <a:spLocks noChangeArrowheads="1"/>
              </p:cNvSpPr>
              <p:nvPr/>
            </p:nvSpPr>
            <p:spPr bwMode="auto">
              <a:xfrm>
                <a:off x="526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6" name="Freeform 1338"/>
              <p:cNvSpPr>
                <a:spLocks/>
              </p:cNvSpPr>
              <p:nvPr/>
            </p:nvSpPr>
            <p:spPr bwMode="auto">
              <a:xfrm>
                <a:off x="528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7" name="Freeform 1339"/>
              <p:cNvSpPr>
                <a:spLocks/>
              </p:cNvSpPr>
              <p:nvPr/>
            </p:nvSpPr>
            <p:spPr bwMode="auto">
              <a:xfrm>
                <a:off x="529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8" name="Rectangle 1340"/>
              <p:cNvSpPr>
                <a:spLocks noChangeArrowheads="1"/>
              </p:cNvSpPr>
              <p:nvPr/>
            </p:nvSpPr>
            <p:spPr bwMode="auto">
              <a:xfrm>
                <a:off x="529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89" name="Freeform 1341"/>
              <p:cNvSpPr>
                <a:spLocks/>
              </p:cNvSpPr>
              <p:nvPr/>
            </p:nvSpPr>
            <p:spPr bwMode="auto">
              <a:xfrm>
                <a:off x="5310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0" name="Freeform 1342"/>
              <p:cNvSpPr>
                <a:spLocks/>
              </p:cNvSpPr>
              <p:nvPr/>
            </p:nvSpPr>
            <p:spPr bwMode="auto">
              <a:xfrm>
                <a:off x="531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1" name="Rectangle 1343"/>
              <p:cNvSpPr>
                <a:spLocks noChangeArrowheads="1"/>
              </p:cNvSpPr>
              <p:nvPr/>
            </p:nvSpPr>
            <p:spPr bwMode="auto">
              <a:xfrm>
                <a:off x="532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2" name="Freeform 1344"/>
              <p:cNvSpPr>
                <a:spLocks/>
              </p:cNvSpPr>
              <p:nvPr/>
            </p:nvSpPr>
            <p:spPr bwMode="auto">
              <a:xfrm>
                <a:off x="533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3" name="Freeform 1345"/>
              <p:cNvSpPr>
                <a:spLocks/>
              </p:cNvSpPr>
              <p:nvPr/>
            </p:nvSpPr>
            <p:spPr bwMode="auto">
              <a:xfrm>
                <a:off x="534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4" name="Rectangle 1346"/>
              <p:cNvSpPr>
                <a:spLocks noChangeArrowheads="1"/>
              </p:cNvSpPr>
              <p:nvPr/>
            </p:nvSpPr>
            <p:spPr bwMode="auto">
              <a:xfrm>
                <a:off x="534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5" name="Freeform 1347"/>
              <p:cNvSpPr>
                <a:spLocks/>
              </p:cNvSpPr>
              <p:nvPr/>
            </p:nvSpPr>
            <p:spPr bwMode="auto">
              <a:xfrm>
                <a:off x="5365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6" name="Freeform 1348"/>
              <p:cNvSpPr>
                <a:spLocks/>
              </p:cNvSpPr>
              <p:nvPr/>
            </p:nvSpPr>
            <p:spPr bwMode="auto">
              <a:xfrm>
                <a:off x="537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7" name="Rectangle 1349"/>
              <p:cNvSpPr>
                <a:spLocks noChangeArrowheads="1"/>
              </p:cNvSpPr>
              <p:nvPr/>
            </p:nvSpPr>
            <p:spPr bwMode="auto">
              <a:xfrm>
                <a:off x="537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8" name="Freeform 1350"/>
              <p:cNvSpPr>
                <a:spLocks/>
              </p:cNvSpPr>
              <p:nvPr/>
            </p:nvSpPr>
            <p:spPr bwMode="auto">
              <a:xfrm>
                <a:off x="539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399" name="Freeform 1351"/>
              <p:cNvSpPr>
                <a:spLocks/>
              </p:cNvSpPr>
              <p:nvPr/>
            </p:nvSpPr>
            <p:spPr bwMode="auto">
              <a:xfrm>
                <a:off x="5401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0" name="Rectangle 1352"/>
              <p:cNvSpPr>
                <a:spLocks noChangeArrowheads="1"/>
              </p:cNvSpPr>
              <p:nvPr/>
            </p:nvSpPr>
            <p:spPr bwMode="auto">
              <a:xfrm>
                <a:off x="5402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1" name="Freeform 1353"/>
              <p:cNvSpPr>
                <a:spLocks/>
              </p:cNvSpPr>
              <p:nvPr/>
            </p:nvSpPr>
            <p:spPr bwMode="auto">
              <a:xfrm>
                <a:off x="5420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2" name="Freeform 1354"/>
              <p:cNvSpPr>
                <a:spLocks/>
              </p:cNvSpPr>
              <p:nvPr/>
            </p:nvSpPr>
            <p:spPr bwMode="auto">
              <a:xfrm>
                <a:off x="542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3" name="Rectangle 1355"/>
              <p:cNvSpPr>
                <a:spLocks noChangeArrowheads="1"/>
              </p:cNvSpPr>
              <p:nvPr/>
            </p:nvSpPr>
            <p:spPr bwMode="auto">
              <a:xfrm>
                <a:off x="543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4" name="Freeform 1356"/>
              <p:cNvSpPr>
                <a:spLocks/>
              </p:cNvSpPr>
              <p:nvPr/>
            </p:nvSpPr>
            <p:spPr bwMode="auto">
              <a:xfrm>
                <a:off x="544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5" name="Freeform 1357"/>
              <p:cNvSpPr>
                <a:spLocks/>
              </p:cNvSpPr>
              <p:nvPr/>
            </p:nvSpPr>
            <p:spPr bwMode="auto">
              <a:xfrm>
                <a:off x="5456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6" name="Rectangle 1358"/>
              <p:cNvSpPr>
                <a:spLocks noChangeArrowheads="1"/>
              </p:cNvSpPr>
              <p:nvPr/>
            </p:nvSpPr>
            <p:spPr bwMode="auto">
              <a:xfrm>
                <a:off x="5457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7" name="Freeform 1359"/>
              <p:cNvSpPr>
                <a:spLocks/>
              </p:cNvSpPr>
              <p:nvPr/>
            </p:nvSpPr>
            <p:spPr bwMode="auto">
              <a:xfrm>
                <a:off x="5475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8" name="Freeform 1360"/>
              <p:cNvSpPr>
                <a:spLocks/>
              </p:cNvSpPr>
              <p:nvPr/>
            </p:nvSpPr>
            <p:spPr bwMode="auto">
              <a:xfrm>
                <a:off x="548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09" name="Rectangle 1361"/>
              <p:cNvSpPr>
                <a:spLocks noChangeArrowheads="1"/>
              </p:cNvSpPr>
              <p:nvPr/>
            </p:nvSpPr>
            <p:spPr bwMode="auto">
              <a:xfrm>
                <a:off x="548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0" name="Freeform 1362"/>
              <p:cNvSpPr>
                <a:spLocks/>
              </p:cNvSpPr>
              <p:nvPr/>
            </p:nvSpPr>
            <p:spPr bwMode="auto">
              <a:xfrm>
                <a:off x="550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1" name="Freeform 1363"/>
              <p:cNvSpPr>
                <a:spLocks/>
              </p:cNvSpPr>
              <p:nvPr/>
            </p:nvSpPr>
            <p:spPr bwMode="auto">
              <a:xfrm>
                <a:off x="551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2" name="Rectangle 1364"/>
              <p:cNvSpPr>
                <a:spLocks noChangeArrowheads="1"/>
              </p:cNvSpPr>
              <p:nvPr/>
            </p:nvSpPr>
            <p:spPr bwMode="auto">
              <a:xfrm>
                <a:off x="551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3" name="Freeform 1365"/>
              <p:cNvSpPr>
                <a:spLocks/>
              </p:cNvSpPr>
              <p:nvPr/>
            </p:nvSpPr>
            <p:spPr bwMode="auto">
              <a:xfrm>
                <a:off x="552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4" name="Freeform 1366"/>
              <p:cNvSpPr>
                <a:spLocks/>
              </p:cNvSpPr>
              <p:nvPr/>
            </p:nvSpPr>
            <p:spPr bwMode="auto">
              <a:xfrm>
                <a:off x="553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5" name="Rectangle 1367"/>
              <p:cNvSpPr>
                <a:spLocks noChangeArrowheads="1"/>
              </p:cNvSpPr>
              <p:nvPr/>
            </p:nvSpPr>
            <p:spPr bwMode="auto">
              <a:xfrm>
                <a:off x="554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6" name="Freeform 1368"/>
              <p:cNvSpPr>
                <a:spLocks/>
              </p:cNvSpPr>
              <p:nvPr/>
            </p:nvSpPr>
            <p:spPr bwMode="auto">
              <a:xfrm>
                <a:off x="555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7" name="Freeform 1369"/>
              <p:cNvSpPr>
                <a:spLocks/>
              </p:cNvSpPr>
              <p:nvPr/>
            </p:nvSpPr>
            <p:spPr bwMode="auto">
              <a:xfrm>
                <a:off x="5565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8" name="Rectangle 1370"/>
              <p:cNvSpPr>
                <a:spLocks noChangeArrowheads="1"/>
              </p:cNvSpPr>
              <p:nvPr/>
            </p:nvSpPr>
            <p:spPr bwMode="auto">
              <a:xfrm>
                <a:off x="5567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19" name="Freeform 1371"/>
              <p:cNvSpPr>
                <a:spLocks/>
              </p:cNvSpPr>
              <p:nvPr/>
            </p:nvSpPr>
            <p:spPr bwMode="auto">
              <a:xfrm>
                <a:off x="5584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0" name="Freeform 1372"/>
              <p:cNvSpPr>
                <a:spLocks/>
              </p:cNvSpPr>
              <p:nvPr/>
            </p:nvSpPr>
            <p:spPr bwMode="auto">
              <a:xfrm>
                <a:off x="559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1" name="Rectangle 1373"/>
              <p:cNvSpPr>
                <a:spLocks noChangeArrowheads="1"/>
              </p:cNvSpPr>
              <p:nvPr/>
            </p:nvSpPr>
            <p:spPr bwMode="auto">
              <a:xfrm>
                <a:off x="559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2" name="Freeform 1374"/>
              <p:cNvSpPr>
                <a:spLocks/>
              </p:cNvSpPr>
              <p:nvPr/>
            </p:nvSpPr>
            <p:spPr bwMode="auto">
              <a:xfrm>
                <a:off x="5612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3" name="Freeform 1375"/>
              <p:cNvSpPr>
                <a:spLocks/>
              </p:cNvSpPr>
              <p:nvPr/>
            </p:nvSpPr>
            <p:spPr bwMode="auto">
              <a:xfrm>
                <a:off x="5620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4" name="Rectangle 1376"/>
              <p:cNvSpPr>
                <a:spLocks noChangeArrowheads="1"/>
              </p:cNvSpPr>
              <p:nvPr/>
            </p:nvSpPr>
            <p:spPr bwMode="auto">
              <a:xfrm>
                <a:off x="5622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5" name="Freeform 1377"/>
              <p:cNvSpPr>
                <a:spLocks/>
              </p:cNvSpPr>
              <p:nvPr/>
            </p:nvSpPr>
            <p:spPr bwMode="auto">
              <a:xfrm>
                <a:off x="5639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6" name="Freeform 1378"/>
              <p:cNvSpPr>
                <a:spLocks/>
              </p:cNvSpPr>
              <p:nvPr/>
            </p:nvSpPr>
            <p:spPr bwMode="auto">
              <a:xfrm>
                <a:off x="564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7" name="Rectangle 1379"/>
              <p:cNvSpPr>
                <a:spLocks noChangeArrowheads="1"/>
              </p:cNvSpPr>
              <p:nvPr/>
            </p:nvSpPr>
            <p:spPr bwMode="auto">
              <a:xfrm>
                <a:off x="565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8" name="Freeform 1380"/>
              <p:cNvSpPr>
                <a:spLocks/>
              </p:cNvSpPr>
              <p:nvPr/>
            </p:nvSpPr>
            <p:spPr bwMode="auto">
              <a:xfrm>
                <a:off x="5667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29" name="Freeform 1381"/>
              <p:cNvSpPr>
                <a:spLocks/>
              </p:cNvSpPr>
              <p:nvPr/>
            </p:nvSpPr>
            <p:spPr bwMode="auto">
              <a:xfrm>
                <a:off x="4961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0" name="Rectangle 1382"/>
              <p:cNvSpPr>
                <a:spLocks noChangeArrowheads="1"/>
              </p:cNvSpPr>
              <p:nvPr/>
            </p:nvSpPr>
            <p:spPr bwMode="auto">
              <a:xfrm>
                <a:off x="4963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1" name="Freeform 1383"/>
              <p:cNvSpPr>
                <a:spLocks/>
              </p:cNvSpPr>
              <p:nvPr/>
            </p:nvSpPr>
            <p:spPr bwMode="auto">
              <a:xfrm>
                <a:off x="4980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2" name="Freeform 1384"/>
              <p:cNvSpPr>
                <a:spLocks/>
              </p:cNvSpPr>
              <p:nvPr/>
            </p:nvSpPr>
            <p:spPr bwMode="auto">
              <a:xfrm>
                <a:off x="4989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3" name="Rectangle 1385"/>
              <p:cNvSpPr>
                <a:spLocks noChangeArrowheads="1"/>
              </p:cNvSpPr>
              <p:nvPr/>
            </p:nvSpPr>
            <p:spPr bwMode="auto">
              <a:xfrm>
                <a:off x="4991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4" name="Freeform 1386"/>
              <p:cNvSpPr>
                <a:spLocks/>
              </p:cNvSpPr>
              <p:nvPr/>
            </p:nvSpPr>
            <p:spPr bwMode="auto">
              <a:xfrm>
                <a:off x="5008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5" name="Freeform 1387"/>
              <p:cNvSpPr>
                <a:spLocks/>
              </p:cNvSpPr>
              <p:nvPr/>
            </p:nvSpPr>
            <p:spPr bwMode="auto">
              <a:xfrm>
                <a:off x="501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6" name="Rectangle 1388"/>
              <p:cNvSpPr>
                <a:spLocks noChangeArrowheads="1"/>
              </p:cNvSpPr>
              <p:nvPr/>
            </p:nvSpPr>
            <p:spPr bwMode="auto">
              <a:xfrm>
                <a:off x="501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7" name="Freeform 1389"/>
              <p:cNvSpPr>
                <a:spLocks/>
              </p:cNvSpPr>
              <p:nvPr/>
            </p:nvSpPr>
            <p:spPr bwMode="auto">
              <a:xfrm>
                <a:off x="5035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8" name="Freeform 1390"/>
              <p:cNvSpPr>
                <a:spLocks/>
              </p:cNvSpPr>
              <p:nvPr/>
            </p:nvSpPr>
            <p:spPr bwMode="auto">
              <a:xfrm>
                <a:off x="5044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39" name="Rectangle 1391"/>
              <p:cNvSpPr>
                <a:spLocks noChangeArrowheads="1"/>
              </p:cNvSpPr>
              <p:nvPr/>
            </p:nvSpPr>
            <p:spPr bwMode="auto">
              <a:xfrm>
                <a:off x="5046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0" name="Freeform 1392"/>
              <p:cNvSpPr>
                <a:spLocks/>
              </p:cNvSpPr>
              <p:nvPr/>
            </p:nvSpPr>
            <p:spPr bwMode="auto">
              <a:xfrm>
                <a:off x="5063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1" name="Freeform 1393"/>
              <p:cNvSpPr>
                <a:spLocks/>
              </p:cNvSpPr>
              <p:nvPr/>
            </p:nvSpPr>
            <p:spPr bwMode="auto">
              <a:xfrm>
                <a:off x="5071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2" name="Rectangle 1394"/>
              <p:cNvSpPr>
                <a:spLocks noChangeArrowheads="1"/>
              </p:cNvSpPr>
              <p:nvPr/>
            </p:nvSpPr>
            <p:spPr bwMode="auto">
              <a:xfrm>
                <a:off x="5073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3" name="Freeform 1395"/>
              <p:cNvSpPr>
                <a:spLocks/>
              </p:cNvSpPr>
              <p:nvPr/>
            </p:nvSpPr>
            <p:spPr bwMode="auto">
              <a:xfrm>
                <a:off x="5090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4" name="Freeform 1396"/>
              <p:cNvSpPr>
                <a:spLocks/>
              </p:cNvSpPr>
              <p:nvPr/>
            </p:nvSpPr>
            <p:spPr bwMode="auto">
              <a:xfrm>
                <a:off x="5099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5" name="Rectangle 1397"/>
              <p:cNvSpPr>
                <a:spLocks noChangeArrowheads="1"/>
              </p:cNvSpPr>
              <p:nvPr/>
            </p:nvSpPr>
            <p:spPr bwMode="auto">
              <a:xfrm>
                <a:off x="5100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6" name="Freeform 1398"/>
              <p:cNvSpPr>
                <a:spLocks/>
              </p:cNvSpPr>
              <p:nvPr/>
            </p:nvSpPr>
            <p:spPr bwMode="auto">
              <a:xfrm>
                <a:off x="5118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7" name="Freeform 1399"/>
              <p:cNvSpPr>
                <a:spLocks/>
              </p:cNvSpPr>
              <p:nvPr/>
            </p:nvSpPr>
            <p:spPr bwMode="auto">
              <a:xfrm>
                <a:off x="512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8" name="Rectangle 1400"/>
              <p:cNvSpPr>
                <a:spLocks noChangeArrowheads="1"/>
              </p:cNvSpPr>
              <p:nvPr/>
            </p:nvSpPr>
            <p:spPr bwMode="auto">
              <a:xfrm>
                <a:off x="512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49" name="Freeform 1401"/>
              <p:cNvSpPr>
                <a:spLocks/>
              </p:cNvSpPr>
              <p:nvPr/>
            </p:nvSpPr>
            <p:spPr bwMode="auto">
              <a:xfrm>
                <a:off x="5145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50" name="Freeform 1402"/>
              <p:cNvSpPr>
                <a:spLocks/>
              </p:cNvSpPr>
              <p:nvPr/>
            </p:nvSpPr>
            <p:spPr bwMode="auto">
              <a:xfrm>
                <a:off x="5154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51" name="Rectangle 1403"/>
              <p:cNvSpPr>
                <a:spLocks noChangeArrowheads="1"/>
              </p:cNvSpPr>
              <p:nvPr/>
            </p:nvSpPr>
            <p:spPr bwMode="auto">
              <a:xfrm>
                <a:off x="5155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52" name="Freeform 1404"/>
              <p:cNvSpPr>
                <a:spLocks/>
              </p:cNvSpPr>
              <p:nvPr/>
            </p:nvSpPr>
            <p:spPr bwMode="auto">
              <a:xfrm>
                <a:off x="5173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53" name="Freeform 1405"/>
              <p:cNvSpPr>
                <a:spLocks/>
              </p:cNvSpPr>
              <p:nvPr/>
            </p:nvSpPr>
            <p:spPr bwMode="auto">
              <a:xfrm>
                <a:off x="5181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54" name="Rectangle 1406"/>
              <p:cNvSpPr>
                <a:spLocks noChangeArrowheads="1"/>
              </p:cNvSpPr>
              <p:nvPr/>
            </p:nvSpPr>
            <p:spPr bwMode="auto">
              <a:xfrm>
                <a:off x="5183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55" name="Freeform 1407"/>
              <p:cNvSpPr>
                <a:spLocks/>
              </p:cNvSpPr>
              <p:nvPr/>
            </p:nvSpPr>
            <p:spPr bwMode="auto">
              <a:xfrm>
                <a:off x="5200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56" name="Freeform 1408"/>
              <p:cNvSpPr>
                <a:spLocks/>
              </p:cNvSpPr>
              <p:nvPr/>
            </p:nvSpPr>
            <p:spPr bwMode="auto">
              <a:xfrm>
                <a:off x="520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57" name="Rectangle 1409"/>
              <p:cNvSpPr>
                <a:spLocks noChangeArrowheads="1"/>
              </p:cNvSpPr>
              <p:nvPr/>
            </p:nvSpPr>
            <p:spPr bwMode="auto">
              <a:xfrm>
                <a:off x="521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58" name="Freeform 1410"/>
              <p:cNvSpPr>
                <a:spLocks/>
              </p:cNvSpPr>
              <p:nvPr/>
            </p:nvSpPr>
            <p:spPr bwMode="auto">
              <a:xfrm>
                <a:off x="522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660" name="Group 1612"/>
            <p:cNvGrpSpPr>
              <a:grpSpLocks/>
            </p:cNvGrpSpPr>
            <p:nvPr/>
          </p:nvGrpSpPr>
          <p:grpSpPr bwMode="auto">
            <a:xfrm>
              <a:off x="8062258" y="1234346"/>
              <a:ext cx="3418859" cy="3169816"/>
              <a:chOff x="4945" y="1112"/>
              <a:chExt cx="1716" cy="1591"/>
            </a:xfrm>
          </p:grpSpPr>
          <p:sp>
            <p:nvSpPr>
              <p:cNvPr id="3460" name="Freeform 1412"/>
              <p:cNvSpPr>
                <a:spLocks/>
              </p:cNvSpPr>
              <p:nvPr/>
            </p:nvSpPr>
            <p:spPr bwMode="auto">
              <a:xfrm>
                <a:off x="523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61" name="Rectangle 1413"/>
              <p:cNvSpPr>
                <a:spLocks noChangeArrowheads="1"/>
              </p:cNvSpPr>
              <p:nvPr/>
            </p:nvSpPr>
            <p:spPr bwMode="auto">
              <a:xfrm>
                <a:off x="523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62" name="Freeform 1414"/>
              <p:cNvSpPr>
                <a:spLocks/>
              </p:cNvSpPr>
              <p:nvPr/>
            </p:nvSpPr>
            <p:spPr bwMode="auto">
              <a:xfrm>
                <a:off x="5255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63" name="Freeform 1415"/>
              <p:cNvSpPr>
                <a:spLocks/>
              </p:cNvSpPr>
              <p:nvPr/>
            </p:nvSpPr>
            <p:spPr bwMode="auto">
              <a:xfrm>
                <a:off x="526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64" name="Rectangle 1416"/>
              <p:cNvSpPr>
                <a:spLocks noChangeArrowheads="1"/>
              </p:cNvSpPr>
              <p:nvPr/>
            </p:nvSpPr>
            <p:spPr bwMode="auto">
              <a:xfrm>
                <a:off x="526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65" name="Freeform 1417"/>
              <p:cNvSpPr>
                <a:spLocks/>
              </p:cNvSpPr>
              <p:nvPr/>
            </p:nvSpPr>
            <p:spPr bwMode="auto">
              <a:xfrm>
                <a:off x="5282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66" name="Freeform 1418"/>
              <p:cNvSpPr>
                <a:spLocks/>
              </p:cNvSpPr>
              <p:nvPr/>
            </p:nvSpPr>
            <p:spPr bwMode="auto">
              <a:xfrm>
                <a:off x="5291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67" name="Rectangle 1419"/>
              <p:cNvSpPr>
                <a:spLocks noChangeArrowheads="1"/>
              </p:cNvSpPr>
              <p:nvPr/>
            </p:nvSpPr>
            <p:spPr bwMode="auto">
              <a:xfrm>
                <a:off x="5293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68" name="Freeform 1420"/>
              <p:cNvSpPr>
                <a:spLocks/>
              </p:cNvSpPr>
              <p:nvPr/>
            </p:nvSpPr>
            <p:spPr bwMode="auto">
              <a:xfrm>
                <a:off x="5310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69" name="Freeform 1421"/>
              <p:cNvSpPr>
                <a:spLocks/>
              </p:cNvSpPr>
              <p:nvPr/>
            </p:nvSpPr>
            <p:spPr bwMode="auto">
              <a:xfrm>
                <a:off x="531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0" name="Rectangle 1422"/>
              <p:cNvSpPr>
                <a:spLocks noChangeArrowheads="1"/>
              </p:cNvSpPr>
              <p:nvPr/>
            </p:nvSpPr>
            <p:spPr bwMode="auto">
              <a:xfrm>
                <a:off x="532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1" name="Freeform 1423"/>
              <p:cNvSpPr>
                <a:spLocks/>
              </p:cNvSpPr>
              <p:nvPr/>
            </p:nvSpPr>
            <p:spPr bwMode="auto">
              <a:xfrm>
                <a:off x="533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2" name="Freeform 1424"/>
              <p:cNvSpPr>
                <a:spLocks/>
              </p:cNvSpPr>
              <p:nvPr/>
            </p:nvSpPr>
            <p:spPr bwMode="auto">
              <a:xfrm>
                <a:off x="5346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3" name="Rectangle 1425"/>
              <p:cNvSpPr>
                <a:spLocks noChangeArrowheads="1"/>
              </p:cNvSpPr>
              <p:nvPr/>
            </p:nvSpPr>
            <p:spPr bwMode="auto">
              <a:xfrm>
                <a:off x="5348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4" name="Freeform 1426"/>
              <p:cNvSpPr>
                <a:spLocks/>
              </p:cNvSpPr>
              <p:nvPr/>
            </p:nvSpPr>
            <p:spPr bwMode="auto">
              <a:xfrm>
                <a:off x="5365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5" name="Freeform 1427"/>
              <p:cNvSpPr>
                <a:spLocks/>
              </p:cNvSpPr>
              <p:nvPr/>
            </p:nvSpPr>
            <p:spPr bwMode="auto">
              <a:xfrm>
                <a:off x="537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6" name="Rectangle 1428"/>
              <p:cNvSpPr>
                <a:spLocks noChangeArrowheads="1"/>
              </p:cNvSpPr>
              <p:nvPr/>
            </p:nvSpPr>
            <p:spPr bwMode="auto">
              <a:xfrm>
                <a:off x="537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7" name="Freeform 1429"/>
              <p:cNvSpPr>
                <a:spLocks/>
              </p:cNvSpPr>
              <p:nvPr/>
            </p:nvSpPr>
            <p:spPr bwMode="auto">
              <a:xfrm>
                <a:off x="5392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8" name="Freeform 1430"/>
              <p:cNvSpPr>
                <a:spLocks/>
              </p:cNvSpPr>
              <p:nvPr/>
            </p:nvSpPr>
            <p:spPr bwMode="auto">
              <a:xfrm>
                <a:off x="5401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79" name="Rectangle 1431"/>
              <p:cNvSpPr>
                <a:spLocks noChangeArrowheads="1"/>
              </p:cNvSpPr>
              <p:nvPr/>
            </p:nvSpPr>
            <p:spPr bwMode="auto">
              <a:xfrm>
                <a:off x="5402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0" name="Freeform 1432"/>
              <p:cNvSpPr>
                <a:spLocks/>
              </p:cNvSpPr>
              <p:nvPr/>
            </p:nvSpPr>
            <p:spPr bwMode="auto">
              <a:xfrm>
                <a:off x="5420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1" name="Freeform 1433"/>
              <p:cNvSpPr>
                <a:spLocks/>
              </p:cNvSpPr>
              <p:nvPr/>
            </p:nvSpPr>
            <p:spPr bwMode="auto">
              <a:xfrm>
                <a:off x="542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2" name="Rectangle 1434"/>
              <p:cNvSpPr>
                <a:spLocks noChangeArrowheads="1"/>
              </p:cNvSpPr>
              <p:nvPr/>
            </p:nvSpPr>
            <p:spPr bwMode="auto">
              <a:xfrm>
                <a:off x="543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3" name="Freeform 1435"/>
              <p:cNvSpPr>
                <a:spLocks/>
              </p:cNvSpPr>
              <p:nvPr/>
            </p:nvSpPr>
            <p:spPr bwMode="auto">
              <a:xfrm>
                <a:off x="544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4" name="Freeform 1436"/>
              <p:cNvSpPr>
                <a:spLocks/>
              </p:cNvSpPr>
              <p:nvPr/>
            </p:nvSpPr>
            <p:spPr bwMode="auto">
              <a:xfrm>
                <a:off x="5456" y="1112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5" name="Rectangle 1437"/>
              <p:cNvSpPr>
                <a:spLocks noChangeArrowheads="1"/>
              </p:cNvSpPr>
              <p:nvPr/>
            </p:nvSpPr>
            <p:spPr bwMode="auto">
              <a:xfrm>
                <a:off x="5457" y="1112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6" name="Freeform 1438"/>
              <p:cNvSpPr>
                <a:spLocks/>
              </p:cNvSpPr>
              <p:nvPr/>
            </p:nvSpPr>
            <p:spPr bwMode="auto">
              <a:xfrm>
                <a:off x="5475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7" name="Freeform 1439"/>
              <p:cNvSpPr>
                <a:spLocks/>
              </p:cNvSpPr>
              <p:nvPr/>
            </p:nvSpPr>
            <p:spPr bwMode="auto">
              <a:xfrm>
                <a:off x="548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8" name="Rectangle 1440"/>
              <p:cNvSpPr>
                <a:spLocks noChangeArrowheads="1"/>
              </p:cNvSpPr>
              <p:nvPr/>
            </p:nvSpPr>
            <p:spPr bwMode="auto">
              <a:xfrm>
                <a:off x="548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89" name="Freeform 1441"/>
              <p:cNvSpPr>
                <a:spLocks/>
              </p:cNvSpPr>
              <p:nvPr/>
            </p:nvSpPr>
            <p:spPr bwMode="auto">
              <a:xfrm>
                <a:off x="5502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0" name="Freeform 1442"/>
              <p:cNvSpPr>
                <a:spLocks/>
              </p:cNvSpPr>
              <p:nvPr/>
            </p:nvSpPr>
            <p:spPr bwMode="auto">
              <a:xfrm>
                <a:off x="5510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1" name="Rectangle 1443"/>
              <p:cNvSpPr>
                <a:spLocks noChangeArrowheads="1"/>
              </p:cNvSpPr>
              <p:nvPr/>
            </p:nvSpPr>
            <p:spPr bwMode="auto">
              <a:xfrm>
                <a:off x="551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2" name="Freeform 1444"/>
              <p:cNvSpPr>
                <a:spLocks/>
              </p:cNvSpPr>
              <p:nvPr/>
            </p:nvSpPr>
            <p:spPr bwMode="auto">
              <a:xfrm>
                <a:off x="5529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3" name="Freeform 1445"/>
              <p:cNvSpPr>
                <a:spLocks/>
              </p:cNvSpPr>
              <p:nvPr/>
            </p:nvSpPr>
            <p:spPr bwMode="auto">
              <a:xfrm>
                <a:off x="553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4" name="Rectangle 1446"/>
              <p:cNvSpPr>
                <a:spLocks noChangeArrowheads="1"/>
              </p:cNvSpPr>
              <p:nvPr/>
            </p:nvSpPr>
            <p:spPr bwMode="auto">
              <a:xfrm>
                <a:off x="554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5" name="Freeform 1447"/>
              <p:cNvSpPr>
                <a:spLocks/>
              </p:cNvSpPr>
              <p:nvPr/>
            </p:nvSpPr>
            <p:spPr bwMode="auto">
              <a:xfrm>
                <a:off x="5557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6" name="Freeform 1448"/>
              <p:cNvSpPr>
                <a:spLocks/>
              </p:cNvSpPr>
              <p:nvPr/>
            </p:nvSpPr>
            <p:spPr bwMode="auto">
              <a:xfrm>
                <a:off x="5565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7" name="Rectangle 1449"/>
              <p:cNvSpPr>
                <a:spLocks noChangeArrowheads="1"/>
              </p:cNvSpPr>
              <p:nvPr/>
            </p:nvSpPr>
            <p:spPr bwMode="auto">
              <a:xfrm>
                <a:off x="5567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8" name="Freeform 1450"/>
              <p:cNvSpPr>
                <a:spLocks/>
              </p:cNvSpPr>
              <p:nvPr/>
            </p:nvSpPr>
            <p:spPr bwMode="auto">
              <a:xfrm>
                <a:off x="5584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499" name="Freeform 1451"/>
              <p:cNvSpPr>
                <a:spLocks/>
              </p:cNvSpPr>
              <p:nvPr/>
            </p:nvSpPr>
            <p:spPr bwMode="auto">
              <a:xfrm>
                <a:off x="5593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0" name="Rectangle 1452"/>
              <p:cNvSpPr>
                <a:spLocks noChangeArrowheads="1"/>
              </p:cNvSpPr>
              <p:nvPr/>
            </p:nvSpPr>
            <p:spPr bwMode="auto">
              <a:xfrm>
                <a:off x="5595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1" name="Freeform 1453"/>
              <p:cNvSpPr>
                <a:spLocks/>
              </p:cNvSpPr>
              <p:nvPr/>
            </p:nvSpPr>
            <p:spPr bwMode="auto">
              <a:xfrm>
                <a:off x="5612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2" name="Freeform 1454"/>
              <p:cNvSpPr>
                <a:spLocks/>
              </p:cNvSpPr>
              <p:nvPr/>
            </p:nvSpPr>
            <p:spPr bwMode="auto">
              <a:xfrm>
                <a:off x="5620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3" name="Rectangle 1455"/>
              <p:cNvSpPr>
                <a:spLocks noChangeArrowheads="1"/>
              </p:cNvSpPr>
              <p:nvPr/>
            </p:nvSpPr>
            <p:spPr bwMode="auto">
              <a:xfrm>
                <a:off x="5622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4" name="Freeform 1456"/>
              <p:cNvSpPr>
                <a:spLocks/>
              </p:cNvSpPr>
              <p:nvPr/>
            </p:nvSpPr>
            <p:spPr bwMode="auto">
              <a:xfrm>
                <a:off x="5639" y="1112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5" name="Freeform 1457"/>
              <p:cNvSpPr>
                <a:spLocks/>
              </p:cNvSpPr>
              <p:nvPr/>
            </p:nvSpPr>
            <p:spPr bwMode="auto">
              <a:xfrm>
                <a:off x="5648" y="1112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6" name="Rectangle 1458"/>
              <p:cNvSpPr>
                <a:spLocks noChangeArrowheads="1"/>
              </p:cNvSpPr>
              <p:nvPr/>
            </p:nvSpPr>
            <p:spPr bwMode="auto">
              <a:xfrm>
                <a:off x="5650" y="1112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7" name="Freeform 1459"/>
              <p:cNvSpPr>
                <a:spLocks/>
              </p:cNvSpPr>
              <p:nvPr/>
            </p:nvSpPr>
            <p:spPr bwMode="auto">
              <a:xfrm>
                <a:off x="5667" y="1112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8" name="Line 1460"/>
              <p:cNvSpPr>
                <a:spLocks noChangeShapeType="1"/>
              </p:cNvSpPr>
              <p:nvPr/>
            </p:nvSpPr>
            <p:spPr bwMode="auto">
              <a:xfrm>
                <a:off x="4945" y="2080"/>
                <a:ext cx="731" cy="1"/>
              </a:xfrm>
              <a:prstGeom prst="line">
                <a:avLst/>
              </a:prstGeom>
              <a:noFill/>
              <a:ln w="9525" cap="rnd">
                <a:solidFill>
                  <a:srgbClr val="4C4C4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09" name="Line 1461"/>
              <p:cNvSpPr>
                <a:spLocks noChangeShapeType="1"/>
              </p:cNvSpPr>
              <p:nvPr/>
            </p:nvSpPr>
            <p:spPr bwMode="auto">
              <a:xfrm>
                <a:off x="4945" y="1758"/>
                <a:ext cx="35" cy="1"/>
              </a:xfrm>
              <a:prstGeom prst="line">
                <a:avLst/>
              </a:prstGeom>
              <a:noFill/>
              <a:ln w="9525" cap="rnd">
                <a:solidFill>
                  <a:srgbClr val="4C4C4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0" name="Line 1462"/>
              <p:cNvSpPr>
                <a:spLocks noChangeShapeType="1"/>
              </p:cNvSpPr>
              <p:nvPr/>
            </p:nvSpPr>
            <p:spPr bwMode="auto">
              <a:xfrm>
                <a:off x="4945" y="1436"/>
                <a:ext cx="35" cy="1"/>
              </a:xfrm>
              <a:prstGeom prst="line">
                <a:avLst/>
              </a:prstGeom>
              <a:noFill/>
              <a:ln w="9525" cap="rnd">
                <a:solidFill>
                  <a:srgbClr val="4C4C4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1" name="Line 1463"/>
              <p:cNvSpPr>
                <a:spLocks noChangeShapeType="1"/>
              </p:cNvSpPr>
              <p:nvPr/>
            </p:nvSpPr>
            <p:spPr bwMode="auto">
              <a:xfrm>
                <a:off x="4945" y="1114"/>
                <a:ext cx="35" cy="1"/>
              </a:xfrm>
              <a:prstGeom prst="line">
                <a:avLst/>
              </a:prstGeom>
              <a:noFill/>
              <a:ln w="9525" cap="rnd">
                <a:solidFill>
                  <a:srgbClr val="4C4C4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2" name="Line 1464"/>
              <p:cNvSpPr>
                <a:spLocks noChangeShapeType="1"/>
              </p:cNvSpPr>
              <p:nvPr/>
            </p:nvSpPr>
            <p:spPr bwMode="auto">
              <a:xfrm>
                <a:off x="4980" y="1114"/>
                <a:ext cx="1" cy="1589"/>
              </a:xfrm>
              <a:prstGeom prst="line">
                <a:avLst/>
              </a:prstGeom>
              <a:noFill/>
              <a:ln w="9525" cap="rnd">
                <a:solidFill>
                  <a:srgbClr val="4C4C4C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3" name="Freeform 1465"/>
              <p:cNvSpPr>
                <a:spLocks noEditPoints="1"/>
              </p:cNvSpPr>
              <p:nvPr/>
            </p:nvSpPr>
            <p:spPr bwMode="auto">
              <a:xfrm>
                <a:off x="5042" y="2175"/>
                <a:ext cx="472" cy="209"/>
              </a:xfrm>
              <a:custGeom>
                <a:avLst/>
                <a:gdLst/>
                <a:ahLst/>
                <a:cxnLst>
                  <a:cxn ang="0">
                    <a:pos x="835" y="325"/>
                  </a:cxn>
                  <a:cxn ang="0">
                    <a:pos x="814" y="4"/>
                  </a:cxn>
                  <a:cxn ang="0">
                    <a:pos x="943" y="69"/>
                  </a:cxn>
                  <a:cxn ang="0">
                    <a:pos x="945" y="129"/>
                  </a:cxn>
                  <a:cxn ang="0">
                    <a:pos x="1061" y="323"/>
                  </a:cxn>
                  <a:cxn ang="0">
                    <a:pos x="1102" y="7"/>
                  </a:cxn>
                  <a:cxn ang="0">
                    <a:pos x="1197" y="321"/>
                  </a:cxn>
                  <a:cxn ang="0">
                    <a:pos x="1181" y="271"/>
                  </a:cxn>
                  <a:cxn ang="0">
                    <a:pos x="1294" y="200"/>
                  </a:cxn>
                  <a:cxn ang="0">
                    <a:pos x="1230" y="5"/>
                  </a:cxn>
                  <a:cxn ang="0">
                    <a:pos x="1343" y="40"/>
                  </a:cxn>
                  <a:cxn ang="0">
                    <a:pos x="1244" y="39"/>
                  </a:cxn>
                  <a:cxn ang="0">
                    <a:pos x="1338" y="178"/>
                  </a:cxn>
                  <a:cxn ang="0">
                    <a:pos x="1621" y="326"/>
                  </a:cxn>
                  <a:cxn ang="0">
                    <a:pos x="1405" y="327"/>
                  </a:cxn>
                  <a:cxn ang="0">
                    <a:pos x="1522" y="3"/>
                  </a:cxn>
                  <a:cxn ang="0">
                    <a:pos x="1577" y="207"/>
                  </a:cxn>
                  <a:cxn ang="0">
                    <a:pos x="1707" y="396"/>
                  </a:cxn>
                  <a:cxn ang="0">
                    <a:pos x="1716" y="280"/>
                  </a:cxn>
                  <a:cxn ang="0">
                    <a:pos x="269" y="751"/>
                  </a:cxn>
                  <a:cxn ang="0">
                    <a:pos x="128" y="913"/>
                  </a:cxn>
                  <a:cxn ang="0">
                    <a:pos x="7" y="658"/>
                  </a:cxn>
                  <a:cxn ang="0">
                    <a:pos x="148" y="480"/>
                  </a:cxn>
                  <a:cxn ang="0">
                    <a:pos x="235" y="705"/>
                  </a:cxn>
                  <a:cxn ang="0">
                    <a:pos x="46" y="739"/>
                  </a:cxn>
                  <a:cxn ang="0">
                    <a:pos x="514" y="824"/>
                  </a:cxn>
                  <a:cxn ang="0">
                    <a:pos x="468" y="687"/>
                  </a:cxn>
                  <a:cxn ang="0">
                    <a:pos x="335" y="817"/>
                  </a:cxn>
                  <a:cxn ang="0">
                    <a:pos x="376" y="741"/>
                  </a:cxn>
                  <a:cxn ang="0">
                    <a:pos x="525" y="586"/>
                  </a:cxn>
                  <a:cxn ang="0">
                    <a:pos x="786" y="824"/>
                  </a:cxn>
                  <a:cxn ang="0">
                    <a:pos x="647" y="822"/>
                  </a:cxn>
                  <a:cxn ang="0">
                    <a:pos x="614" y="587"/>
                  </a:cxn>
                  <a:cxn ang="0">
                    <a:pos x="765" y="593"/>
                  </a:cxn>
                  <a:cxn ang="0">
                    <a:pos x="806" y="816"/>
                  </a:cxn>
                  <a:cxn ang="0">
                    <a:pos x="983" y="819"/>
                  </a:cxn>
                  <a:cxn ang="0">
                    <a:pos x="979" y="685"/>
                  </a:cxn>
                  <a:cxn ang="0">
                    <a:pos x="895" y="634"/>
                  </a:cxn>
                  <a:cxn ang="0">
                    <a:pos x="913" y="590"/>
                  </a:cxn>
                  <a:cxn ang="0">
                    <a:pos x="975" y="715"/>
                  </a:cxn>
                  <a:cxn ang="0">
                    <a:pos x="1010" y="715"/>
                  </a:cxn>
                  <a:cxn ang="0">
                    <a:pos x="1281" y="816"/>
                  </a:cxn>
                  <a:cxn ang="0">
                    <a:pos x="1130" y="822"/>
                  </a:cxn>
                  <a:cxn ang="0">
                    <a:pos x="1163" y="587"/>
                  </a:cxn>
                  <a:cxn ang="0">
                    <a:pos x="1302" y="585"/>
                  </a:cxn>
                  <a:cxn ang="0">
                    <a:pos x="1556" y="799"/>
                  </a:cxn>
                  <a:cxn ang="0">
                    <a:pos x="1382" y="707"/>
                  </a:cxn>
                  <a:cxn ang="0">
                    <a:pos x="1555" y="609"/>
                  </a:cxn>
                  <a:cxn ang="0">
                    <a:pos x="1486" y="616"/>
                  </a:cxn>
                  <a:cxn ang="0">
                    <a:pos x="1544" y="768"/>
                  </a:cxn>
                  <a:cxn ang="0">
                    <a:pos x="1757" y="818"/>
                  </a:cxn>
                  <a:cxn ang="0">
                    <a:pos x="1711" y="582"/>
                  </a:cxn>
                  <a:cxn ang="0">
                    <a:pos x="1710" y="616"/>
                  </a:cxn>
                  <a:cxn ang="0">
                    <a:pos x="1740" y="786"/>
                  </a:cxn>
                  <a:cxn ang="0">
                    <a:pos x="1944" y="826"/>
                  </a:cxn>
                  <a:cxn ang="0">
                    <a:pos x="1914" y="585"/>
                  </a:cxn>
                  <a:cxn ang="0">
                    <a:pos x="2016" y="694"/>
                  </a:cxn>
                  <a:cxn ang="0">
                    <a:pos x="1921" y="616"/>
                  </a:cxn>
                  <a:cxn ang="0">
                    <a:pos x="1961" y="713"/>
                  </a:cxn>
                  <a:cxn ang="0">
                    <a:pos x="2020" y="770"/>
                  </a:cxn>
                </a:cxnLst>
                <a:rect l="0" t="0" r="r" b="b"/>
                <a:pathLst>
                  <a:path w="2065" h="913">
                    <a:moveTo>
                      <a:pt x="995" y="98"/>
                    </a:moveTo>
                    <a:cubicBezTo>
                      <a:pt x="995" y="115"/>
                      <a:pt x="992" y="129"/>
                      <a:pt x="987" y="142"/>
                    </a:cubicBezTo>
                    <a:cubicBezTo>
                      <a:pt x="982" y="155"/>
                      <a:pt x="974" y="166"/>
                      <a:pt x="964" y="175"/>
                    </a:cubicBezTo>
                    <a:cubicBezTo>
                      <a:pt x="954" y="184"/>
                      <a:pt x="942" y="191"/>
                      <a:pt x="928" y="196"/>
                    </a:cubicBezTo>
                    <a:cubicBezTo>
                      <a:pt x="914" y="201"/>
                      <a:pt x="896" y="204"/>
                      <a:pt x="877" y="204"/>
                    </a:cubicBezTo>
                    <a:lnTo>
                      <a:pt x="840" y="204"/>
                    </a:lnTo>
                    <a:lnTo>
                      <a:pt x="840" y="319"/>
                    </a:lnTo>
                    <a:cubicBezTo>
                      <a:pt x="840" y="321"/>
                      <a:pt x="840" y="322"/>
                      <a:pt x="839" y="323"/>
                    </a:cubicBezTo>
                    <a:cubicBezTo>
                      <a:pt x="838" y="324"/>
                      <a:pt x="837" y="325"/>
                      <a:pt x="835" y="325"/>
                    </a:cubicBezTo>
                    <a:cubicBezTo>
                      <a:pt x="834" y="326"/>
                      <a:pt x="832" y="326"/>
                      <a:pt x="829" y="327"/>
                    </a:cubicBezTo>
                    <a:cubicBezTo>
                      <a:pt x="826" y="327"/>
                      <a:pt x="823" y="327"/>
                      <a:pt x="819" y="327"/>
                    </a:cubicBezTo>
                    <a:cubicBezTo>
                      <a:pt x="815" y="327"/>
                      <a:pt x="811" y="327"/>
                      <a:pt x="808" y="327"/>
                    </a:cubicBezTo>
                    <a:cubicBezTo>
                      <a:pt x="806" y="326"/>
                      <a:pt x="803" y="326"/>
                      <a:pt x="802" y="325"/>
                    </a:cubicBezTo>
                    <a:cubicBezTo>
                      <a:pt x="800" y="325"/>
                      <a:pt x="799" y="324"/>
                      <a:pt x="798" y="323"/>
                    </a:cubicBezTo>
                    <a:cubicBezTo>
                      <a:pt x="798" y="322"/>
                      <a:pt x="797" y="321"/>
                      <a:pt x="797" y="319"/>
                    </a:cubicBezTo>
                    <a:lnTo>
                      <a:pt x="797" y="23"/>
                    </a:lnTo>
                    <a:cubicBezTo>
                      <a:pt x="797" y="16"/>
                      <a:pt x="799" y="11"/>
                      <a:pt x="802" y="9"/>
                    </a:cubicBezTo>
                    <a:cubicBezTo>
                      <a:pt x="806" y="6"/>
                      <a:pt x="810" y="4"/>
                      <a:pt x="814" y="4"/>
                    </a:cubicBezTo>
                    <a:lnTo>
                      <a:pt x="883" y="4"/>
                    </a:lnTo>
                    <a:cubicBezTo>
                      <a:pt x="890" y="4"/>
                      <a:pt x="897" y="5"/>
                      <a:pt x="903" y="5"/>
                    </a:cubicBezTo>
                    <a:cubicBezTo>
                      <a:pt x="909" y="6"/>
                      <a:pt x="917" y="7"/>
                      <a:pt x="926" y="9"/>
                    </a:cubicBezTo>
                    <a:cubicBezTo>
                      <a:pt x="934" y="11"/>
                      <a:pt x="943" y="14"/>
                      <a:pt x="952" y="20"/>
                    </a:cubicBezTo>
                    <a:cubicBezTo>
                      <a:pt x="961" y="25"/>
                      <a:pt x="969" y="31"/>
                      <a:pt x="975" y="39"/>
                    </a:cubicBezTo>
                    <a:cubicBezTo>
                      <a:pt x="982" y="46"/>
                      <a:pt x="986" y="55"/>
                      <a:pt x="990" y="65"/>
                    </a:cubicBezTo>
                    <a:cubicBezTo>
                      <a:pt x="993" y="75"/>
                      <a:pt x="995" y="86"/>
                      <a:pt x="995" y="98"/>
                    </a:cubicBezTo>
                    <a:close/>
                    <a:moveTo>
                      <a:pt x="950" y="102"/>
                    </a:moveTo>
                    <a:cubicBezTo>
                      <a:pt x="950" y="89"/>
                      <a:pt x="947" y="78"/>
                      <a:pt x="943" y="69"/>
                    </a:cubicBezTo>
                    <a:cubicBezTo>
                      <a:pt x="938" y="60"/>
                      <a:pt x="932" y="54"/>
                      <a:pt x="924" y="50"/>
                    </a:cubicBezTo>
                    <a:cubicBezTo>
                      <a:pt x="917" y="45"/>
                      <a:pt x="910" y="42"/>
                      <a:pt x="902" y="41"/>
                    </a:cubicBezTo>
                    <a:cubicBezTo>
                      <a:pt x="894" y="40"/>
                      <a:pt x="887" y="40"/>
                      <a:pt x="880" y="40"/>
                    </a:cubicBezTo>
                    <a:lnTo>
                      <a:pt x="840" y="40"/>
                    </a:lnTo>
                    <a:lnTo>
                      <a:pt x="840" y="168"/>
                    </a:lnTo>
                    <a:lnTo>
                      <a:pt x="879" y="168"/>
                    </a:lnTo>
                    <a:cubicBezTo>
                      <a:pt x="891" y="168"/>
                      <a:pt x="902" y="167"/>
                      <a:pt x="911" y="164"/>
                    </a:cubicBezTo>
                    <a:cubicBezTo>
                      <a:pt x="919" y="160"/>
                      <a:pt x="926" y="156"/>
                      <a:pt x="932" y="150"/>
                    </a:cubicBezTo>
                    <a:cubicBezTo>
                      <a:pt x="938" y="144"/>
                      <a:pt x="942" y="137"/>
                      <a:pt x="945" y="129"/>
                    </a:cubicBezTo>
                    <a:cubicBezTo>
                      <a:pt x="948" y="120"/>
                      <a:pt x="950" y="112"/>
                      <a:pt x="950" y="102"/>
                    </a:cubicBezTo>
                    <a:close/>
                    <a:moveTo>
                      <a:pt x="1103" y="319"/>
                    </a:moveTo>
                    <a:cubicBezTo>
                      <a:pt x="1103" y="321"/>
                      <a:pt x="1103" y="322"/>
                      <a:pt x="1102" y="323"/>
                    </a:cubicBezTo>
                    <a:cubicBezTo>
                      <a:pt x="1101" y="324"/>
                      <a:pt x="1100" y="325"/>
                      <a:pt x="1098" y="325"/>
                    </a:cubicBezTo>
                    <a:cubicBezTo>
                      <a:pt x="1097" y="326"/>
                      <a:pt x="1095" y="326"/>
                      <a:pt x="1092" y="327"/>
                    </a:cubicBezTo>
                    <a:cubicBezTo>
                      <a:pt x="1089" y="327"/>
                      <a:pt x="1086" y="327"/>
                      <a:pt x="1082" y="327"/>
                    </a:cubicBezTo>
                    <a:cubicBezTo>
                      <a:pt x="1078" y="327"/>
                      <a:pt x="1074" y="327"/>
                      <a:pt x="1071" y="327"/>
                    </a:cubicBezTo>
                    <a:cubicBezTo>
                      <a:pt x="1069" y="326"/>
                      <a:pt x="1066" y="326"/>
                      <a:pt x="1065" y="325"/>
                    </a:cubicBezTo>
                    <a:cubicBezTo>
                      <a:pt x="1063" y="325"/>
                      <a:pt x="1062" y="324"/>
                      <a:pt x="1061" y="323"/>
                    </a:cubicBezTo>
                    <a:cubicBezTo>
                      <a:pt x="1061" y="322"/>
                      <a:pt x="1060" y="321"/>
                      <a:pt x="1060" y="319"/>
                    </a:cubicBezTo>
                    <a:lnTo>
                      <a:pt x="1060" y="11"/>
                    </a:lnTo>
                    <a:cubicBezTo>
                      <a:pt x="1060" y="9"/>
                      <a:pt x="1061" y="8"/>
                      <a:pt x="1061" y="7"/>
                    </a:cubicBezTo>
                    <a:cubicBezTo>
                      <a:pt x="1062" y="6"/>
                      <a:pt x="1063" y="5"/>
                      <a:pt x="1065" y="5"/>
                    </a:cubicBezTo>
                    <a:cubicBezTo>
                      <a:pt x="1067" y="4"/>
                      <a:pt x="1069" y="4"/>
                      <a:pt x="1072" y="3"/>
                    </a:cubicBezTo>
                    <a:cubicBezTo>
                      <a:pt x="1074" y="3"/>
                      <a:pt x="1078" y="3"/>
                      <a:pt x="1082" y="3"/>
                    </a:cubicBezTo>
                    <a:cubicBezTo>
                      <a:pt x="1086" y="3"/>
                      <a:pt x="1089" y="3"/>
                      <a:pt x="1092" y="3"/>
                    </a:cubicBezTo>
                    <a:cubicBezTo>
                      <a:pt x="1095" y="4"/>
                      <a:pt x="1097" y="4"/>
                      <a:pt x="1098" y="5"/>
                    </a:cubicBezTo>
                    <a:cubicBezTo>
                      <a:pt x="1100" y="5"/>
                      <a:pt x="1101" y="6"/>
                      <a:pt x="1102" y="7"/>
                    </a:cubicBezTo>
                    <a:cubicBezTo>
                      <a:pt x="1103" y="8"/>
                      <a:pt x="1103" y="9"/>
                      <a:pt x="1103" y="11"/>
                    </a:cubicBezTo>
                    <a:lnTo>
                      <a:pt x="1103" y="319"/>
                    </a:lnTo>
                    <a:close/>
                    <a:moveTo>
                      <a:pt x="1361" y="236"/>
                    </a:moveTo>
                    <a:cubicBezTo>
                      <a:pt x="1361" y="251"/>
                      <a:pt x="1358" y="264"/>
                      <a:pt x="1353" y="276"/>
                    </a:cubicBezTo>
                    <a:cubicBezTo>
                      <a:pt x="1347" y="288"/>
                      <a:pt x="1340" y="298"/>
                      <a:pt x="1330" y="306"/>
                    </a:cubicBezTo>
                    <a:cubicBezTo>
                      <a:pt x="1320" y="314"/>
                      <a:pt x="1308" y="320"/>
                      <a:pt x="1295" y="324"/>
                    </a:cubicBezTo>
                    <a:cubicBezTo>
                      <a:pt x="1282" y="328"/>
                      <a:pt x="1267" y="331"/>
                      <a:pt x="1252" y="331"/>
                    </a:cubicBezTo>
                    <a:cubicBezTo>
                      <a:pt x="1241" y="331"/>
                      <a:pt x="1231" y="330"/>
                      <a:pt x="1222" y="328"/>
                    </a:cubicBezTo>
                    <a:cubicBezTo>
                      <a:pt x="1213" y="326"/>
                      <a:pt x="1204" y="324"/>
                      <a:pt x="1197" y="321"/>
                    </a:cubicBezTo>
                    <a:cubicBezTo>
                      <a:pt x="1190" y="318"/>
                      <a:pt x="1184" y="316"/>
                      <a:pt x="1179" y="313"/>
                    </a:cubicBezTo>
                    <a:cubicBezTo>
                      <a:pt x="1174" y="310"/>
                      <a:pt x="1171" y="308"/>
                      <a:pt x="1169" y="306"/>
                    </a:cubicBezTo>
                    <a:cubicBezTo>
                      <a:pt x="1167" y="304"/>
                      <a:pt x="1166" y="301"/>
                      <a:pt x="1165" y="298"/>
                    </a:cubicBezTo>
                    <a:cubicBezTo>
                      <a:pt x="1164" y="295"/>
                      <a:pt x="1163" y="291"/>
                      <a:pt x="1163" y="286"/>
                    </a:cubicBezTo>
                    <a:cubicBezTo>
                      <a:pt x="1163" y="282"/>
                      <a:pt x="1164" y="279"/>
                      <a:pt x="1164" y="277"/>
                    </a:cubicBezTo>
                    <a:cubicBezTo>
                      <a:pt x="1164" y="274"/>
                      <a:pt x="1165" y="272"/>
                      <a:pt x="1165" y="271"/>
                    </a:cubicBezTo>
                    <a:cubicBezTo>
                      <a:pt x="1166" y="269"/>
                      <a:pt x="1167" y="268"/>
                      <a:pt x="1168" y="268"/>
                    </a:cubicBezTo>
                    <a:cubicBezTo>
                      <a:pt x="1169" y="267"/>
                      <a:pt x="1170" y="267"/>
                      <a:pt x="1171" y="267"/>
                    </a:cubicBezTo>
                    <a:cubicBezTo>
                      <a:pt x="1174" y="267"/>
                      <a:pt x="1177" y="268"/>
                      <a:pt x="1181" y="271"/>
                    </a:cubicBezTo>
                    <a:cubicBezTo>
                      <a:pt x="1185" y="274"/>
                      <a:pt x="1191" y="277"/>
                      <a:pt x="1197" y="280"/>
                    </a:cubicBezTo>
                    <a:cubicBezTo>
                      <a:pt x="1204" y="284"/>
                      <a:pt x="1212" y="287"/>
                      <a:pt x="1221" y="290"/>
                    </a:cubicBezTo>
                    <a:cubicBezTo>
                      <a:pt x="1231" y="293"/>
                      <a:pt x="1242" y="294"/>
                      <a:pt x="1254" y="294"/>
                    </a:cubicBezTo>
                    <a:cubicBezTo>
                      <a:pt x="1263" y="294"/>
                      <a:pt x="1272" y="293"/>
                      <a:pt x="1279" y="290"/>
                    </a:cubicBezTo>
                    <a:cubicBezTo>
                      <a:pt x="1287" y="288"/>
                      <a:pt x="1294" y="284"/>
                      <a:pt x="1299" y="280"/>
                    </a:cubicBezTo>
                    <a:cubicBezTo>
                      <a:pt x="1305" y="275"/>
                      <a:pt x="1309" y="270"/>
                      <a:pt x="1312" y="263"/>
                    </a:cubicBezTo>
                    <a:cubicBezTo>
                      <a:pt x="1315" y="256"/>
                      <a:pt x="1316" y="249"/>
                      <a:pt x="1316" y="240"/>
                    </a:cubicBezTo>
                    <a:cubicBezTo>
                      <a:pt x="1316" y="231"/>
                      <a:pt x="1314" y="223"/>
                      <a:pt x="1310" y="217"/>
                    </a:cubicBezTo>
                    <a:cubicBezTo>
                      <a:pt x="1306" y="211"/>
                      <a:pt x="1301" y="205"/>
                      <a:pt x="1294" y="200"/>
                    </a:cubicBezTo>
                    <a:cubicBezTo>
                      <a:pt x="1287" y="195"/>
                      <a:pt x="1279" y="191"/>
                      <a:pt x="1271" y="187"/>
                    </a:cubicBezTo>
                    <a:cubicBezTo>
                      <a:pt x="1262" y="182"/>
                      <a:pt x="1253" y="178"/>
                      <a:pt x="1244" y="174"/>
                    </a:cubicBezTo>
                    <a:cubicBezTo>
                      <a:pt x="1235" y="170"/>
                      <a:pt x="1226" y="165"/>
                      <a:pt x="1217" y="160"/>
                    </a:cubicBezTo>
                    <a:cubicBezTo>
                      <a:pt x="1209" y="155"/>
                      <a:pt x="1201" y="149"/>
                      <a:pt x="1194" y="142"/>
                    </a:cubicBezTo>
                    <a:cubicBezTo>
                      <a:pt x="1187" y="135"/>
                      <a:pt x="1182" y="127"/>
                      <a:pt x="1178" y="117"/>
                    </a:cubicBezTo>
                    <a:cubicBezTo>
                      <a:pt x="1173" y="108"/>
                      <a:pt x="1171" y="97"/>
                      <a:pt x="1171" y="84"/>
                    </a:cubicBezTo>
                    <a:cubicBezTo>
                      <a:pt x="1171" y="70"/>
                      <a:pt x="1174" y="58"/>
                      <a:pt x="1179" y="48"/>
                    </a:cubicBezTo>
                    <a:cubicBezTo>
                      <a:pt x="1184" y="37"/>
                      <a:pt x="1190" y="29"/>
                      <a:pt x="1199" y="21"/>
                    </a:cubicBezTo>
                    <a:cubicBezTo>
                      <a:pt x="1208" y="14"/>
                      <a:pt x="1218" y="9"/>
                      <a:pt x="1230" y="5"/>
                    </a:cubicBezTo>
                    <a:cubicBezTo>
                      <a:pt x="1242" y="1"/>
                      <a:pt x="1255" y="0"/>
                      <a:pt x="1269" y="0"/>
                    </a:cubicBezTo>
                    <a:cubicBezTo>
                      <a:pt x="1276" y="0"/>
                      <a:pt x="1283" y="0"/>
                      <a:pt x="1290" y="1"/>
                    </a:cubicBezTo>
                    <a:cubicBezTo>
                      <a:pt x="1298" y="3"/>
                      <a:pt x="1304" y="4"/>
                      <a:pt x="1311" y="6"/>
                    </a:cubicBezTo>
                    <a:cubicBezTo>
                      <a:pt x="1317" y="8"/>
                      <a:pt x="1323" y="11"/>
                      <a:pt x="1328" y="13"/>
                    </a:cubicBezTo>
                    <a:cubicBezTo>
                      <a:pt x="1333" y="16"/>
                      <a:pt x="1336" y="18"/>
                      <a:pt x="1338" y="20"/>
                    </a:cubicBezTo>
                    <a:cubicBezTo>
                      <a:pt x="1339" y="21"/>
                      <a:pt x="1340" y="22"/>
                      <a:pt x="1341" y="23"/>
                    </a:cubicBezTo>
                    <a:cubicBezTo>
                      <a:pt x="1341" y="24"/>
                      <a:pt x="1342" y="25"/>
                      <a:pt x="1342" y="27"/>
                    </a:cubicBezTo>
                    <a:cubicBezTo>
                      <a:pt x="1342" y="28"/>
                      <a:pt x="1343" y="30"/>
                      <a:pt x="1343" y="32"/>
                    </a:cubicBezTo>
                    <a:cubicBezTo>
                      <a:pt x="1343" y="34"/>
                      <a:pt x="1343" y="36"/>
                      <a:pt x="1343" y="40"/>
                    </a:cubicBezTo>
                    <a:cubicBezTo>
                      <a:pt x="1343" y="43"/>
                      <a:pt x="1343" y="45"/>
                      <a:pt x="1343" y="48"/>
                    </a:cubicBezTo>
                    <a:cubicBezTo>
                      <a:pt x="1342" y="50"/>
                      <a:pt x="1342" y="52"/>
                      <a:pt x="1341" y="53"/>
                    </a:cubicBezTo>
                    <a:cubicBezTo>
                      <a:pt x="1341" y="55"/>
                      <a:pt x="1340" y="56"/>
                      <a:pt x="1339" y="57"/>
                    </a:cubicBezTo>
                    <a:cubicBezTo>
                      <a:pt x="1338" y="58"/>
                      <a:pt x="1337" y="58"/>
                      <a:pt x="1336" y="58"/>
                    </a:cubicBezTo>
                    <a:cubicBezTo>
                      <a:pt x="1334" y="58"/>
                      <a:pt x="1332" y="57"/>
                      <a:pt x="1328" y="55"/>
                    </a:cubicBezTo>
                    <a:cubicBezTo>
                      <a:pt x="1324" y="52"/>
                      <a:pt x="1319" y="50"/>
                      <a:pt x="1313" y="47"/>
                    </a:cubicBezTo>
                    <a:cubicBezTo>
                      <a:pt x="1308" y="44"/>
                      <a:pt x="1301" y="41"/>
                      <a:pt x="1293" y="39"/>
                    </a:cubicBezTo>
                    <a:cubicBezTo>
                      <a:pt x="1286" y="36"/>
                      <a:pt x="1277" y="35"/>
                      <a:pt x="1267" y="35"/>
                    </a:cubicBezTo>
                    <a:cubicBezTo>
                      <a:pt x="1258" y="35"/>
                      <a:pt x="1251" y="36"/>
                      <a:pt x="1244" y="39"/>
                    </a:cubicBezTo>
                    <a:cubicBezTo>
                      <a:pt x="1237" y="41"/>
                      <a:pt x="1232" y="44"/>
                      <a:pt x="1228" y="48"/>
                    </a:cubicBezTo>
                    <a:cubicBezTo>
                      <a:pt x="1223" y="52"/>
                      <a:pt x="1220" y="57"/>
                      <a:pt x="1218" y="62"/>
                    </a:cubicBezTo>
                    <a:cubicBezTo>
                      <a:pt x="1216" y="68"/>
                      <a:pt x="1215" y="74"/>
                      <a:pt x="1215" y="80"/>
                    </a:cubicBezTo>
                    <a:cubicBezTo>
                      <a:pt x="1215" y="89"/>
                      <a:pt x="1217" y="96"/>
                      <a:pt x="1221" y="103"/>
                    </a:cubicBezTo>
                    <a:cubicBezTo>
                      <a:pt x="1225" y="109"/>
                      <a:pt x="1231" y="115"/>
                      <a:pt x="1238" y="120"/>
                    </a:cubicBezTo>
                    <a:cubicBezTo>
                      <a:pt x="1244" y="125"/>
                      <a:pt x="1252" y="130"/>
                      <a:pt x="1261" y="134"/>
                    </a:cubicBezTo>
                    <a:cubicBezTo>
                      <a:pt x="1270" y="138"/>
                      <a:pt x="1279" y="142"/>
                      <a:pt x="1288" y="146"/>
                    </a:cubicBezTo>
                    <a:cubicBezTo>
                      <a:pt x="1297" y="151"/>
                      <a:pt x="1306" y="155"/>
                      <a:pt x="1315" y="160"/>
                    </a:cubicBezTo>
                    <a:cubicBezTo>
                      <a:pt x="1323" y="165"/>
                      <a:pt x="1331" y="171"/>
                      <a:pt x="1338" y="178"/>
                    </a:cubicBezTo>
                    <a:cubicBezTo>
                      <a:pt x="1345" y="185"/>
                      <a:pt x="1351" y="193"/>
                      <a:pt x="1355" y="202"/>
                    </a:cubicBezTo>
                    <a:cubicBezTo>
                      <a:pt x="1359" y="212"/>
                      <a:pt x="1361" y="223"/>
                      <a:pt x="1361" y="236"/>
                    </a:cubicBezTo>
                    <a:close/>
                    <a:moveTo>
                      <a:pt x="1659" y="311"/>
                    </a:moveTo>
                    <a:cubicBezTo>
                      <a:pt x="1661" y="314"/>
                      <a:pt x="1661" y="317"/>
                      <a:pt x="1661" y="319"/>
                    </a:cubicBezTo>
                    <a:cubicBezTo>
                      <a:pt x="1661" y="322"/>
                      <a:pt x="1661" y="323"/>
                      <a:pt x="1659" y="325"/>
                    </a:cubicBezTo>
                    <a:cubicBezTo>
                      <a:pt x="1658" y="326"/>
                      <a:pt x="1656" y="326"/>
                      <a:pt x="1653" y="327"/>
                    </a:cubicBezTo>
                    <a:cubicBezTo>
                      <a:pt x="1650" y="327"/>
                      <a:pt x="1646" y="327"/>
                      <a:pt x="1641" y="327"/>
                    </a:cubicBezTo>
                    <a:cubicBezTo>
                      <a:pt x="1635" y="327"/>
                      <a:pt x="1631" y="327"/>
                      <a:pt x="1628" y="327"/>
                    </a:cubicBezTo>
                    <a:cubicBezTo>
                      <a:pt x="1625" y="327"/>
                      <a:pt x="1623" y="326"/>
                      <a:pt x="1621" y="326"/>
                    </a:cubicBezTo>
                    <a:cubicBezTo>
                      <a:pt x="1620" y="325"/>
                      <a:pt x="1619" y="324"/>
                      <a:pt x="1618" y="323"/>
                    </a:cubicBezTo>
                    <a:cubicBezTo>
                      <a:pt x="1617" y="322"/>
                      <a:pt x="1616" y="321"/>
                      <a:pt x="1616" y="320"/>
                    </a:cubicBezTo>
                    <a:lnTo>
                      <a:pt x="1588" y="241"/>
                    </a:lnTo>
                    <a:lnTo>
                      <a:pt x="1455" y="241"/>
                    </a:lnTo>
                    <a:lnTo>
                      <a:pt x="1428" y="319"/>
                    </a:lnTo>
                    <a:cubicBezTo>
                      <a:pt x="1428" y="320"/>
                      <a:pt x="1427" y="321"/>
                      <a:pt x="1426" y="322"/>
                    </a:cubicBezTo>
                    <a:cubicBezTo>
                      <a:pt x="1425" y="323"/>
                      <a:pt x="1424" y="324"/>
                      <a:pt x="1423" y="325"/>
                    </a:cubicBezTo>
                    <a:cubicBezTo>
                      <a:pt x="1421" y="326"/>
                      <a:pt x="1419" y="326"/>
                      <a:pt x="1416" y="327"/>
                    </a:cubicBezTo>
                    <a:cubicBezTo>
                      <a:pt x="1413" y="327"/>
                      <a:pt x="1409" y="327"/>
                      <a:pt x="1405" y="327"/>
                    </a:cubicBezTo>
                    <a:cubicBezTo>
                      <a:pt x="1400" y="327"/>
                      <a:pt x="1396" y="327"/>
                      <a:pt x="1393" y="327"/>
                    </a:cubicBezTo>
                    <a:cubicBezTo>
                      <a:pt x="1390" y="326"/>
                      <a:pt x="1388" y="325"/>
                      <a:pt x="1386" y="324"/>
                    </a:cubicBezTo>
                    <a:cubicBezTo>
                      <a:pt x="1385" y="323"/>
                      <a:pt x="1384" y="321"/>
                      <a:pt x="1385" y="319"/>
                    </a:cubicBezTo>
                    <a:cubicBezTo>
                      <a:pt x="1385" y="317"/>
                      <a:pt x="1385" y="314"/>
                      <a:pt x="1387" y="310"/>
                    </a:cubicBezTo>
                    <a:lnTo>
                      <a:pt x="1494" y="12"/>
                    </a:lnTo>
                    <a:cubicBezTo>
                      <a:pt x="1495" y="10"/>
                      <a:pt x="1496" y="8"/>
                      <a:pt x="1497" y="7"/>
                    </a:cubicBezTo>
                    <a:cubicBezTo>
                      <a:pt x="1498" y="6"/>
                      <a:pt x="1500" y="5"/>
                      <a:pt x="1502" y="5"/>
                    </a:cubicBezTo>
                    <a:cubicBezTo>
                      <a:pt x="1504" y="4"/>
                      <a:pt x="1507" y="3"/>
                      <a:pt x="1510" y="3"/>
                    </a:cubicBezTo>
                    <a:cubicBezTo>
                      <a:pt x="1513" y="3"/>
                      <a:pt x="1517" y="3"/>
                      <a:pt x="1522" y="3"/>
                    </a:cubicBezTo>
                    <a:cubicBezTo>
                      <a:pt x="1527" y="3"/>
                      <a:pt x="1532" y="3"/>
                      <a:pt x="1535" y="3"/>
                    </a:cubicBezTo>
                    <a:cubicBezTo>
                      <a:pt x="1539" y="3"/>
                      <a:pt x="1542" y="4"/>
                      <a:pt x="1544" y="5"/>
                    </a:cubicBezTo>
                    <a:cubicBezTo>
                      <a:pt x="1546" y="5"/>
                      <a:pt x="1547" y="6"/>
                      <a:pt x="1549" y="7"/>
                    </a:cubicBezTo>
                    <a:cubicBezTo>
                      <a:pt x="1550" y="9"/>
                      <a:pt x="1551" y="10"/>
                      <a:pt x="1551" y="12"/>
                    </a:cubicBezTo>
                    <a:lnTo>
                      <a:pt x="1659" y="311"/>
                    </a:lnTo>
                    <a:close/>
                    <a:moveTo>
                      <a:pt x="1521" y="47"/>
                    </a:moveTo>
                    <a:lnTo>
                      <a:pt x="1521" y="47"/>
                    </a:lnTo>
                    <a:lnTo>
                      <a:pt x="1465" y="207"/>
                    </a:lnTo>
                    <a:lnTo>
                      <a:pt x="1577" y="207"/>
                    </a:lnTo>
                    <a:lnTo>
                      <a:pt x="1521" y="47"/>
                    </a:lnTo>
                    <a:close/>
                    <a:moveTo>
                      <a:pt x="1762" y="290"/>
                    </a:moveTo>
                    <a:cubicBezTo>
                      <a:pt x="1762" y="295"/>
                      <a:pt x="1762" y="300"/>
                      <a:pt x="1762" y="304"/>
                    </a:cubicBezTo>
                    <a:cubicBezTo>
                      <a:pt x="1761" y="309"/>
                      <a:pt x="1760" y="313"/>
                      <a:pt x="1759" y="317"/>
                    </a:cubicBezTo>
                    <a:cubicBezTo>
                      <a:pt x="1758" y="320"/>
                      <a:pt x="1756" y="324"/>
                      <a:pt x="1755" y="328"/>
                    </a:cubicBezTo>
                    <a:cubicBezTo>
                      <a:pt x="1753" y="332"/>
                      <a:pt x="1750" y="336"/>
                      <a:pt x="1747" y="340"/>
                    </a:cubicBezTo>
                    <a:lnTo>
                      <a:pt x="1713" y="391"/>
                    </a:lnTo>
                    <a:cubicBezTo>
                      <a:pt x="1713" y="392"/>
                      <a:pt x="1712" y="393"/>
                      <a:pt x="1711" y="394"/>
                    </a:cubicBezTo>
                    <a:cubicBezTo>
                      <a:pt x="1709" y="395"/>
                      <a:pt x="1708" y="395"/>
                      <a:pt x="1707" y="396"/>
                    </a:cubicBezTo>
                    <a:cubicBezTo>
                      <a:pt x="1705" y="397"/>
                      <a:pt x="1703" y="397"/>
                      <a:pt x="1701" y="397"/>
                    </a:cubicBezTo>
                    <a:cubicBezTo>
                      <a:pt x="1699" y="398"/>
                      <a:pt x="1696" y="398"/>
                      <a:pt x="1693" y="398"/>
                    </a:cubicBezTo>
                    <a:cubicBezTo>
                      <a:pt x="1690" y="398"/>
                      <a:pt x="1688" y="398"/>
                      <a:pt x="1686" y="397"/>
                    </a:cubicBezTo>
                    <a:cubicBezTo>
                      <a:pt x="1684" y="397"/>
                      <a:pt x="1683" y="397"/>
                      <a:pt x="1682" y="396"/>
                    </a:cubicBezTo>
                    <a:cubicBezTo>
                      <a:pt x="1681" y="396"/>
                      <a:pt x="1681" y="395"/>
                      <a:pt x="1681" y="394"/>
                    </a:cubicBezTo>
                    <a:cubicBezTo>
                      <a:pt x="1681" y="393"/>
                      <a:pt x="1681" y="392"/>
                      <a:pt x="1682" y="390"/>
                    </a:cubicBezTo>
                    <a:lnTo>
                      <a:pt x="1715" y="322"/>
                    </a:lnTo>
                    <a:lnTo>
                      <a:pt x="1715" y="290"/>
                    </a:lnTo>
                    <a:cubicBezTo>
                      <a:pt x="1715" y="286"/>
                      <a:pt x="1715" y="282"/>
                      <a:pt x="1716" y="280"/>
                    </a:cubicBezTo>
                    <a:cubicBezTo>
                      <a:pt x="1717" y="277"/>
                      <a:pt x="1718" y="275"/>
                      <a:pt x="1720" y="274"/>
                    </a:cubicBezTo>
                    <a:cubicBezTo>
                      <a:pt x="1722" y="272"/>
                      <a:pt x="1725" y="271"/>
                      <a:pt x="1728" y="271"/>
                    </a:cubicBezTo>
                    <a:cubicBezTo>
                      <a:pt x="1731" y="270"/>
                      <a:pt x="1734" y="270"/>
                      <a:pt x="1739" y="270"/>
                    </a:cubicBezTo>
                    <a:cubicBezTo>
                      <a:pt x="1743" y="270"/>
                      <a:pt x="1746" y="270"/>
                      <a:pt x="1749" y="271"/>
                    </a:cubicBezTo>
                    <a:cubicBezTo>
                      <a:pt x="1752" y="271"/>
                      <a:pt x="1755" y="272"/>
                      <a:pt x="1757" y="274"/>
                    </a:cubicBezTo>
                    <a:cubicBezTo>
                      <a:pt x="1759" y="275"/>
                      <a:pt x="1760" y="277"/>
                      <a:pt x="1761" y="280"/>
                    </a:cubicBezTo>
                    <a:cubicBezTo>
                      <a:pt x="1762" y="282"/>
                      <a:pt x="1762" y="286"/>
                      <a:pt x="1762" y="290"/>
                    </a:cubicBezTo>
                    <a:close/>
                    <a:moveTo>
                      <a:pt x="277" y="703"/>
                    </a:moveTo>
                    <a:cubicBezTo>
                      <a:pt x="277" y="720"/>
                      <a:pt x="274" y="736"/>
                      <a:pt x="269" y="751"/>
                    </a:cubicBezTo>
                    <a:cubicBezTo>
                      <a:pt x="264" y="766"/>
                      <a:pt x="257" y="779"/>
                      <a:pt x="247" y="790"/>
                    </a:cubicBezTo>
                    <a:cubicBezTo>
                      <a:pt x="237" y="801"/>
                      <a:pt x="224" y="809"/>
                      <a:pt x="209" y="816"/>
                    </a:cubicBezTo>
                    <a:cubicBezTo>
                      <a:pt x="195" y="823"/>
                      <a:pt x="178" y="826"/>
                      <a:pt x="159" y="827"/>
                    </a:cubicBezTo>
                    <a:lnTo>
                      <a:pt x="159" y="905"/>
                    </a:lnTo>
                    <a:cubicBezTo>
                      <a:pt x="159" y="906"/>
                      <a:pt x="158" y="908"/>
                      <a:pt x="158" y="909"/>
                    </a:cubicBezTo>
                    <a:cubicBezTo>
                      <a:pt x="157" y="910"/>
                      <a:pt x="156" y="910"/>
                      <a:pt x="155" y="911"/>
                    </a:cubicBezTo>
                    <a:cubicBezTo>
                      <a:pt x="153" y="912"/>
                      <a:pt x="151" y="912"/>
                      <a:pt x="148" y="913"/>
                    </a:cubicBezTo>
                    <a:cubicBezTo>
                      <a:pt x="146" y="913"/>
                      <a:pt x="142" y="913"/>
                      <a:pt x="138" y="913"/>
                    </a:cubicBezTo>
                    <a:cubicBezTo>
                      <a:pt x="134" y="913"/>
                      <a:pt x="131" y="913"/>
                      <a:pt x="128" y="913"/>
                    </a:cubicBezTo>
                    <a:cubicBezTo>
                      <a:pt x="126" y="912"/>
                      <a:pt x="124" y="912"/>
                      <a:pt x="122" y="911"/>
                    </a:cubicBezTo>
                    <a:cubicBezTo>
                      <a:pt x="121" y="910"/>
                      <a:pt x="119" y="910"/>
                      <a:pt x="119" y="909"/>
                    </a:cubicBezTo>
                    <a:cubicBezTo>
                      <a:pt x="118" y="908"/>
                      <a:pt x="118" y="906"/>
                      <a:pt x="118" y="905"/>
                    </a:cubicBezTo>
                    <a:lnTo>
                      <a:pt x="118" y="827"/>
                    </a:lnTo>
                    <a:cubicBezTo>
                      <a:pt x="98" y="827"/>
                      <a:pt x="81" y="823"/>
                      <a:pt x="67" y="817"/>
                    </a:cubicBezTo>
                    <a:cubicBezTo>
                      <a:pt x="52" y="811"/>
                      <a:pt x="40" y="803"/>
                      <a:pt x="30" y="793"/>
                    </a:cubicBezTo>
                    <a:cubicBezTo>
                      <a:pt x="20" y="783"/>
                      <a:pt x="12" y="770"/>
                      <a:pt x="7" y="756"/>
                    </a:cubicBezTo>
                    <a:cubicBezTo>
                      <a:pt x="2" y="741"/>
                      <a:pt x="0" y="725"/>
                      <a:pt x="0" y="706"/>
                    </a:cubicBezTo>
                    <a:cubicBezTo>
                      <a:pt x="0" y="689"/>
                      <a:pt x="2" y="673"/>
                      <a:pt x="7" y="658"/>
                    </a:cubicBezTo>
                    <a:cubicBezTo>
                      <a:pt x="13" y="643"/>
                      <a:pt x="20" y="630"/>
                      <a:pt x="30" y="619"/>
                    </a:cubicBezTo>
                    <a:cubicBezTo>
                      <a:pt x="40" y="609"/>
                      <a:pt x="53" y="600"/>
                      <a:pt x="67" y="593"/>
                    </a:cubicBezTo>
                    <a:cubicBezTo>
                      <a:pt x="82" y="587"/>
                      <a:pt x="99" y="583"/>
                      <a:pt x="118" y="582"/>
                    </a:cubicBezTo>
                    <a:lnTo>
                      <a:pt x="118" y="487"/>
                    </a:lnTo>
                    <a:cubicBezTo>
                      <a:pt x="118" y="486"/>
                      <a:pt x="118" y="485"/>
                      <a:pt x="119" y="484"/>
                    </a:cubicBezTo>
                    <a:cubicBezTo>
                      <a:pt x="119" y="483"/>
                      <a:pt x="121" y="482"/>
                      <a:pt x="122" y="482"/>
                    </a:cubicBezTo>
                    <a:cubicBezTo>
                      <a:pt x="124" y="481"/>
                      <a:pt x="126" y="480"/>
                      <a:pt x="128" y="480"/>
                    </a:cubicBezTo>
                    <a:cubicBezTo>
                      <a:pt x="131" y="480"/>
                      <a:pt x="134" y="480"/>
                      <a:pt x="138" y="480"/>
                    </a:cubicBezTo>
                    <a:cubicBezTo>
                      <a:pt x="142" y="480"/>
                      <a:pt x="146" y="480"/>
                      <a:pt x="148" y="480"/>
                    </a:cubicBezTo>
                    <a:cubicBezTo>
                      <a:pt x="151" y="480"/>
                      <a:pt x="153" y="481"/>
                      <a:pt x="155" y="482"/>
                    </a:cubicBezTo>
                    <a:cubicBezTo>
                      <a:pt x="156" y="482"/>
                      <a:pt x="157" y="483"/>
                      <a:pt x="158" y="484"/>
                    </a:cubicBezTo>
                    <a:cubicBezTo>
                      <a:pt x="158" y="485"/>
                      <a:pt x="159" y="486"/>
                      <a:pt x="159" y="487"/>
                    </a:cubicBezTo>
                    <a:lnTo>
                      <a:pt x="159" y="582"/>
                    </a:lnTo>
                    <a:cubicBezTo>
                      <a:pt x="178" y="583"/>
                      <a:pt x="196" y="586"/>
                      <a:pt x="210" y="592"/>
                    </a:cubicBezTo>
                    <a:cubicBezTo>
                      <a:pt x="225" y="598"/>
                      <a:pt x="238" y="606"/>
                      <a:pt x="247" y="617"/>
                    </a:cubicBezTo>
                    <a:cubicBezTo>
                      <a:pt x="257" y="627"/>
                      <a:pt x="265" y="639"/>
                      <a:pt x="270" y="654"/>
                    </a:cubicBezTo>
                    <a:cubicBezTo>
                      <a:pt x="275" y="669"/>
                      <a:pt x="277" y="685"/>
                      <a:pt x="277" y="703"/>
                    </a:cubicBezTo>
                    <a:close/>
                    <a:moveTo>
                      <a:pt x="235" y="705"/>
                    </a:moveTo>
                    <a:cubicBezTo>
                      <a:pt x="235" y="678"/>
                      <a:pt x="229" y="657"/>
                      <a:pt x="217" y="642"/>
                    </a:cubicBezTo>
                    <a:cubicBezTo>
                      <a:pt x="205" y="627"/>
                      <a:pt x="186" y="619"/>
                      <a:pt x="159" y="616"/>
                    </a:cubicBezTo>
                    <a:lnTo>
                      <a:pt x="159" y="793"/>
                    </a:lnTo>
                    <a:cubicBezTo>
                      <a:pt x="183" y="792"/>
                      <a:pt x="202" y="783"/>
                      <a:pt x="215" y="769"/>
                    </a:cubicBezTo>
                    <a:cubicBezTo>
                      <a:pt x="228" y="754"/>
                      <a:pt x="235" y="733"/>
                      <a:pt x="235" y="705"/>
                    </a:cubicBezTo>
                    <a:close/>
                    <a:moveTo>
                      <a:pt x="118" y="616"/>
                    </a:moveTo>
                    <a:cubicBezTo>
                      <a:pt x="93" y="618"/>
                      <a:pt x="75" y="625"/>
                      <a:pt x="62" y="640"/>
                    </a:cubicBezTo>
                    <a:cubicBezTo>
                      <a:pt x="49" y="655"/>
                      <a:pt x="42" y="676"/>
                      <a:pt x="42" y="704"/>
                    </a:cubicBezTo>
                    <a:cubicBezTo>
                      <a:pt x="42" y="717"/>
                      <a:pt x="44" y="729"/>
                      <a:pt x="46" y="739"/>
                    </a:cubicBezTo>
                    <a:cubicBezTo>
                      <a:pt x="49" y="750"/>
                      <a:pt x="53" y="759"/>
                      <a:pt x="60" y="766"/>
                    </a:cubicBezTo>
                    <a:cubicBezTo>
                      <a:pt x="66" y="774"/>
                      <a:pt x="73" y="780"/>
                      <a:pt x="83" y="784"/>
                    </a:cubicBezTo>
                    <a:cubicBezTo>
                      <a:pt x="93" y="789"/>
                      <a:pt x="104" y="792"/>
                      <a:pt x="118" y="793"/>
                    </a:cubicBezTo>
                    <a:lnTo>
                      <a:pt x="118" y="616"/>
                    </a:lnTo>
                    <a:close/>
                    <a:moveTo>
                      <a:pt x="534" y="817"/>
                    </a:moveTo>
                    <a:cubicBezTo>
                      <a:pt x="534" y="818"/>
                      <a:pt x="534" y="819"/>
                      <a:pt x="533" y="820"/>
                    </a:cubicBezTo>
                    <a:cubicBezTo>
                      <a:pt x="532" y="821"/>
                      <a:pt x="531" y="822"/>
                      <a:pt x="530" y="822"/>
                    </a:cubicBezTo>
                    <a:cubicBezTo>
                      <a:pt x="528" y="823"/>
                      <a:pt x="526" y="823"/>
                      <a:pt x="524" y="824"/>
                    </a:cubicBezTo>
                    <a:cubicBezTo>
                      <a:pt x="521" y="824"/>
                      <a:pt x="518" y="824"/>
                      <a:pt x="514" y="824"/>
                    </a:cubicBezTo>
                    <a:cubicBezTo>
                      <a:pt x="510" y="824"/>
                      <a:pt x="506" y="824"/>
                      <a:pt x="504" y="824"/>
                    </a:cubicBezTo>
                    <a:cubicBezTo>
                      <a:pt x="501" y="823"/>
                      <a:pt x="499" y="823"/>
                      <a:pt x="497" y="822"/>
                    </a:cubicBezTo>
                    <a:cubicBezTo>
                      <a:pt x="496" y="822"/>
                      <a:pt x="495" y="821"/>
                      <a:pt x="494" y="820"/>
                    </a:cubicBezTo>
                    <a:cubicBezTo>
                      <a:pt x="493" y="819"/>
                      <a:pt x="493" y="818"/>
                      <a:pt x="493" y="817"/>
                    </a:cubicBezTo>
                    <a:lnTo>
                      <a:pt x="493" y="688"/>
                    </a:lnTo>
                    <a:cubicBezTo>
                      <a:pt x="493" y="682"/>
                      <a:pt x="493" y="675"/>
                      <a:pt x="493" y="668"/>
                    </a:cubicBezTo>
                    <a:cubicBezTo>
                      <a:pt x="494" y="662"/>
                      <a:pt x="494" y="655"/>
                      <a:pt x="495" y="648"/>
                    </a:cubicBezTo>
                    <a:cubicBezTo>
                      <a:pt x="491" y="655"/>
                      <a:pt x="487" y="662"/>
                      <a:pt x="482" y="668"/>
                    </a:cubicBezTo>
                    <a:cubicBezTo>
                      <a:pt x="477" y="674"/>
                      <a:pt x="473" y="681"/>
                      <a:pt x="468" y="687"/>
                    </a:cubicBezTo>
                    <a:lnTo>
                      <a:pt x="373" y="817"/>
                    </a:lnTo>
                    <a:cubicBezTo>
                      <a:pt x="372" y="818"/>
                      <a:pt x="371" y="819"/>
                      <a:pt x="370" y="820"/>
                    </a:cubicBezTo>
                    <a:cubicBezTo>
                      <a:pt x="369" y="821"/>
                      <a:pt x="368" y="822"/>
                      <a:pt x="367" y="823"/>
                    </a:cubicBezTo>
                    <a:cubicBezTo>
                      <a:pt x="365" y="823"/>
                      <a:pt x="364" y="823"/>
                      <a:pt x="361" y="824"/>
                    </a:cubicBezTo>
                    <a:cubicBezTo>
                      <a:pt x="359" y="824"/>
                      <a:pt x="357" y="824"/>
                      <a:pt x="354" y="824"/>
                    </a:cubicBezTo>
                    <a:cubicBezTo>
                      <a:pt x="350" y="824"/>
                      <a:pt x="347" y="824"/>
                      <a:pt x="345" y="824"/>
                    </a:cubicBezTo>
                    <a:cubicBezTo>
                      <a:pt x="342" y="823"/>
                      <a:pt x="340" y="823"/>
                      <a:pt x="339" y="822"/>
                    </a:cubicBezTo>
                    <a:cubicBezTo>
                      <a:pt x="338" y="822"/>
                      <a:pt x="337" y="821"/>
                      <a:pt x="336" y="820"/>
                    </a:cubicBezTo>
                    <a:cubicBezTo>
                      <a:pt x="335" y="819"/>
                      <a:pt x="335" y="818"/>
                      <a:pt x="335" y="817"/>
                    </a:cubicBezTo>
                    <a:lnTo>
                      <a:pt x="335" y="593"/>
                    </a:lnTo>
                    <a:cubicBezTo>
                      <a:pt x="335" y="591"/>
                      <a:pt x="335" y="590"/>
                      <a:pt x="336" y="589"/>
                    </a:cubicBezTo>
                    <a:cubicBezTo>
                      <a:pt x="337" y="588"/>
                      <a:pt x="338" y="588"/>
                      <a:pt x="339" y="587"/>
                    </a:cubicBezTo>
                    <a:cubicBezTo>
                      <a:pt x="341" y="586"/>
                      <a:pt x="343" y="586"/>
                      <a:pt x="346" y="586"/>
                    </a:cubicBezTo>
                    <a:cubicBezTo>
                      <a:pt x="348" y="585"/>
                      <a:pt x="351" y="585"/>
                      <a:pt x="355" y="585"/>
                    </a:cubicBezTo>
                    <a:cubicBezTo>
                      <a:pt x="363" y="585"/>
                      <a:pt x="369" y="586"/>
                      <a:pt x="372" y="587"/>
                    </a:cubicBezTo>
                    <a:cubicBezTo>
                      <a:pt x="375" y="588"/>
                      <a:pt x="376" y="590"/>
                      <a:pt x="376" y="593"/>
                    </a:cubicBezTo>
                    <a:lnTo>
                      <a:pt x="376" y="722"/>
                    </a:lnTo>
                    <a:cubicBezTo>
                      <a:pt x="376" y="729"/>
                      <a:pt x="376" y="735"/>
                      <a:pt x="376" y="741"/>
                    </a:cubicBezTo>
                    <a:cubicBezTo>
                      <a:pt x="375" y="748"/>
                      <a:pt x="375" y="754"/>
                      <a:pt x="374" y="760"/>
                    </a:cubicBezTo>
                    <a:cubicBezTo>
                      <a:pt x="378" y="754"/>
                      <a:pt x="382" y="748"/>
                      <a:pt x="386" y="742"/>
                    </a:cubicBezTo>
                    <a:cubicBezTo>
                      <a:pt x="390" y="736"/>
                      <a:pt x="394" y="730"/>
                      <a:pt x="398" y="724"/>
                    </a:cubicBezTo>
                    <a:lnTo>
                      <a:pt x="495" y="593"/>
                    </a:lnTo>
                    <a:cubicBezTo>
                      <a:pt x="496" y="591"/>
                      <a:pt x="497" y="590"/>
                      <a:pt x="498" y="589"/>
                    </a:cubicBezTo>
                    <a:cubicBezTo>
                      <a:pt x="499" y="588"/>
                      <a:pt x="500" y="587"/>
                      <a:pt x="502" y="587"/>
                    </a:cubicBezTo>
                    <a:cubicBezTo>
                      <a:pt x="503" y="586"/>
                      <a:pt x="505" y="586"/>
                      <a:pt x="507" y="586"/>
                    </a:cubicBezTo>
                    <a:cubicBezTo>
                      <a:pt x="509" y="585"/>
                      <a:pt x="512" y="585"/>
                      <a:pt x="516" y="585"/>
                    </a:cubicBezTo>
                    <a:cubicBezTo>
                      <a:pt x="519" y="585"/>
                      <a:pt x="522" y="585"/>
                      <a:pt x="525" y="586"/>
                    </a:cubicBezTo>
                    <a:cubicBezTo>
                      <a:pt x="527" y="586"/>
                      <a:pt x="529" y="586"/>
                      <a:pt x="530" y="587"/>
                    </a:cubicBezTo>
                    <a:cubicBezTo>
                      <a:pt x="532" y="588"/>
                      <a:pt x="533" y="588"/>
                      <a:pt x="533" y="589"/>
                    </a:cubicBezTo>
                    <a:cubicBezTo>
                      <a:pt x="534" y="590"/>
                      <a:pt x="534" y="591"/>
                      <a:pt x="534" y="593"/>
                    </a:cubicBezTo>
                    <a:lnTo>
                      <a:pt x="534" y="817"/>
                    </a:lnTo>
                    <a:close/>
                    <a:moveTo>
                      <a:pt x="806" y="816"/>
                    </a:moveTo>
                    <a:cubicBezTo>
                      <a:pt x="806" y="818"/>
                      <a:pt x="806" y="819"/>
                      <a:pt x="805" y="820"/>
                    </a:cubicBezTo>
                    <a:cubicBezTo>
                      <a:pt x="804" y="821"/>
                      <a:pt x="803" y="821"/>
                      <a:pt x="802" y="822"/>
                    </a:cubicBezTo>
                    <a:cubicBezTo>
                      <a:pt x="800" y="823"/>
                      <a:pt x="798" y="823"/>
                      <a:pt x="796" y="824"/>
                    </a:cubicBezTo>
                    <a:cubicBezTo>
                      <a:pt x="793" y="824"/>
                      <a:pt x="790" y="824"/>
                      <a:pt x="786" y="824"/>
                    </a:cubicBezTo>
                    <a:cubicBezTo>
                      <a:pt x="782" y="824"/>
                      <a:pt x="778" y="824"/>
                      <a:pt x="776" y="824"/>
                    </a:cubicBezTo>
                    <a:cubicBezTo>
                      <a:pt x="773" y="823"/>
                      <a:pt x="771" y="823"/>
                      <a:pt x="769" y="822"/>
                    </a:cubicBezTo>
                    <a:cubicBezTo>
                      <a:pt x="768" y="821"/>
                      <a:pt x="767" y="821"/>
                      <a:pt x="766" y="820"/>
                    </a:cubicBezTo>
                    <a:cubicBezTo>
                      <a:pt x="765" y="819"/>
                      <a:pt x="765" y="818"/>
                      <a:pt x="765" y="816"/>
                    </a:cubicBezTo>
                    <a:lnTo>
                      <a:pt x="765" y="718"/>
                    </a:lnTo>
                    <a:lnTo>
                      <a:pt x="651" y="718"/>
                    </a:lnTo>
                    <a:lnTo>
                      <a:pt x="651" y="816"/>
                    </a:lnTo>
                    <a:cubicBezTo>
                      <a:pt x="651" y="818"/>
                      <a:pt x="651" y="819"/>
                      <a:pt x="650" y="820"/>
                    </a:cubicBezTo>
                    <a:cubicBezTo>
                      <a:pt x="649" y="821"/>
                      <a:pt x="648" y="821"/>
                      <a:pt x="647" y="822"/>
                    </a:cubicBezTo>
                    <a:cubicBezTo>
                      <a:pt x="645" y="823"/>
                      <a:pt x="643" y="823"/>
                      <a:pt x="641" y="824"/>
                    </a:cubicBezTo>
                    <a:cubicBezTo>
                      <a:pt x="638" y="824"/>
                      <a:pt x="635" y="824"/>
                      <a:pt x="630" y="824"/>
                    </a:cubicBezTo>
                    <a:cubicBezTo>
                      <a:pt x="627" y="824"/>
                      <a:pt x="623" y="824"/>
                      <a:pt x="621" y="824"/>
                    </a:cubicBezTo>
                    <a:cubicBezTo>
                      <a:pt x="618" y="823"/>
                      <a:pt x="616" y="823"/>
                      <a:pt x="614" y="822"/>
                    </a:cubicBezTo>
                    <a:cubicBezTo>
                      <a:pt x="613" y="821"/>
                      <a:pt x="612" y="821"/>
                      <a:pt x="611" y="820"/>
                    </a:cubicBezTo>
                    <a:cubicBezTo>
                      <a:pt x="610" y="819"/>
                      <a:pt x="610" y="818"/>
                      <a:pt x="610" y="816"/>
                    </a:cubicBezTo>
                    <a:lnTo>
                      <a:pt x="610" y="593"/>
                    </a:lnTo>
                    <a:cubicBezTo>
                      <a:pt x="610" y="591"/>
                      <a:pt x="610" y="590"/>
                      <a:pt x="611" y="589"/>
                    </a:cubicBezTo>
                    <a:cubicBezTo>
                      <a:pt x="612" y="589"/>
                      <a:pt x="613" y="588"/>
                      <a:pt x="614" y="587"/>
                    </a:cubicBezTo>
                    <a:cubicBezTo>
                      <a:pt x="616" y="586"/>
                      <a:pt x="618" y="586"/>
                      <a:pt x="621" y="586"/>
                    </a:cubicBezTo>
                    <a:cubicBezTo>
                      <a:pt x="623" y="585"/>
                      <a:pt x="627" y="585"/>
                      <a:pt x="630" y="585"/>
                    </a:cubicBezTo>
                    <a:cubicBezTo>
                      <a:pt x="635" y="585"/>
                      <a:pt x="638" y="585"/>
                      <a:pt x="641" y="586"/>
                    </a:cubicBezTo>
                    <a:cubicBezTo>
                      <a:pt x="643" y="586"/>
                      <a:pt x="645" y="586"/>
                      <a:pt x="647" y="587"/>
                    </a:cubicBezTo>
                    <a:cubicBezTo>
                      <a:pt x="648" y="588"/>
                      <a:pt x="649" y="589"/>
                      <a:pt x="650" y="589"/>
                    </a:cubicBezTo>
                    <a:cubicBezTo>
                      <a:pt x="651" y="590"/>
                      <a:pt x="651" y="591"/>
                      <a:pt x="651" y="593"/>
                    </a:cubicBezTo>
                    <a:lnTo>
                      <a:pt x="651" y="684"/>
                    </a:lnTo>
                    <a:lnTo>
                      <a:pt x="765" y="684"/>
                    </a:lnTo>
                    <a:lnTo>
                      <a:pt x="765" y="593"/>
                    </a:lnTo>
                    <a:cubicBezTo>
                      <a:pt x="765" y="591"/>
                      <a:pt x="765" y="590"/>
                      <a:pt x="766" y="589"/>
                    </a:cubicBezTo>
                    <a:cubicBezTo>
                      <a:pt x="767" y="589"/>
                      <a:pt x="768" y="588"/>
                      <a:pt x="769" y="587"/>
                    </a:cubicBezTo>
                    <a:cubicBezTo>
                      <a:pt x="771" y="586"/>
                      <a:pt x="773" y="586"/>
                      <a:pt x="776" y="586"/>
                    </a:cubicBezTo>
                    <a:cubicBezTo>
                      <a:pt x="778" y="585"/>
                      <a:pt x="782" y="585"/>
                      <a:pt x="786" y="585"/>
                    </a:cubicBezTo>
                    <a:cubicBezTo>
                      <a:pt x="790" y="585"/>
                      <a:pt x="793" y="585"/>
                      <a:pt x="796" y="586"/>
                    </a:cubicBezTo>
                    <a:cubicBezTo>
                      <a:pt x="798" y="586"/>
                      <a:pt x="800" y="586"/>
                      <a:pt x="802" y="587"/>
                    </a:cubicBezTo>
                    <a:cubicBezTo>
                      <a:pt x="803" y="588"/>
                      <a:pt x="804" y="589"/>
                      <a:pt x="805" y="589"/>
                    </a:cubicBezTo>
                    <a:cubicBezTo>
                      <a:pt x="806" y="590"/>
                      <a:pt x="806" y="591"/>
                      <a:pt x="806" y="593"/>
                    </a:cubicBezTo>
                    <a:lnTo>
                      <a:pt x="806" y="816"/>
                    </a:lnTo>
                    <a:close/>
                    <a:moveTo>
                      <a:pt x="1051" y="817"/>
                    </a:moveTo>
                    <a:cubicBezTo>
                      <a:pt x="1051" y="819"/>
                      <a:pt x="1050" y="820"/>
                      <a:pt x="1049" y="821"/>
                    </a:cubicBezTo>
                    <a:cubicBezTo>
                      <a:pt x="1047" y="822"/>
                      <a:pt x="1045" y="823"/>
                      <a:pt x="1043" y="823"/>
                    </a:cubicBezTo>
                    <a:cubicBezTo>
                      <a:pt x="1041" y="824"/>
                      <a:pt x="1037" y="824"/>
                      <a:pt x="1033" y="824"/>
                    </a:cubicBezTo>
                    <a:cubicBezTo>
                      <a:pt x="1029" y="824"/>
                      <a:pt x="1025" y="824"/>
                      <a:pt x="1023" y="823"/>
                    </a:cubicBezTo>
                    <a:cubicBezTo>
                      <a:pt x="1020" y="823"/>
                      <a:pt x="1018" y="822"/>
                      <a:pt x="1017" y="821"/>
                    </a:cubicBezTo>
                    <a:cubicBezTo>
                      <a:pt x="1016" y="820"/>
                      <a:pt x="1015" y="819"/>
                      <a:pt x="1015" y="817"/>
                    </a:cubicBezTo>
                    <a:lnTo>
                      <a:pt x="1015" y="794"/>
                    </a:lnTo>
                    <a:cubicBezTo>
                      <a:pt x="1006" y="805"/>
                      <a:pt x="995" y="813"/>
                      <a:pt x="983" y="819"/>
                    </a:cubicBezTo>
                    <a:cubicBezTo>
                      <a:pt x="971" y="824"/>
                      <a:pt x="958" y="827"/>
                      <a:pt x="945" y="827"/>
                    </a:cubicBezTo>
                    <a:cubicBezTo>
                      <a:pt x="933" y="827"/>
                      <a:pt x="922" y="826"/>
                      <a:pt x="913" y="823"/>
                    </a:cubicBezTo>
                    <a:cubicBezTo>
                      <a:pt x="903" y="820"/>
                      <a:pt x="895" y="815"/>
                      <a:pt x="888" y="810"/>
                    </a:cubicBezTo>
                    <a:cubicBezTo>
                      <a:pt x="882" y="804"/>
                      <a:pt x="876" y="797"/>
                      <a:pt x="873" y="788"/>
                    </a:cubicBezTo>
                    <a:cubicBezTo>
                      <a:pt x="869" y="780"/>
                      <a:pt x="867" y="770"/>
                      <a:pt x="867" y="759"/>
                    </a:cubicBezTo>
                    <a:cubicBezTo>
                      <a:pt x="867" y="747"/>
                      <a:pt x="870" y="736"/>
                      <a:pt x="875" y="726"/>
                    </a:cubicBezTo>
                    <a:cubicBezTo>
                      <a:pt x="880" y="717"/>
                      <a:pt x="887" y="710"/>
                      <a:pt x="897" y="703"/>
                    </a:cubicBezTo>
                    <a:cubicBezTo>
                      <a:pt x="906" y="697"/>
                      <a:pt x="918" y="693"/>
                      <a:pt x="932" y="690"/>
                    </a:cubicBezTo>
                    <a:cubicBezTo>
                      <a:pt x="946" y="687"/>
                      <a:pt x="962" y="685"/>
                      <a:pt x="979" y="685"/>
                    </a:cubicBezTo>
                    <a:lnTo>
                      <a:pt x="1010" y="685"/>
                    </a:lnTo>
                    <a:lnTo>
                      <a:pt x="1010" y="668"/>
                    </a:lnTo>
                    <a:cubicBezTo>
                      <a:pt x="1010" y="659"/>
                      <a:pt x="1009" y="651"/>
                      <a:pt x="1007" y="645"/>
                    </a:cubicBezTo>
                    <a:cubicBezTo>
                      <a:pt x="1005" y="638"/>
                      <a:pt x="1002" y="633"/>
                      <a:pt x="998" y="628"/>
                    </a:cubicBezTo>
                    <a:cubicBezTo>
                      <a:pt x="994" y="624"/>
                      <a:pt x="989" y="621"/>
                      <a:pt x="983" y="618"/>
                    </a:cubicBezTo>
                    <a:cubicBezTo>
                      <a:pt x="976" y="616"/>
                      <a:pt x="968" y="615"/>
                      <a:pt x="959" y="615"/>
                    </a:cubicBezTo>
                    <a:cubicBezTo>
                      <a:pt x="949" y="615"/>
                      <a:pt x="940" y="616"/>
                      <a:pt x="932" y="619"/>
                    </a:cubicBezTo>
                    <a:cubicBezTo>
                      <a:pt x="923" y="621"/>
                      <a:pt x="916" y="624"/>
                      <a:pt x="910" y="627"/>
                    </a:cubicBezTo>
                    <a:cubicBezTo>
                      <a:pt x="904" y="629"/>
                      <a:pt x="899" y="632"/>
                      <a:pt x="895" y="634"/>
                    </a:cubicBezTo>
                    <a:cubicBezTo>
                      <a:pt x="891" y="637"/>
                      <a:pt x="888" y="638"/>
                      <a:pt x="886" y="638"/>
                    </a:cubicBezTo>
                    <a:cubicBezTo>
                      <a:pt x="885" y="638"/>
                      <a:pt x="884" y="638"/>
                      <a:pt x="883" y="637"/>
                    </a:cubicBezTo>
                    <a:cubicBezTo>
                      <a:pt x="882" y="636"/>
                      <a:pt x="881" y="635"/>
                      <a:pt x="880" y="634"/>
                    </a:cubicBezTo>
                    <a:cubicBezTo>
                      <a:pt x="879" y="633"/>
                      <a:pt x="879" y="631"/>
                      <a:pt x="878" y="629"/>
                    </a:cubicBezTo>
                    <a:cubicBezTo>
                      <a:pt x="878" y="627"/>
                      <a:pt x="878" y="625"/>
                      <a:pt x="878" y="622"/>
                    </a:cubicBezTo>
                    <a:cubicBezTo>
                      <a:pt x="878" y="618"/>
                      <a:pt x="878" y="615"/>
                      <a:pt x="879" y="612"/>
                    </a:cubicBezTo>
                    <a:cubicBezTo>
                      <a:pt x="879" y="610"/>
                      <a:pt x="881" y="608"/>
                      <a:pt x="883" y="605"/>
                    </a:cubicBezTo>
                    <a:cubicBezTo>
                      <a:pt x="885" y="603"/>
                      <a:pt x="889" y="601"/>
                      <a:pt x="895" y="598"/>
                    </a:cubicBezTo>
                    <a:cubicBezTo>
                      <a:pt x="900" y="595"/>
                      <a:pt x="906" y="592"/>
                      <a:pt x="913" y="590"/>
                    </a:cubicBezTo>
                    <a:cubicBezTo>
                      <a:pt x="921" y="588"/>
                      <a:pt x="928" y="586"/>
                      <a:pt x="937" y="584"/>
                    </a:cubicBezTo>
                    <a:cubicBezTo>
                      <a:pt x="945" y="582"/>
                      <a:pt x="954" y="582"/>
                      <a:pt x="962" y="582"/>
                    </a:cubicBezTo>
                    <a:cubicBezTo>
                      <a:pt x="978" y="582"/>
                      <a:pt x="992" y="584"/>
                      <a:pt x="1003" y="587"/>
                    </a:cubicBezTo>
                    <a:cubicBezTo>
                      <a:pt x="1015" y="591"/>
                      <a:pt x="1024" y="596"/>
                      <a:pt x="1031" y="603"/>
                    </a:cubicBezTo>
                    <a:cubicBezTo>
                      <a:pt x="1038" y="610"/>
                      <a:pt x="1043" y="619"/>
                      <a:pt x="1046" y="629"/>
                    </a:cubicBezTo>
                    <a:cubicBezTo>
                      <a:pt x="1049" y="640"/>
                      <a:pt x="1051" y="652"/>
                      <a:pt x="1051" y="666"/>
                    </a:cubicBezTo>
                    <a:lnTo>
                      <a:pt x="1051" y="817"/>
                    </a:lnTo>
                    <a:close/>
                    <a:moveTo>
                      <a:pt x="1010" y="715"/>
                    </a:moveTo>
                    <a:lnTo>
                      <a:pt x="975" y="715"/>
                    </a:lnTo>
                    <a:cubicBezTo>
                      <a:pt x="964" y="715"/>
                      <a:pt x="954" y="716"/>
                      <a:pt x="946" y="717"/>
                    </a:cubicBezTo>
                    <a:cubicBezTo>
                      <a:pt x="937" y="719"/>
                      <a:pt x="930" y="722"/>
                      <a:pt x="925" y="726"/>
                    </a:cubicBezTo>
                    <a:cubicBezTo>
                      <a:pt x="919" y="730"/>
                      <a:pt x="915" y="734"/>
                      <a:pt x="913" y="739"/>
                    </a:cubicBezTo>
                    <a:cubicBezTo>
                      <a:pt x="910" y="745"/>
                      <a:pt x="909" y="750"/>
                      <a:pt x="909" y="757"/>
                    </a:cubicBezTo>
                    <a:cubicBezTo>
                      <a:pt x="909" y="769"/>
                      <a:pt x="913" y="778"/>
                      <a:pt x="920" y="785"/>
                    </a:cubicBezTo>
                    <a:cubicBezTo>
                      <a:pt x="927" y="792"/>
                      <a:pt x="938" y="795"/>
                      <a:pt x="951" y="795"/>
                    </a:cubicBezTo>
                    <a:cubicBezTo>
                      <a:pt x="962" y="795"/>
                      <a:pt x="972" y="793"/>
                      <a:pt x="981" y="787"/>
                    </a:cubicBezTo>
                    <a:cubicBezTo>
                      <a:pt x="990" y="782"/>
                      <a:pt x="1000" y="773"/>
                      <a:pt x="1010" y="762"/>
                    </a:cubicBezTo>
                    <a:lnTo>
                      <a:pt x="1010" y="715"/>
                    </a:lnTo>
                    <a:close/>
                    <a:moveTo>
                      <a:pt x="1322" y="816"/>
                    </a:moveTo>
                    <a:cubicBezTo>
                      <a:pt x="1322" y="818"/>
                      <a:pt x="1322" y="819"/>
                      <a:pt x="1321" y="820"/>
                    </a:cubicBezTo>
                    <a:cubicBezTo>
                      <a:pt x="1320" y="821"/>
                      <a:pt x="1319" y="821"/>
                      <a:pt x="1318" y="822"/>
                    </a:cubicBezTo>
                    <a:cubicBezTo>
                      <a:pt x="1316" y="823"/>
                      <a:pt x="1314" y="823"/>
                      <a:pt x="1312" y="824"/>
                    </a:cubicBezTo>
                    <a:cubicBezTo>
                      <a:pt x="1309" y="824"/>
                      <a:pt x="1305" y="824"/>
                      <a:pt x="1302" y="824"/>
                    </a:cubicBezTo>
                    <a:cubicBezTo>
                      <a:pt x="1297" y="824"/>
                      <a:pt x="1294" y="824"/>
                      <a:pt x="1291" y="824"/>
                    </a:cubicBezTo>
                    <a:cubicBezTo>
                      <a:pt x="1289" y="823"/>
                      <a:pt x="1287" y="823"/>
                      <a:pt x="1285" y="822"/>
                    </a:cubicBezTo>
                    <a:cubicBezTo>
                      <a:pt x="1284" y="821"/>
                      <a:pt x="1283" y="821"/>
                      <a:pt x="1282" y="820"/>
                    </a:cubicBezTo>
                    <a:cubicBezTo>
                      <a:pt x="1281" y="819"/>
                      <a:pt x="1281" y="818"/>
                      <a:pt x="1281" y="816"/>
                    </a:cubicBezTo>
                    <a:lnTo>
                      <a:pt x="1281" y="718"/>
                    </a:lnTo>
                    <a:lnTo>
                      <a:pt x="1167" y="718"/>
                    </a:lnTo>
                    <a:lnTo>
                      <a:pt x="1167" y="816"/>
                    </a:lnTo>
                    <a:cubicBezTo>
                      <a:pt x="1167" y="818"/>
                      <a:pt x="1167" y="819"/>
                      <a:pt x="1166" y="820"/>
                    </a:cubicBezTo>
                    <a:cubicBezTo>
                      <a:pt x="1165" y="821"/>
                      <a:pt x="1164" y="821"/>
                      <a:pt x="1163" y="822"/>
                    </a:cubicBezTo>
                    <a:cubicBezTo>
                      <a:pt x="1161" y="823"/>
                      <a:pt x="1159" y="823"/>
                      <a:pt x="1156" y="824"/>
                    </a:cubicBezTo>
                    <a:cubicBezTo>
                      <a:pt x="1154" y="824"/>
                      <a:pt x="1150" y="824"/>
                      <a:pt x="1146" y="824"/>
                    </a:cubicBezTo>
                    <a:cubicBezTo>
                      <a:pt x="1142" y="824"/>
                      <a:pt x="1139" y="824"/>
                      <a:pt x="1136" y="824"/>
                    </a:cubicBezTo>
                    <a:cubicBezTo>
                      <a:pt x="1134" y="823"/>
                      <a:pt x="1132" y="823"/>
                      <a:pt x="1130" y="822"/>
                    </a:cubicBezTo>
                    <a:cubicBezTo>
                      <a:pt x="1128" y="821"/>
                      <a:pt x="1127" y="821"/>
                      <a:pt x="1127" y="820"/>
                    </a:cubicBezTo>
                    <a:cubicBezTo>
                      <a:pt x="1126" y="819"/>
                      <a:pt x="1126" y="818"/>
                      <a:pt x="1126" y="816"/>
                    </a:cubicBezTo>
                    <a:lnTo>
                      <a:pt x="1126" y="593"/>
                    </a:lnTo>
                    <a:cubicBezTo>
                      <a:pt x="1126" y="591"/>
                      <a:pt x="1126" y="590"/>
                      <a:pt x="1127" y="589"/>
                    </a:cubicBezTo>
                    <a:cubicBezTo>
                      <a:pt x="1127" y="589"/>
                      <a:pt x="1128" y="588"/>
                      <a:pt x="1130" y="587"/>
                    </a:cubicBezTo>
                    <a:cubicBezTo>
                      <a:pt x="1132" y="586"/>
                      <a:pt x="1134" y="586"/>
                      <a:pt x="1136" y="586"/>
                    </a:cubicBezTo>
                    <a:cubicBezTo>
                      <a:pt x="1139" y="585"/>
                      <a:pt x="1142" y="585"/>
                      <a:pt x="1146" y="585"/>
                    </a:cubicBezTo>
                    <a:cubicBezTo>
                      <a:pt x="1150" y="585"/>
                      <a:pt x="1154" y="585"/>
                      <a:pt x="1156" y="586"/>
                    </a:cubicBezTo>
                    <a:cubicBezTo>
                      <a:pt x="1159" y="586"/>
                      <a:pt x="1161" y="586"/>
                      <a:pt x="1163" y="587"/>
                    </a:cubicBezTo>
                    <a:cubicBezTo>
                      <a:pt x="1164" y="588"/>
                      <a:pt x="1165" y="589"/>
                      <a:pt x="1166" y="589"/>
                    </a:cubicBezTo>
                    <a:cubicBezTo>
                      <a:pt x="1167" y="590"/>
                      <a:pt x="1167" y="591"/>
                      <a:pt x="1167" y="593"/>
                    </a:cubicBezTo>
                    <a:lnTo>
                      <a:pt x="1167" y="684"/>
                    </a:lnTo>
                    <a:lnTo>
                      <a:pt x="1281" y="684"/>
                    </a:lnTo>
                    <a:lnTo>
                      <a:pt x="1281" y="593"/>
                    </a:lnTo>
                    <a:cubicBezTo>
                      <a:pt x="1281" y="591"/>
                      <a:pt x="1281" y="590"/>
                      <a:pt x="1282" y="589"/>
                    </a:cubicBezTo>
                    <a:cubicBezTo>
                      <a:pt x="1283" y="589"/>
                      <a:pt x="1284" y="588"/>
                      <a:pt x="1285" y="587"/>
                    </a:cubicBezTo>
                    <a:cubicBezTo>
                      <a:pt x="1287" y="586"/>
                      <a:pt x="1289" y="586"/>
                      <a:pt x="1291" y="586"/>
                    </a:cubicBezTo>
                    <a:cubicBezTo>
                      <a:pt x="1294" y="585"/>
                      <a:pt x="1297" y="585"/>
                      <a:pt x="1302" y="585"/>
                    </a:cubicBezTo>
                    <a:cubicBezTo>
                      <a:pt x="1305" y="585"/>
                      <a:pt x="1309" y="585"/>
                      <a:pt x="1312" y="586"/>
                    </a:cubicBezTo>
                    <a:cubicBezTo>
                      <a:pt x="1314" y="586"/>
                      <a:pt x="1316" y="586"/>
                      <a:pt x="1318" y="587"/>
                    </a:cubicBezTo>
                    <a:cubicBezTo>
                      <a:pt x="1319" y="588"/>
                      <a:pt x="1320" y="589"/>
                      <a:pt x="1321" y="589"/>
                    </a:cubicBezTo>
                    <a:cubicBezTo>
                      <a:pt x="1322" y="590"/>
                      <a:pt x="1322" y="591"/>
                      <a:pt x="1322" y="593"/>
                    </a:cubicBezTo>
                    <a:lnTo>
                      <a:pt x="1322" y="816"/>
                    </a:lnTo>
                    <a:close/>
                    <a:moveTo>
                      <a:pt x="1559" y="782"/>
                    </a:moveTo>
                    <a:cubicBezTo>
                      <a:pt x="1559" y="785"/>
                      <a:pt x="1559" y="788"/>
                      <a:pt x="1558" y="790"/>
                    </a:cubicBezTo>
                    <a:cubicBezTo>
                      <a:pt x="1558" y="792"/>
                      <a:pt x="1558" y="794"/>
                      <a:pt x="1558" y="795"/>
                    </a:cubicBezTo>
                    <a:cubicBezTo>
                      <a:pt x="1557" y="796"/>
                      <a:pt x="1557" y="798"/>
                      <a:pt x="1556" y="799"/>
                    </a:cubicBezTo>
                    <a:cubicBezTo>
                      <a:pt x="1555" y="800"/>
                      <a:pt x="1554" y="801"/>
                      <a:pt x="1552" y="803"/>
                    </a:cubicBezTo>
                    <a:cubicBezTo>
                      <a:pt x="1550" y="805"/>
                      <a:pt x="1546" y="808"/>
                      <a:pt x="1542" y="811"/>
                    </a:cubicBezTo>
                    <a:cubicBezTo>
                      <a:pt x="1537" y="814"/>
                      <a:pt x="1531" y="817"/>
                      <a:pt x="1525" y="819"/>
                    </a:cubicBezTo>
                    <a:cubicBezTo>
                      <a:pt x="1519" y="822"/>
                      <a:pt x="1512" y="824"/>
                      <a:pt x="1505" y="825"/>
                    </a:cubicBezTo>
                    <a:cubicBezTo>
                      <a:pt x="1497" y="827"/>
                      <a:pt x="1490" y="827"/>
                      <a:pt x="1482" y="827"/>
                    </a:cubicBezTo>
                    <a:cubicBezTo>
                      <a:pt x="1466" y="827"/>
                      <a:pt x="1452" y="825"/>
                      <a:pt x="1439" y="819"/>
                    </a:cubicBezTo>
                    <a:cubicBezTo>
                      <a:pt x="1427" y="814"/>
                      <a:pt x="1416" y="806"/>
                      <a:pt x="1408" y="796"/>
                    </a:cubicBezTo>
                    <a:cubicBezTo>
                      <a:pt x="1400" y="786"/>
                      <a:pt x="1393" y="773"/>
                      <a:pt x="1389" y="759"/>
                    </a:cubicBezTo>
                    <a:cubicBezTo>
                      <a:pt x="1385" y="744"/>
                      <a:pt x="1382" y="727"/>
                      <a:pt x="1382" y="707"/>
                    </a:cubicBezTo>
                    <a:cubicBezTo>
                      <a:pt x="1382" y="685"/>
                      <a:pt x="1385" y="666"/>
                      <a:pt x="1390" y="651"/>
                    </a:cubicBezTo>
                    <a:cubicBezTo>
                      <a:pt x="1396" y="635"/>
                      <a:pt x="1403" y="622"/>
                      <a:pt x="1413" y="612"/>
                    </a:cubicBezTo>
                    <a:cubicBezTo>
                      <a:pt x="1422" y="602"/>
                      <a:pt x="1433" y="594"/>
                      <a:pt x="1445" y="589"/>
                    </a:cubicBezTo>
                    <a:cubicBezTo>
                      <a:pt x="1458" y="584"/>
                      <a:pt x="1472" y="582"/>
                      <a:pt x="1487" y="582"/>
                    </a:cubicBezTo>
                    <a:cubicBezTo>
                      <a:pt x="1494" y="582"/>
                      <a:pt x="1501" y="583"/>
                      <a:pt x="1507" y="584"/>
                    </a:cubicBezTo>
                    <a:cubicBezTo>
                      <a:pt x="1514" y="585"/>
                      <a:pt x="1520" y="587"/>
                      <a:pt x="1526" y="589"/>
                    </a:cubicBezTo>
                    <a:cubicBezTo>
                      <a:pt x="1531" y="591"/>
                      <a:pt x="1537" y="594"/>
                      <a:pt x="1541" y="597"/>
                    </a:cubicBezTo>
                    <a:cubicBezTo>
                      <a:pt x="1545" y="599"/>
                      <a:pt x="1549" y="602"/>
                      <a:pt x="1550" y="604"/>
                    </a:cubicBezTo>
                    <a:cubicBezTo>
                      <a:pt x="1553" y="606"/>
                      <a:pt x="1554" y="607"/>
                      <a:pt x="1555" y="609"/>
                    </a:cubicBezTo>
                    <a:cubicBezTo>
                      <a:pt x="1555" y="610"/>
                      <a:pt x="1556" y="611"/>
                      <a:pt x="1556" y="613"/>
                    </a:cubicBezTo>
                    <a:cubicBezTo>
                      <a:pt x="1557" y="614"/>
                      <a:pt x="1557" y="616"/>
                      <a:pt x="1557" y="618"/>
                    </a:cubicBezTo>
                    <a:cubicBezTo>
                      <a:pt x="1558" y="620"/>
                      <a:pt x="1558" y="622"/>
                      <a:pt x="1558" y="625"/>
                    </a:cubicBezTo>
                    <a:cubicBezTo>
                      <a:pt x="1558" y="632"/>
                      <a:pt x="1557" y="636"/>
                      <a:pt x="1555" y="639"/>
                    </a:cubicBezTo>
                    <a:cubicBezTo>
                      <a:pt x="1554" y="642"/>
                      <a:pt x="1552" y="643"/>
                      <a:pt x="1550" y="643"/>
                    </a:cubicBezTo>
                    <a:cubicBezTo>
                      <a:pt x="1548" y="643"/>
                      <a:pt x="1545" y="641"/>
                      <a:pt x="1541" y="639"/>
                    </a:cubicBezTo>
                    <a:cubicBezTo>
                      <a:pt x="1538" y="636"/>
                      <a:pt x="1534" y="633"/>
                      <a:pt x="1529" y="630"/>
                    </a:cubicBezTo>
                    <a:cubicBezTo>
                      <a:pt x="1524" y="626"/>
                      <a:pt x="1518" y="623"/>
                      <a:pt x="1511" y="621"/>
                    </a:cubicBezTo>
                    <a:cubicBezTo>
                      <a:pt x="1504" y="618"/>
                      <a:pt x="1496" y="616"/>
                      <a:pt x="1486" y="616"/>
                    </a:cubicBezTo>
                    <a:cubicBezTo>
                      <a:pt x="1466" y="616"/>
                      <a:pt x="1451" y="624"/>
                      <a:pt x="1441" y="639"/>
                    </a:cubicBezTo>
                    <a:cubicBezTo>
                      <a:pt x="1430" y="654"/>
                      <a:pt x="1425" y="676"/>
                      <a:pt x="1425" y="705"/>
                    </a:cubicBezTo>
                    <a:cubicBezTo>
                      <a:pt x="1425" y="720"/>
                      <a:pt x="1426" y="732"/>
                      <a:pt x="1429" y="743"/>
                    </a:cubicBezTo>
                    <a:cubicBezTo>
                      <a:pt x="1432" y="754"/>
                      <a:pt x="1436" y="763"/>
                      <a:pt x="1441" y="770"/>
                    </a:cubicBezTo>
                    <a:cubicBezTo>
                      <a:pt x="1447" y="778"/>
                      <a:pt x="1453" y="783"/>
                      <a:pt x="1461" y="787"/>
                    </a:cubicBezTo>
                    <a:cubicBezTo>
                      <a:pt x="1468" y="790"/>
                      <a:pt x="1477" y="792"/>
                      <a:pt x="1487" y="792"/>
                    </a:cubicBezTo>
                    <a:cubicBezTo>
                      <a:pt x="1497" y="792"/>
                      <a:pt x="1505" y="790"/>
                      <a:pt x="1512" y="787"/>
                    </a:cubicBezTo>
                    <a:cubicBezTo>
                      <a:pt x="1519" y="784"/>
                      <a:pt x="1525" y="781"/>
                      <a:pt x="1530" y="778"/>
                    </a:cubicBezTo>
                    <a:cubicBezTo>
                      <a:pt x="1536" y="774"/>
                      <a:pt x="1540" y="771"/>
                      <a:pt x="1544" y="768"/>
                    </a:cubicBezTo>
                    <a:cubicBezTo>
                      <a:pt x="1547" y="765"/>
                      <a:pt x="1550" y="764"/>
                      <a:pt x="1552" y="764"/>
                    </a:cubicBezTo>
                    <a:cubicBezTo>
                      <a:pt x="1553" y="764"/>
                      <a:pt x="1554" y="764"/>
                      <a:pt x="1555" y="764"/>
                    </a:cubicBezTo>
                    <a:cubicBezTo>
                      <a:pt x="1556" y="765"/>
                      <a:pt x="1556" y="766"/>
                      <a:pt x="1557" y="768"/>
                    </a:cubicBezTo>
                    <a:cubicBezTo>
                      <a:pt x="1558" y="769"/>
                      <a:pt x="1558" y="771"/>
                      <a:pt x="1558" y="774"/>
                    </a:cubicBezTo>
                    <a:cubicBezTo>
                      <a:pt x="1559" y="776"/>
                      <a:pt x="1559" y="779"/>
                      <a:pt x="1559" y="782"/>
                    </a:cubicBezTo>
                    <a:close/>
                    <a:moveTo>
                      <a:pt x="1821" y="702"/>
                    </a:moveTo>
                    <a:cubicBezTo>
                      <a:pt x="1821" y="720"/>
                      <a:pt x="1819" y="737"/>
                      <a:pt x="1814" y="752"/>
                    </a:cubicBezTo>
                    <a:cubicBezTo>
                      <a:pt x="1809" y="768"/>
                      <a:pt x="1802" y="781"/>
                      <a:pt x="1792" y="792"/>
                    </a:cubicBezTo>
                    <a:cubicBezTo>
                      <a:pt x="1783" y="803"/>
                      <a:pt x="1771" y="812"/>
                      <a:pt x="1757" y="818"/>
                    </a:cubicBezTo>
                    <a:cubicBezTo>
                      <a:pt x="1742" y="824"/>
                      <a:pt x="1726" y="827"/>
                      <a:pt x="1707" y="827"/>
                    </a:cubicBezTo>
                    <a:cubicBezTo>
                      <a:pt x="1688" y="827"/>
                      <a:pt x="1672" y="825"/>
                      <a:pt x="1659" y="819"/>
                    </a:cubicBezTo>
                    <a:cubicBezTo>
                      <a:pt x="1645" y="814"/>
                      <a:pt x="1634" y="806"/>
                      <a:pt x="1625" y="795"/>
                    </a:cubicBezTo>
                    <a:cubicBezTo>
                      <a:pt x="1615" y="785"/>
                      <a:pt x="1609" y="772"/>
                      <a:pt x="1604" y="757"/>
                    </a:cubicBezTo>
                    <a:cubicBezTo>
                      <a:pt x="1600" y="742"/>
                      <a:pt x="1597" y="725"/>
                      <a:pt x="1597" y="707"/>
                    </a:cubicBezTo>
                    <a:cubicBezTo>
                      <a:pt x="1597" y="688"/>
                      <a:pt x="1600" y="672"/>
                      <a:pt x="1604" y="656"/>
                    </a:cubicBezTo>
                    <a:cubicBezTo>
                      <a:pt x="1609" y="641"/>
                      <a:pt x="1616" y="628"/>
                      <a:pt x="1626" y="617"/>
                    </a:cubicBezTo>
                    <a:cubicBezTo>
                      <a:pt x="1635" y="606"/>
                      <a:pt x="1647" y="597"/>
                      <a:pt x="1662" y="591"/>
                    </a:cubicBezTo>
                    <a:cubicBezTo>
                      <a:pt x="1676" y="585"/>
                      <a:pt x="1692" y="582"/>
                      <a:pt x="1711" y="582"/>
                    </a:cubicBezTo>
                    <a:cubicBezTo>
                      <a:pt x="1730" y="582"/>
                      <a:pt x="1746" y="584"/>
                      <a:pt x="1760" y="590"/>
                    </a:cubicBezTo>
                    <a:cubicBezTo>
                      <a:pt x="1773" y="595"/>
                      <a:pt x="1785" y="603"/>
                      <a:pt x="1794" y="614"/>
                    </a:cubicBezTo>
                    <a:cubicBezTo>
                      <a:pt x="1803" y="624"/>
                      <a:pt x="1810" y="637"/>
                      <a:pt x="1814" y="652"/>
                    </a:cubicBezTo>
                    <a:cubicBezTo>
                      <a:pt x="1819" y="667"/>
                      <a:pt x="1821" y="683"/>
                      <a:pt x="1821" y="702"/>
                    </a:cubicBezTo>
                    <a:close/>
                    <a:moveTo>
                      <a:pt x="1778" y="705"/>
                    </a:moveTo>
                    <a:cubicBezTo>
                      <a:pt x="1778" y="693"/>
                      <a:pt x="1777" y="681"/>
                      <a:pt x="1774" y="671"/>
                    </a:cubicBezTo>
                    <a:cubicBezTo>
                      <a:pt x="1772" y="660"/>
                      <a:pt x="1768" y="650"/>
                      <a:pt x="1763" y="642"/>
                    </a:cubicBezTo>
                    <a:cubicBezTo>
                      <a:pt x="1758" y="634"/>
                      <a:pt x="1751" y="628"/>
                      <a:pt x="1743" y="623"/>
                    </a:cubicBezTo>
                    <a:cubicBezTo>
                      <a:pt x="1734" y="618"/>
                      <a:pt x="1723" y="616"/>
                      <a:pt x="1710" y="616"/>
                    </a:cubicBezTo>
                    <a:cubicBezTo>
                      <a:pt x="1698" y="616"/>
                      <a:pt x="1687" y="618"/>
                      <a:pt x="1679" y="622"/>
                    </a:cubicBezTo>
                    <a:cubicBezTo>
                      <a:pt x="1670" y="627"/>
                      <a:pt x="1663" y="633"/>
                      <a:pt x="1657" y="641"/>
                    </a:cubicBezTo>
                    <a:cubicBezTo>
                      <a:pt x="1651" y="649"/>
                      <a:pt x="1647" y="658"/>
                      <a:pt x="1645" y="669"/>
                    </a:cubicBezTo>
                    <a:cubicBezTo>
                      <a:pt x="1642" y="679"/>
                      <a:pt x="1640" y="691"/>
                      <a:pt x="1640" y="704"/>
                    </a:cubicBezTo>
                    <a:cubicBezTo>
                      <a:pt x="1640" y="716"/>
                      <a:pt x="1642" y="728"/>
                      <a:pt x="1644" y="738"/>
                    </a:cubicBezTo>
                    <a:cubicBezTo>
                      <a:pt x="1646" y="749"/>
                      <a:pt x="1650" y="759"/>
                      <a:pt x="1655" y="767"/>
                    </a:cubicBezTo>
                    <a:cubicBezTo>
                      <a:pt x="1660" y="775"/>
                      <a:pt x="1667" y="781"/>
                      <a:pt x="1676" y="786"/>
                    </a:cubicBezTo>
                    <a:cubicBezTo>
                      <a:pt x="1685" y="791"/>
                      <a:pt x="1696" y="793"/>
                      <a:pt x="1709" y="793"/>
                    </a:cubicBezTo>
                    <a:cubicBezTo>
                      <a:pt x="1721" y="793"/>
                      <a:pt x="1731" y="791"/>
                      <a:pt x="1740" y="786"/>
                    </a:cubicBezTo>
                    <a:cubicBezTo>
                      <a:pt x="1749" y="782"/>
                      <a:pt x="1756" y="776"/>
                      <a:pt x="1761" y="768"/>
                    </a:cubicBezTo>
                    <a:cubicBezTo>
                      <a:pt x="1767" y="760"/>
                      <a:pt x="1771" y="751"/>
                      <a:pt x="1774" y="740"/>
                    </a:cubicBezTo>
                    <a:cubicBezTo>
                      <a:pt x="1776" y="730"/>
                      <a:pt x="1778" y="718"/>
                      <a:pt x="1778" y="705"/>
                    </a:cubicBezTo>
                    <a:close/>
                    <a:moveTo>
                      <a:pt x="2065" y="752"/>
                    </a:moveTo>
                    <a:cubicBezTo>
                      <a:pt x="2065" y="764"/>
                      <a:pt x="2063" y="774"/>
                      <a:pt x="2058" y="784"/>
                    </a:cubicBezTo>
                    <a:cubicBezTo>
                      <a:pt x="2054" y="793"/>
                      <a:pt x="2047" y="800"/>
                      <a:pt x="2038" y="807"/>
                    </a:cubicBezTo>
                    <a:cubicBezTo>
                      <a:pt x="2030" y="813"/>
                      <a:pt x="2019" y="818"/>
                      <a:pt x="2006" y="821"/>
                    </a:cubicBezTo>
                    <a:cubicBezTo>
                      <a:pt x="1993" y="824"/>
                      <a:pt x="1977" y="826"/>
                      <a:pt x="1960" y="826"/>
                    </a:cubicBezTo>
                    <a:cubicBezTo>
                      <a:pt x="1954" y="826"/>
                      <a:pt x="1949" y="826"/>
                      <a:pt x="1944" y="826"/>
                    </a:cubicBezTo>
                    <a:cubicBezTo>
                      <a:pt x="1939" y="825"/>
                      <a:pt x="1934" y="825"/>
                      <a:pt x="1929" y="825"/>
                    </a:cubicBezTo>
                    <a:cubicBezTo>
                      <a:pt x="1924" y="825"/>
                      <a:pt x="1920" y="824"/>
                      <a:pt x="1915" y="824"/>
                    </a:cubicBezTo>
                    <a:cubicBezTo>
                      <a:pt x="1910" y="824"/>
                      <a:pt x="1905" y="823"/>
                      <a:pt x="1901" y="823"/>
                    </a:cubicBezTo>
                    <a:cubicBezTo>
                      <a:pt x="1894" y="822"/>
                      <a:pt x="1889" y="820"/>
                      <a:pt x="1886" y="816"/>
                    </a:cubicBezTo>
                    <a:cubicBezTo>
                      <a:pt x="1883" y="813"/>
                      <a:pt x="1881" y="807"/>
                      <a:pt x="1881" y="801"/>
                    </a:cubicBezTo>
                    <a:lnTo>
                      <a:pt x="1881" y="608"/>
                    </a:lnTo>
                    <a:cubicBezTo>
                      <a:pt x="1881" y="601"/>
                      <a:pt x="1883" y="596"/>
                      <a:pt x="1886" y="592"/>
                    </a:cubicBezTo>
                    <a:cubicBezTo>
                      <a:pt x="1889" y="589"/>
                      <a:pt x="1894" y="587"/>
                      <a:pt x="1900" y="586"/>
                    </a:cubicBezTo>
                    <a:cubicBezTo>
                      <a:pt x="1904" y="585"/>
                      <a:pt x="1909" y="585"/>
                      <a:pt x="1914" y="585"/>
                    </a:cubicBezTo>
                    <a:cubicBezTo>
                      <a:pt x="1919" y="584"/>
                      <a:pt x="1924" y="584"/>
                      <a:pt x="1929" y="584"/>
                    </a:cubicBezTo>
                    <a:cubicBezTo>
                      <a:pt x="1934" y="584"/>
                      <a:pt x="1939" y="583"/>
                      <a:pt x="1945" y="583"/>
                    </a:cubicBezTo>
                    <a:cubicBezTo>
                      <a:pt x="1950" y="583"/>
                      <a:pt x="1956" y="583"/>
                      <a:pt x="1961" y="583"/>
                    </a:cubicBezTo>
                    <a:cubicBezTo>
                      <a:pt x="1977" y="583"/>
                      <a:pt x="1991" y="584"/>
                      <a:pt x="2003" y="587"/>
                    </a:cubicBezTo>
                    <a:cubicBezTo>
                      <a:pt x="2015" y="590"/>
                      <a:pt x="2025" y="593"/>
                      <a:pt x="2032" y="599"/>
                    </a:cubicBezTo>
                    <a:cubicBezTo>
                      <a:pt x="2040" y="604"/>
                      <a:pt x="2046" y="610"/>
                      <a:pt x="2050" y="617"/>
                    </a:cubicBezTo>
                    <a:cubicBezTo>
                      <a:pt x="2053" y="625"/>
                      <a:pt x="2055" y="633"/>
                      <a:pt x="2055" y="643"/>
                    </a:cubicBezTo>
                    <a:cubicBezTo>
                      <a:pt x="2055" y="656"/>
                      <a:pt x="2052" y="666"/>
                      <a:pt x="2045" y="675"/>
                    </a:cubicBezTo>
                    <a:cubicBezTo>
                      <a:pt x="2038" y="684"/>
                      <a:pt x="2029" y="691"/>
                      <a:pt x="2016" y="694"/>
                    </a:cubicBezTo>
                    <a:cubicBezTo>
                      <a:pt x="2032" y="698"/>
                      <a:pt x="2044" y="705"/>
                      <a:pt x="2053" y="715"/>
                    </a:cubicBezTo>
                    <a:cubicBezTo>
                      <a:pt x="2061" y="725"/>
                      <a:pt x="2065" y="737"/>
                      <a:pt x="2065" y="752"/>
                    </a:cubicBezTo>
                    <a:close/>
                    <a:moveTo>
                      <a:pt x="2016" y="648"/>
                    </a:moveTo>
                    <a:cubicBezTo>
                      <a:pt x="2016" y="643"/>
                      <a:pt x="2015" y="638"/>
                      <a:pt x="2013" y="634"/>
                    </a:cubicBezTo>
                    <a:cubicBezTo>
                      <a:pt x="2011" y="629"/>
                      <a:pt x="2007" y="626"/>
                      <a:pt x="2003" y="623"/>
                    </a:cubicBezTo>
                    <a:cubicBezTo>
                      <a:pt x="1998" y="620"/>
                      <a:pt x="1992" y="617"/>
                      <a:pt x="1985" y="616"/>
                    </a:cubicBezTo>
                    <a:cubicBezTo>
                      <a:pt x="1978" y="614"/>
                      <a:pt x="1969" y="614"/>
                      <a:pt x="1959" y="614"/>
                    </a:cubicBezTo>
                    <a:cubicBezTo>
                      <a:pt x="1951" y="614"/>
                      <a:pt x="1944" y="614"/>
                      <a:pt x="1938" y="614"/>
                    </a:cubicBezTo>
                    <a:cubicBezTo>
                      <a:pt x="1931" y="615"/>
                      <a:pt x="1926" y="615"/>
                      <a:pt x="1921" y="616"/>
                    </a:cubicBezTo>
                    <a:lnTo>
                      <a:pt x="1921" y="685"/>
                    </a:lnTo>
                    <a:lnTo>
                      <a:pt x="1963" y="685"/>
                    </a:lnTo>
                    <a:cubicBezTo>
                      <a:pt x="1980" y="685"/>
                      <a:pt x="1993" y="682"/>
                      <a:pt x="2002" y="676"/>
                    </a:cubicBezTo>
                    <a:cubicBezTo>
                      <a:pt x="2011" y="669"/>
                      <a:pt x="2016" y="660"/>
                      <a:pt x="2016" y="648"/>
                    </a:cubicBezTo>
                    <a:close/>
                    <a:moveTo>
                      <a:pt x="2023" y="753"/>
                    </a:moveTo>
                    <a:cubicBezTo>
                      <a:pt x="2023" y="746"/>
                      <a:pt x="2022" y="740"/>
                      <a:pt x="2020" y="735"/>
                    </a:cubicBezTo>
                    <a:cubicBezTo>
                      <a:pt x="2017" y="730"/>
                      <a:pt x="2013" y="726"/>
                      <a:pt x="2008" y="723"/>
                    </a:cubicBezTo>
                    <a:cubicBezTo>
                      <a:pt x="2003" y="719"/>
                      <a:pt x="1997" y="717"/>
                      <a:pt x="1989" y="715"/>
                    </a:cubicBezTo>
                    <a:cubicBezTo>
                      <a:pt x="1981" y="714"/>
                      <a:pt x="1972" y="713"/>
                      <a:pt x="1961" y="713"/>
                    </a:cubicBezTo>
                    <a:lnTo>
                      <a:pt x="1921" y="713"/>
                    </a:lnTo>
                    <a:lnTo>
                      <a:pt x="1921" y="792"/>
                    </a:lnTo>
                    <a:cubicBezTo>
                      <a:pt x="1924" y="793"/>
                      <a:pt x="1928" y="793"/>
                      <a:pt x="1931" y="793"/>
                    </a:cubicBezTo>
                    <a:cubicBezTo>
                      <a:pt x="1934" y="793"/>
                      <a:pt x="1938" y="794"/>
                      <a:pt x="1941" y="794"/>
                    </a:cubicBezTo>
                    <a:cubicBezTo>
                      <a:pt x="1945" y="794"/>
                      <a:pt x="1949" y="794"/>
                      <a:pt x="1952" y="795"/>
                    </a:cubicBezTo>
                    <a:cubicBezTo>
                      <a:pt x="1956" y="795"/>
                      <a:pt x="1959" y="795"/>
                      <a:pt x="1962" y="795"/>
                    </a:cubicBezTo>
                    <a:cubicBezTo>
                      <a:pt x="1973" y="795"/>
                      <a:pt x="1982" y="794"/>
                      <a:pt x="1989" y="792"/>
                    </a:cubicBezTo>
                    <a:cubicBezTo>
                      <a:pt x="1997" y="790"/>
                      <a:pt x="2003" y="787"/>
                      <a:pt x="2008" y="784"/>
                    </a:cubicBezTo>
                    <a:cubicBezTo>
                      <a:pt x="2013" y="780"/>
                      <a:pt x="2017" y="776"/>
                      <a:pt x="2020" y="770"/>
                    </a:cubicBezTo>
                    <a:cubicBezTo>
                      <a:pt x="2022" y="765"/>
                      <a:pt x="2023" y="759"/>
                      <a:pt x="2023" y="753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4" name="Freeform 1466"/>
              <p:cNvSpPr>
                <a:spLocks noEditPoints="1"/>
              </p:cNvSpPr>
              <p:nvPr/>
            </p:nvSpPr>
            <p:spPr bwMode="auto">
              <a:xfrm>
                <a:off x="5035" y="2308"/>
                <a:ext cx="602" cy="190"/>
              </a:xfrm>
              <a:custGeom>
                <a:avLst/>
                <a:gdLst/>
                <a:ahLst/>
                <a:cxnLst>
                  <a:cxn ang="0">
                    <a:pos x="2254" y="237"/>
                  </a:cxn>
                  <a:cxn ang="0">
                    <a:pos x="2250" y="103"/>
                  </a:cxn>
                  <a:cxn ang="0">
                    <a:pos x="2166" y="52"/>
                  </a:cxn>
                  <a:cxn ang="0">
                    <a:pos x="2184" y="8"/>
                  </a:cxn>
                  <a:cxn ang="0">
                    <a:pos x="2246" y="133"/>
                  </a:cxn>
                  <a:cxn ang="0">
                    <a:pos x="2281" y="133"/>
                  </a:cxn>
                  <a:cxn ang="0">
                    <a:pos x="2521" y="234"/>
                  </a:cxn>
                  <a:cxn ang="0">
                    <a:pos x="2410" y="240"/>
                  </a:cxn>
                  <a:cxn ang="0">
                    <a:pos x="2398" y="175"/>
                  </a:cxn>
                  <a:cxn ang="0">
                    <a:pos x="2501" y="2"/>
                  </a:cxn>
                  <a:cxn ang="0">
                    <a:pos x="2485" y="33"/>
                  </a:cxn>
                  <a:cxn ang="0">
                    <a:pos x="2521" y="110"/>
                  </a:cxn>
                  <a:cxn ang="0">
                    <a:pos x="40" y="735"/>
                  </a:cxn>
                  <a:cxn ang="0">
                    <a:pos x="3" y="505"/>
                  </a:cxn>
                  <a:cxn ang="0">
                    <a:pos x="356" y="708"/>
                  </a:cxn>
                  <a:cxn ang="0">
                    <a:pos x="213" y="826"/>
                  </a:cxn>
                  <a:cxn ang="0">
                    <a:pos x="179" y="502"/>
                  </a:cxn>
                  <a:cxn ang="0">
                    <a:pos x="250" y="507"/>
                  </a:cxn>
                  <a:cxn ang="0">
                    <a:pos x="327" y="559"/>
                  </a:cxn>
                  <a:cxn ang="0">
                    <a:pos x="281" y="707"/>
                  </a:cxn>
                  <a:cxn ang="0">
                    <a:pos x="584" y="738"/>
                  </a:cxn>
                  <a:cxn ang="0">
                    <a:pos x="428" y="674"/>
                  </a:cxn>
                  <a:cxn ang="0">
                    <a:pos x="543" y="533"/>
                  </a:cxn>
                  <a:cxn ang="0">
                    <a:pos x="439" y="537"/>
                  </a:cxn>
                  <a:cxn ang="0">
                    <a:pos x="607" y="544"/>
                  </a:cxn>
                  <a:cxn ang="0">
                    <a:pos x="481" y="700"/>
                  </a:cxn>
                  <a:cxn ang="0">
                    <a:pos x="934" y="738"/>
                  </a:cxn>
                  <a:cxn ang="0">
                    <a:pos x="903" y="548"/>
                  </a:cxn>
                  <a:cxn ang="0">
                    <a:pos x="811" y="739"/>
                  </a:cxn>
                  <a:cxn ang="0">
                    <a:pos x="733" y="539"/>
                  </a:cxn>
                  <a:cxn ang="0">
                    <a:pos x="690" y="739"/>
                  </a:cxn>
                  <a:cxn ang="0">
                    <a:pos x="748" y="502"/>
                  </a:cxn>
                  <a:cxn ang="0">
                    <a:pos x="822" y="688"/>
                  </a:cxn>
                  <a:cxn ang="0">
                    <a:pos x="906" y="501"/>
                  </a:cxn>
                  <a:cxn ang="0">
                    <a:pos x="1125" y="742"/>
                  </a:cxn>
                  <a:cxn ang="0">
                    <a:pos x="1177" y="505"/>
                  </a:cxn>
                  <a:cxn ang="0">
                    <a:pos x="1096" y="537"/>
                  </a:cxn>
                  <a:cxn ang="0">
                    <a:pos x="1179" y="683"/>
                  </a:cxn>
                  <a:cxn ang="0">
                    <a:pos x="1376" y="731"/>
                  </a:cxn>
                  <a:cxn ang="0">
                    <a:pos x="1335" y="538"/>
                  </a:cxn>
                  <a:cxn ang="0">
                    <a:pos x="1268" y="501"/>
                  </a:cxn>
                  <a:cxn ang="0">
                    <a:pos x="1678" y="739"/>
                  </a:cxn>
                  <a:cxn ang="0">
                    <a:pos x="1532" y="735"/>
                  </a:cxn>
                  <a:cxn ang="0">
                    <a:pos x="1493" y="504"/>
                  </a:cxn>
                  <a:cxn ang="0">
                    <a:pos x="1647" y="599"/>
                  </a:cxn>
                  <a:cxn ang="0">
                    <a:pos x="1688" y="508"/>
                  </a:cxn>
                  <a:cxn ang="0">
                    <a:pos x="1756" y="672"/>
                  </a:cxn>
                  <a:cxn ang="0">
                    <a:pos x="1972" y="617"/>
                  </a:cxn>
                  <a:cxn ang="0">
                    <a:pos x="1792" y="619"/>
                  </a:cxn>
                  <a:cxn ang="0">
                    <a:pos x="2194" y="697"/>
                  </a:cxn>
                  <a:cxn ang="0">
                    <a:pos x="2074" y="734"/>
                  </a:cxn>
                  <a:cxn ang="0">
                    <a:pos x="2161" y="504"/>
                  </a:cxn>
                  <a:cxn ang="0">
                    <a:pos x="2176" y="554"/>
                  </a:cxn>
                  <a:cxn ang="0">
                    <a:pos x="2122" y="707"/>
                  </a:cxn>
                  <a:cxn ang="0">
                    <a:pos x="2404" y="520"/>
                  </a:cxn>
                  <a:cxn ang="0">
                    <a:pos x="2318" y="739"/>
                  </a:cxn>
                  <a:cxn ang="0">
                    <a:pos x="2215" y="534"/>
                  </a:cxn>
                  <a:cxn ang="0">
                    <a:pos x="2402" y="506"/>
                  </a:cxn>
                  <a:cxn ang="0">
                    <a:pos x="2492" y="741"/>
                  </a:cxn>
                  <a:cxn ang="0">
                    <a:pos x="2465" y="500"/>
                  </a:cxn>
                  <a:cxn ang="0">
                    <a:pos x="2606" y="606"/>
                  </a:cxn>
                  <a:cxn ang="0">
                    <a:pos x="2486" y="620"/>
                  </a:cxn>
                </a:cxnLst>
                <a:rect l="0" t="0" r="r" b="b"/>
                <a:pathLst>
                  <a:path w="2631" h="828">
                    <a:moveTo>
                      <a:pt x="2322" y="235"/>
                    </a:moveTo>
                    <a:cubicBezTo>
                      <a:pt x="2322" y="237"/>
                      <a:pt x="2321" y="238"/>
                      <a:pt x="2320" y="239"/>
                    </a:cubicBezTo>
                    <a:cubicBezTo>
                      <a:pt x="2318" y="240"/>
                      <a:pt x="2316" y="241"/>
                      <a:pt x="2314" y="241"/>
                    </a:cubicBezTo>
                    <a:cubicBezTo>
                      <a:pt x="2312" y="242"/>
                      <a:pt x="2308" y="242"/>
                      <a:pt x="2304" y="242"/>
                    </a:cubicBezTo>
                    <a:cubicBezTo>
                      <a:pt x="2300" y="242"/>
                      <a:pt x="2296" y="242"/>
                      <a:pt x="2294" y="241"/>
                    </a:cubicBezTo>
                    <a:cubicBezTo>
                      <a:pt x="2291" y="241"/>
                      <a:pt x="2289" y="240"/>
                      <a:pt x="2288" y="239"/>
                    </a:cubicBezTo>
                    <a:cubicBezTo>
                      <a:pt x="2287" y="238"/>
                      <a:pt x="2286" y="237"/>
                      <a:pt x="2286" y="235"/>
                    </a:cubicBezTo>
                    <a:lnTo>
                      <a:pt x="2286" y="212"/>
                    </a:lnTo>
                    <a:cubicBezTo>
                      <a:pt x="2276" y="223"/>
                      <a:pt x="2266" y="231"/>
                      <a:pt x="2254" y="237"/>
                    </a:cubicBezTo>
                    <a:cubicBezTo>
                      <a:pt x="2242" y="242"/>
                      <a:pt x="2229" y="245"/>
                      <a:pt x="2216" y="245"/>
                    </a:cubicBezTo>
                    <a:cubicBezTo>
                      <a:pt x="2204" y="245"/>
                      <a:pt x="2193" y="244"/>
                      <a:pt x="2184" y="241"/>
                    </a:cubicBezTo>
                    <a:cubicBezTo>
                      <a:pt x="2174" y="238"/>
                      <a:pt x="2166" y="233"/>
                      <a:pt x="2159" y="228"/>
                    </a:cubicBezTo>
                    <a:cubicBezTo>
                      <a:pt x="2152" y="222"/>
                      <a:pt x="2147" y="215"/>
                      <a:pt x="2144" y="206"/>
                    </a:cubicBezTo>
                    <a:cubicBezTo>
                      <a:pt x="2140" y="198"/>
                      <a:pt x="2138" y="188"/>
                      <a:pt x="2138" y="177"/>
                    </a:cubicBezTo>
                    <a:cubicBezTo>
                      <a:pt x="2138" y="165"/>
                      <a:pt x="2141" y="154"/>
                      <a:pt x="2146" y="144"/>
                    </a:cubicBezTo>
                    <a:cubicBezTo>
                      <a:pt x="2151" y="135"/>
                      <a:pt x="2158" y="128"/>
                      <a:pt x="2168" y="121"/>
                    </a:cubicBezTo>
                    <a:cubicBezTo>
                      <a:pt x="2177" y="115"/>
                      <a:pt x="2189" y="111"/>
                      <a:pt x="2203" y="108"/>
                    </a:cubicBezTo>
                    <a:cubicBezTo>
                      <a:pt x="2217" y="105"/>
                      <a:pt x="2233" y="103"/>
                      <a:pt x="2250" y="103"/>
                    </a:cubicBezTo>
                    <a:lnTo>
                      <a:pt x="2281" y="103"/>
                    </a:lnTo>
                    <a:lnTo>
                      <a:pt x="2281" y="86"/>
                    </a:lnTo>
                    <a:cubicBezTo>
                      <a:pt x="2281" y="77"/>
                      <a:pt x="2280" y="69"/>
                      <a:pt x="2278" y="63"/>
                    </a:cubicBezTo>
                    <a:cubicBezTo>
                      <a:pt x="2276" y="56"/>
                      <a:pt x="2273" y="51"/>
                      <a:pt x="2269" y="46"/>
                    </a:cubicBezTo>
                    <a:cubicBezTo>
                      <a:pt x="2265" y="42"/>
                      <a:pt x="2260" y="39"/>
                      <a:pt x="2253" y="36"/>
                    </a:cubicBezTo>
                    <a:cubicBezTo>
                      <a:pt x="2247" y="34"/>
                      <a:pt x="2239" y="33"/>
                      <a:pt x="2230" y="33"/>
                    </a:cubicBezTo>
                    <a:cubicBezTo>
                      <a:pt x="2219" y="33"/>
                      <a:pt x="2210" y="34"/>
                      <a:pt x="2202" y="37"/>
                    </a:cubicBezTo>
                    <a:cubicBezTo>
                      <a:pt x="2194" y="39"/>
                      <a:pt x="2187" y="42"/>
                      <a:pt x="2181" y="45"/>
                    </a:cubicBezTo>
                    <a:cubicBezTo>
                      <a:pt x="2175" y="47"/>
                      <a:pt x="2170" y="50"/>
                      <a:pt x="2166" y="52"/>
                    </a:cubicBezTo>
                    <a:cubicBezTo>
                      <a:pt x="2162" y="55"/>
                      <a:pt x="2159" y="56"/>
                      <a:pt x="2157" y="56"/>
                    </a:cubicBezTo>
                    <a:cubicBezTo>
                      <a:pt x="2156" y="56"/>
                      <a:pt x="2155" y="56"/>
                      <a:pt x="2154" y="55"/>
                    </a:cubicBezTo>
                    <a:cubicBezTo>
                      <a:pt x="2153" y="54"/>
                      <a:pt x="2152" y="53"/>
                      <a:pt x="2151" y="52"/>
                    </a:cubicBezTo>
                    <a:cubicBezTo>
                      <a:pt x="2150" y="51"/>
                      <a:pt x="2150" y="49"/>
                      <a:pt x="2149" y="47"/>
                    </a:cubicBezTo>
                    <a:cubicBezTo>
                      <a:pt x="2149" y="45"/>
                      <a:pt x="2149" y="43"/>
                      <a:pt x="2149" y="40"/>
                    </a:cubicBezTo>
                    <a:cubicBezTo>
                      <a:pt x="2149" y="36"/>
                      <a:pt x="2149" y="33"/>
                      <a:pt x="2150" y="30"/>
                    </a:cubicBezTo>
                    <a:cubicBezTo>
                      <a:pt x="2150" y="28"/>
                      <a:pt x="2152" y="26"/>
                      <a:pt x="2154" y="23"/>
                    </a:cubicBezTo>
                    <a:cubicBezTo>
                      <a:pt x="2156" y="21"/>
                      <a:pt x="2160" y="19"/>
                      <a:pt x="2166" y="16"/>
                    </a:cubicBezTo>
                    <a:cubicBezTo>
                      <a:pt x="2171" y="13"/>
                      <a:pt x="2177" y="10"/>
                      <a:pt x="2184" y="8"/>
                    </a:cubicBezTo>
                    <a:cubicBezTo>
                      <a:pt x="2192" y="6"/>
                      <a:pt x="2199" y="4"/>
                      <a:pt x="2208" y="2"/>
                    </a:cubicBezTo>
                    <a:cubicBezTo>
                      <a:pt x="2216" y="0"/>
                      <a:pt x="2225" y="0"/>
                      <a:pt x="2233" y="0"/>
                    </a:cubicBezTo>
                    <a:cubicBezTo>
                      <a:pt x="2249" y="0"/>
                      <a:pt x="2263" y="2"/>
                      <a:pt x="2274" y="5"/>
                    </a:cubicBezTo>
                    <a:cubicBezTo>
                      <a:pt x="2286" y="9"/>
                      <a:pt x="2295" y="14"/>
                      <a:pt x="2302" y="21"/>
                    </a:cubicBezTo>
                    <a:cubicBezTo>
                      <a:pt x="2309" y="28"/>
                      <a:pt x="2314" y="37"/>
                      <a:pt x="2317" y="47"/>
                    </a:cubicBezTo>
                    <a:cubicBezTo>
                      <a:pt x="2320" y="58"/>
                      <a:pt x="2322" y="70"/>
                      <a:pt x="2322" y="84"/>
                    </a:cubicBezTo>
                    <a:lnTo>
                      <a:pt x="2322" y="235"/>
                    </a:lnTo>
                    <a:close/>
                    <a:moveTo>
                      <a:pt x="2281" y="133"/>
                    </a:moveTo>
                    <a:lnTo>
                      <a:pt x="2246" y="133"/>
                    </a:lnTo>
                    <a:cubicBezTo>
                      <a:pt x="2234" y="133"/>
                      <a:pt x="2225" y="134"/>
                      <a:pt x="2216" y="135"/>
                    </a:cubicBezTo>
                    <a:cubicBezTo>
                      <a:pt x="2208" y="137"/>
                      <a:pt x="2201" y="140"/>
                      <a:pt x="2196" y="144"/>
                    </a:cubicBezTo>
                    <a:cubicBezTo>
                      <a:pt x="2190" y="148"/>
                      <a:pt x="2186" y="152"/>
                      <a:pt x="2184" y="157"/>
                    </a:cubicBezTo>
                    <a:cubicBezTo>
                      <a:pt x="2181" y="163"/>
                      <a:pt x="2180" y="168"/>
                      <a:pt x="2180" y="175"/>
                    </a:cubicBezTo>
                    <a:cubicBezTo>
                      <a:pt x="2180" y="187"/>
                      <a:pt x="2184" y="196"/>
                      <a:pt x="2191" y="203"/>
                    </a:cubicBezTo>
                    <a:cubicBezTo>
                      <a:pt x="2198" y="210"/>
                      <a:pt x="2209" y="213"/>
                      <a:pt x="2222" y="213"/>
                    </a:cubicBezTo>
                    <a:cubicBezTo>
                      <a:pt x="2233" y="213"/>
                      <a:pt x="2243" y="211"/>
                      <a:pt x="2252" y="205"/>
                    </a:cubicBezTo>
                    <a:cubicBezTo>
                      <a:pt x="2261" y="200"/>
                      <a:pt x="2271" y="191"/>
                      <a:pt x="2281" y="180"/>
                    </a:cubicBezTo>
                    <a:lnTo>
                      <a:pt x="2281" y="133"/>
                    </a:lnTo>
                    <a:close/>
                    <a:moveTo>
                      <a:pt x="2562" y="234"/>
                    </a:moveTo>
                    <a:cubicBezTo>
                      <a:pt x="2562" y="236"/>
                      <a:pt x="2562" y="237"/>
                      <a:pt x="2561" y="238"/>
                    </a:cubicBezTo>
                    <a:cubicBezTo>
                      <a:pt x="2561" y="239"/>
                      <a:pt x="2560" y="240"/>
                      <a:pt x="2558" y="240"/>
                    </a:cubicBezTo>
                    <a:cubicBezTo>
                      <a:pt x="2557" y="241"/>
                      <a:pt x="2555" y="241"/>
                      <a:pt x="2552" y="242"/>
                    </a:cubicBezTo>
                    <a:cubicBezTo>
                      <a:pt x="2549" y="242"/>
                      <a:pt x="2546" y="242"/>
                      <a:pt x="2541" y="242"/>
                    </a:cubicBezTo>
                    <a:cubicBezTo>
                      <a:pt x="2537" y="242"/>
                      <a:pt x="2534" y="242"/>
                      <a:pt x="2531" y="242"/>
                    </a:cubicBezTo>
                    <a:cubicBezTo>
                      <a:pt x="2529" y="241"/>
                      <a:pt x="2527" y="241"/>
                      <a:pt x="2525" y="240"/>
                    </a:cubicBezTo>
                    <a:cubicBezTo>
                      <a:pt x="2524" y="240"/>
                      <a:pt x="2522" y="239"/>
                      <a:pt x="2522" y="238"/>
                    </a:cubicBezTo>
                    <a:cubicBezTo>
                      <a:pt x="2521" y="237"/>
                      <a:pt x="2521" y="236"/>
                      <a:pt x="2521" y="234"/>
                    </a:cubicBezTo>
                    <a:lnTo>
                      <a:pt x="2521" y="140"/>
                    </a:lnTo>
                    <a:lnTo>
                      <a:pt x="2497" y="140"/>
                    </a:lnTo>
                    <a:cubicBezTo>
                      <a:pt x="2487" y="140"/>
                      <a:pt x="2479" y="141"/>
                      <a:pt x="2473" y="143"/>
                    </a:cubicBezTo>
                    <a:cubicBezTo>
                      <a:pt x="2468" y="144"/>
                      <a:pt x="2463" y="147"/>
                      <a:pt x="2458" y="151"/>
                    </a:cubicBezTo>
                    <a:cubicBezTo>
                      <a:pt x="2454" y="155"/>
                      <a:pt x="2449" y="160"/>
                      <a:pt x="2446" y="166"/>
                    </a:cubicBezTo>
                    <a:cubicBezTo>
                      <a:pt x="2442" y="172"/>
                      <a:pt x="2439" y="179"/>
                      <a:pt x="2435" y="188"/>
                    </a:cubicBezTo>
                    <a:lnTo>
                      <a:pt x="2417" y="232"/>
                    </a:lnTo>
                    <a:cubicBezTo>
                      <a:pt x="2416" y="234"/>
                      <a:pt x="2415" y="236"/>
                      <a:pt x="2414" y="237"/>
                    </a:cubicBezTo>
                    <a:cubicBezTo>
                      <a:pt x="2414" y="239"/>
                      <a:pt x="2412" y="240"/>
                      <a:pt x="2410" y="240"/>
                    </a:cubicBezTo>
                    <a:cubicBezTo>
                      <a:pt x="2408" y="241"/>
                      <a:pt x="2406" y="241"/>
                      <a:pt x="2403" y="242"/>
                    </a:cubicBezTo>
                    <a:cubicBezTo>
                      <a:pt x="2400" y="242"/>
                      <a:pt x="2396" y="242"/>
                      <a:pt x="2392" y="242"/>
                    </a:cubicBezTo>
                    <a:cubicBezTo>
                      <a:pt x="2389" y="242"/>
                      <a:pt x="2386" y="242"/>
                      <a:pt x="2384" y="242"/>
                    </a:cubicBezTo>
                    <a:cubicBezTo>
                      <a:pt x="2381" y="242"/>
                      <a:pt x="2379" y="241"/>
                      <a:pt x="2378" y="241"/>
                    </a:cubicBezTo>
                    <a:cubicBezTo>
                      <a:pt x="2376" y="241"/>
                      <a:pt x="2375" y="240"/>
                      <a:pt x="2374" y="239"/>
                    </a:cubicBezTo>
                    <a:cubicBezTo>
                      <a:pt x="2373" y="238"/>
                      <a:pt x="2373" y="237"/>
                      <a:pt x="2373" y="236"/>
                    </a:cubicBezTo>
                    <a:cubicBezTo>
                      <a:pt x="2373" y="235"/>
                      <a:pt x="2373" y="233"/>
                      <a:pt x="2374" y="230"/>
                    </a:cubicBezTo>
                    <a:cubicBezTo>
                      <a:pt x="2375" y="228"/>
                      <a:pt x="2377" y="223"/>
                      <a:pt x="2380" y="217"/>
                    </a:cubicBezTo>
                    <a:lnTo>
                      <a:pt x="2398" y="175"/>
                    </a:lnTo>
                    <a:cubicBezTo>
                      <a:pt x="2402" y="164"/>
                      <a:pt x="2408" y="155"/>
                      <a:pt x="2415" y="147"/>
                    </a:cubicBezTo>
                    <a:cubicBezTo>
                      <a:pt x="2421" y="139"/>
                      <a:pt x="2429" y="134"/>
                      <a:pt x="2438" y="130"/>
                    </a:cubicBezTo>
                    <a:cubicBezTo>
                      <a:pt x="2422" y="127"/>
                      <a:pt x="2409" y="121"/>
                      <a:pt x="2400" y="111"/>
                    </a:cubicBezTo>
                    <a:cubicBezTo>
                      <a:pt x="2390" y="101"/>
                      <a:pt x="2385" y="88"/>
                      <a:pt x="2385" y="72"/>
                    </a:cubicBezTo>
                    <a:cubicBezTo>
                      <a:pt x="2385" y="61"/>
                      <a:pt x="2388" y="51"/>
                      <a:pt x="2392" y="43"/>
                    </a:cubicBezTo>
                    <a:cubicBezTo>
                      <a:pt x="2397" y="34"/>
                      <a:pt x="2403" y="26"/>
                      <a:pt x="2412" y="20"/>
                    </a:cubicBezTo>
                    <a:cubicBezTo>
                      <a:pt x="2421" y="14"/>
                      <a:pt x="2431" y="10"/>
                      <a:pt x="2444" y="7"/>
                    </a:cubicBezTo>
                    <a:cubicBezTo>
                      <a:pt x="2457" y="3"/>
                      <a:pt x="2471" y="2"/>
                      <a:pt x="2488" y="2"/>
                    </a:cubicBezTo>
                    <a:cubicBezTo>
                      <a:pt x="2491" y="2"/>
                      <a:pt x="2496" y="2"/>
                      <a:pt x="2501" y="2"/>
                    </a:cubicBezTo>
                    <a:cubicBezTo>
                      <a:pt x="2507" y="2"/>
                      <a:pt x="2512" y="2"/>
                      <a:pt x="2517" y="3"/>
                    </a:cubicBezTo>
                    <a:cubicBezTo>
                      <a:pt x="2523" y="3"/>
                      <a:pt x="2528" y="3"/>
                      <a:pt x="2534" y="4"/>
                    </a:cubicBezTo>
                    <a:cubicBezTo>
                      <a:pt x="2539" y="4"/>
                      <a:pt x="2543" y="5"/>
                      <a:pt x="2547" y="5"/>
                    </a:cubicBezTo>
                    <a:cubicBezTo>
                      <a:pt x="2552" y="5"/>
                      <a:pt x="2556" y="7"/>
                      <a:pt x="2558" y="10"/>
                    </a:cubicBezTo>
                    <a:cubicBezTo>
                      <a:pt x="2561" y="13"/>
                      <a:pt x="2562" y="17"/>
                      <a:pt x="2562" y="22"/>
                    </a:cubicBezTo>
                    <a:lnTo>
                      <a:pt x="2562" y="234"/>
                    </a:lnTo>
                    <a:close/>
                    <a:moveTo>
                      <a:pt x="2521" y="35"/>
                    </a:moveTo>
                    <a:cubicBezTo>
                      <a:pt x="2515" y="34"/>
                      <a:pt x="2509" y="33"/>
                      <a:pt x="2503" y="33"/>
                    </a:cubicBezTo>
                    <a:cubicBezTo>
                      <a:pt x="2496" y="33"/>
                      <a:pt x="2491" y="33"/>
                      <a:pt x="2485" y="33"/>
                    </a:cubicBezTo>
                    <a:cubicBezTo>
                      <a:pt x="2474" y="33"/>
                      <a:pt x="2465" y="34"/>
                      <a:pt x="2457" y="36"/>
                    </a:cubicBezTo>
                    <a:cubicBezTo>
                      <a:pt x="2450" y="37"/>
                      <a:pt x="2444" y="40"/>
                      <a:pt x="2439" y="44"/>
                    </a:cubicBezTo>
                    <a:cubicBezTo>
                      <a:pt x="2434" y="47"/>
                      <a:pt x="2431" y="52"/>
                      <a:pt x="2429" y="56"/>
                    </a:cubicBezTo>
                    <a:cubicBezTo>
                      <a:pt x="2427" y="61"/>
                      <a:pt x="2426" y="66"/>
                      <a:pt x="2426" y="72"/>
                    </a:cubicBezTo>
                    <a:cubicBezTo>
                      <a:pt x="2426" y="78"/>
                      <a:pt x="2428" y="84"/>
                      <a:pt x="2430" y="88"/>
                    </a:cubicBezTo>
                    <a:cubicBezTo>
                      <a:pt x="2432" y="93"/>
                      <a:pt x="2435" y="97"/>
                      <a:pt x="2440" y="100"/>
                    </a:cubicBezTo>
                    <a:cubicBezTo>
                      <a:pt x="2444" y="103"/>
                      <a:pt x="2450" y="106"/>
                      <a:pt x="2457" y="108"/>
                    </a:cubicBezTo>
                    <a:cubicBezTo>
                      <a:pt x="2465" y="109"/>
                      <a:pt x="2474" y="110"/>
                      <a:pt x="2487" y="110"/>
                    </a:cubicBezTo>
                    <a:lnTo>
                      <a:pt x="2521" y="110"/>
                    </a:lnTo>
                    <a:lnTo>
                      <a:pt x="2521" y="35"/>
                    </a:lnTo>
                    <a:close/>
                    <a:moveTo>
                      <a:pt x="133" y="520"/>
                    </a:moveTo>
                    <a:cubicBezTo>
                      <a:pt x="133" y="523"/>
                      <a:pt x="133" y="526"/>
                      <a:pt x="133" y="528"/>
                    </a:cubicBezTo>
                    <a:cubicBezTo>
                      <a:pt x="132" y="530"/>
                      <a:pt x="132" y="532"/>
                      <a:pt x="131" y="534"/>
                    </a:cubicBezTo>
                    <a:cubicBezTo>
                      <a:pt x="130" y="535"/>
                      <a:pt x="129" y="536"/>
                      <a:pt x="128" y="537"/>
                    </a:cubicBezTo>
                    <a:cubicBezTo>
                      <a:pt x="128" y="538"/>
                      <a:pt x="126" y="538"/>
                      <a:pt x="125" y="538"/>
                    </a:cubicBezTo>
                    <a:lnTo>
                      <a:pt x="41" y="538"/>
                    </a:lnTo>
                    <a:lnTo>
                      <a:pt x="41" y="731"/>
                    </a:lnTo>
                    <a:cubicBezTo>
                      <a:pt x="41" y="733"/>
                      <a:pt x="41" y="734"/>
                      <a:pt x="40" y="735"/>
                    </a:cubicBezTo>
                    <a:cubicBezTo>
                      <a:pt x="39" y="736"/>
                      <a:pt x="38" y="736"/>
                      <a:pt x="37" y="737"/>
                    </a:cubicBezTo>
                    <a:cubicBezTo>
                      <a:pt x="35" y="738"/>
                      <a:pt x="33" y="738"/>
                      <a:pt x="30" y="739"/>
                    </a:cubicBezTo>
                    <a:cubicBezTo>
                      <a:pt x="28" y="739"/>
                      <a:pt x="24" y="739"/>
                      <a:pt x="20" y="739"/>
                    </a:cubicBezTo>
                    <a:cubicBezTo>
                      <a:pt x="16" y="739"/>
                      <a:pt x="13" y="739"/>
                      <a:pt x="10" y="739"/>
                    </a:cubicBezTo>
                    <a:cubicBezTo>
                      <a:pt x="8" y="738"/>
                      <a:pt x="6" y="738"/>
                      <a:pt x="4" y="737"/>
                    </a:cubicBezTo>
                    <a:cubicBezTo>
                      <a:pt x="2" y="736"/>
                      <a:pt x="1" y="736"/>
                      <a:pt x="1" y="735"/>
                    </a:cubicBezTo>
                    <a:cubicBezTo>
                      <a:pt x="0" y="734"/>
                      <a:pt x="0" y="733"/>
                      <a:pt x="0" y="731"/>
                    </a:cubicBezTo>
                    <a:lnTo>
                      <a:pt x="0" y="516"/>
                    </a:lnTo>
                    <a:cubicBezTo>
                      <a:pt x="0" y="511"/>
                      <a:pt x="1" y="507"/>
                      <a:pt x="3" y="505"/>
                    </a:cubicBezTo>
                    <a:cubicBezTo>
                      <a:pt x="5" y="502"/>
                      <a:pt x="9" y="501"/>
                      <a:pt x="13" y="501"/>
                    </a:cubicBezTo>
                    <a:lnTo>
                      <a:pt x="125" y="501"/>
                    </a:lnTo>
                    <a:cubicBezTo>
                      <a:pt x="126" y="501"/>
                      <a:pt x="128" y="502"/>
                      <a:pt x="128" y="502"/>
                    </a:cubicBezTo>
                    <a:cubicBezTo>
                      <a:pt x="129" y="503"/>
                      <a:pt x="130" y="504"/>
                      <a:pt x="131" y="506"/>
                    </a:cubicBezTo>
                    <a:cubicBezTo>
                      <a:pt x="132" y="507"/>
                      <a:pt x="132" y="509"/>
                      <a:pt x="133" y="512"/>
                    </a:cubicBezTo>
                    <a:cubicBezTo>
                      <a:pt x="133" y="514"/>
                      <a:pt x="133" y="517"/>
                      <a:pt x="133" y="520"/>
                    </a:cubicBezTo>
                    <a:close/>
                    <a:moveTo>
                      <a:pt x="381" y="616"/>
                    </a:moveTo>
                    <a:cubicBezTo>
                      <a:pt x="381" y="636"/>
                      <a:pt x="379" y="653"/>
                      <a:pt x="375" y="669"/>
                    </a:cubicBezTo>
                    <a:cubicBezTo>
                      <a:pt x="371" y="684"/>
                      <a:pt x="365" y="697"/>
                      <a:pt x="356" y="708"/>
                    </a:cubicBezTo>
                    <a:cubicBezTo>
                      <a:pt x="348" y="719"/>
                      <a:pt x="338" y="727"/>
                      <a:pt x="326" y="733"/>
                    </a:cubicBezTo>
                    <a:cubicBezTo>
                      <a:pt x="314" y="739"/>
                      <a:pt x="300" y="742"/>
                      <a:pt x="285" y="742"/>
                    </a:cubicBezTo>
                    <a:cubicBezTo>
                      <a:pt x="278" y="742"/>
                      <a:pt x="272" y="742"/>
                      <a:pt x="266" y="740"/>
                    </a:cubicBezTo>
                    <a:cubicBezTo>
                      <a:pt x="261" y="739"/>
                      <a:pt x="255" y="737"/>
                      <a:pt x="250" y="734"/>
                    </a:cubicBezTo>
                    <a:cubicBezTo>
                      <a:pt x="244" y="731"/>
                      <a:pt x="239" y="728"/>
                      <a:pt x="234" y="723"/>
                    </a:cubicBezTo>
                    <a:cubicBezTo>
                      <a:pt x="228" y="719"/>
                      <a:pt x="223" y="714"/>
                      <a:pt x="217" y="708"/>
                    </a:cubicBezTo>
                    <a:lnTo>
                      <a:pt x="217" y="820"/>
                    </a:lnTo>
                    <a:cubicBezTo>
                      <a:pt x="217" y="821"/>
                      <a:pt x="216" y="822"/>
                      <a:pt x="216" y="823"/>
                    </a:cubicBezTo>
                    <a:cubicBezTo>
                      <a:pt x="215" y="824"/>
                      <a:pt x="214" y="825"/>
                      <a:pt x="213" y="826"/>
                    </a:cubicBezTo>
                    <a:cubicBezTo>
                      <a:pt x="211" y="827"/>
                      <a:pt x="209" y="827"/>
                      <a:pt x="206" y="827"/>
                    </a:cubicBezTo>
                    <a:cubicBezTo>
                      <a:pt x="204" y="828"/>
                      <a:pt x="200" y="828"/>
                      <a:pt x="196" y="828"/>
                    </a:cubicBezTo>
                    <a:cubicBezTo>
                      <a:pt x="192" y="828"/>
                      <a:pt x="189" y="828"/>
                      <a:pt x="186" y="827"/>
                    </a:cubicBezTo>
                    <a:cubicBezTo>
                      <a:pt x="184" y="827"/>
                      <a:pt x="181" y="827"/>
                      <a:pt x="180" y="826"/>
                    </a:cubicBezTo>
                    <a:cubicBezTo>
                      <a:pt x="178" y="825"/>
                      <a:pt x="177" y="824"/>
                      <a:pt x="177" y="823"/>
                    </a:cubicBezTo>
                    <a:cubicBezTo>
                      <a:pt x="176" y="822"/>
                      <a:pt x="176" y="821"/>
                      <a:pt x="176" y="820"/>
                    </a:cubicBezTo>
                    <a:lnTo>
                      <a:pt x="176" y="508"/>
                    </a:lnTo>
                    <a:cubicBezTo>
                      <a:pt x="176" y="506"/>
                      <a:pt x="176" y="505"/>
                      <a:pt x="176" y="504"/>
                    </a:cubicBezTo>
                    <a:cubicBezTo>
                      <a:pt x="177" y="503"/>
                      <a:pt x="178" y="502"/>
                      <a:pt x="179" y="502"/>
                    </a:cubicBezTo>
                    <a:cubicBezTo>
                      <a:pt x="181" y="501"/>
                      <a:pt x="183" y="501"/>
                      <a:pt x="185" y="500"/>
                    </a:cubicBezTo>
                    <a:cubicBezTo>
                      <a:pt x="188" y="500"/>
                      <a:pt x="190" y="500"/>
                      <a:pt x="194" y="500"/>
                    </a:cubicBezTo>
                    <a:cubicBezTo>
                      <a:pt x="197" y="500"/>
                      <a:pt x="200" y="500"/>
                      <a:pt x="202" y="500"/>
                    </a:cubicBezTo>
                    <a:cubicBezTo>
                      <a:pt x="204" y="501"/>
                      <a:pt x="206" y="501"/>
                      <a:pt x="208" y="502"/>
                    </a:cubicBezTo>
                    <a:cubicBezTo>
                      <a:pt x="209" y="502"/>
                      <a:pt x="210" y="503"/>
                      <a:pt x="211" y="504"/>
                    </a:cubicBezTo>
                    <a:cubicBezTo>
                      <a:pt x="212" y="505"/>
                      <a:pt x="212" y="506"/>
                      <a:pt x="212" y="508"/>
                    </a:cubicBezTo>
                    <a:lnTo>
                      <a:pt x="212" y="538"/>
                    </a:lnTo>
                    <a:cubicBezTo>
                      <a:pt x="219" y="531"/>
                      <a:pt x="225" y="525"/>
                      <a:pt x="231" y="520"/>
                    </a:cubicBezTo>
                    <a:cubicBezTo>
                      <a:pt x="238" y="514"/>
                      <a:pt x="244" y="510"/>
                      <a:pt x="250" y="507"/>
                    </a:cubicBezTo>
                    <a:cubicBezTo>
                      <a:pt x="257" y="503"/>
                      <a:pt x="263" y="501"/>
                      <a:pt x="270" y="499"/>
                    </a:cubicBezTo>
                    <a:cubicBezTo>
                      <a:pt x="277" y="497"/>
                      <a:pt x="284" y="497"/>
                      <a:pt x="291" y="497"/>
                    </a:cubicBezTo>
                    <a:cubicBezTo>
                      <a:pt x="307" y="497"/>
                      <a:pt x="321" y="500"/>
                      <a:pt x="333" y="506"/>
                    </a:cubicBezTo>
                    <a:cubicBezTo>
                      <a:pt x="344" y="512"/>
                      <a:pt x="353" y="521"/>
                      <a:pt x="361" y="532"/>
                    </a:cubicBezTo>
                    <a:cubicBezTo>
                      <a:pt x="368" y="543"/>
                      <a:pt x="373" y="555"/>
                      <a:pt x="376" y="570"/>
                    </a:cubicBezTo>
                    <a:cubicBezTo>
                      <a:pt x="380" y="584"/>
                      <a:pt x="381" y="600"/>
                      <a:pt x="381" y="616"/>
                    </a:cubicBezTo>
                    <a:close/>
                    <a:moveTo>
                      <a:pt x="338" y="621"/>
                    </a:moveTo>
                    <a:cubicBezTo>
                      <a:pt x="338" y="609"/>
                      <a:pt x="337" y="598"/>
                      <a:pt x="336" y="588"/>
                    </a:cubicBezTo>
                    <a:cubicBezTo>
                      <a:pt x="334" y="577"/>
                      <a:pt x="331" y="567"/>
                      <a:pt x="327" y="559"/>
                    </a:cubicBezTo>
                    <a:cubicBezTo>
                      <a:pt x="322" y="551"/>
                      <a:pt x="317" y="544"/>
                      <a:pt x="310" y="539"/>
                    </a:cubicBezTo>
                    <a:cubicBezTo>
                      <a:pt x="302" y="534"/>
                      <a:pt x="294" y="532"/>
                      <a:pt x="283" y="532"/>
                    </a:cubicBezTo>
                    <a:cubicBezTo>
                      <a:pt x="278" y="532"/>
                      <a:pt x="273" y="533"/>
                      <a:pt x="267" y="534"/>
                    </a:cubicBezTo>
                    <a:cubicBezTo>
                      <a:pt x="262" y="536"/>
                      <a:pt x="257" y="538"/>
                      <a:pt x="252" y="542"/>
                    </a:cubicBezTo>
                    <a:cubicBezTo>
                      <a:pt x="246" y="545"/>
                      <a:pt x="241" y="550"/>
                      <a:pt x="235" y="555"/>
                    </a:cubicBezTo>
                    <a:cubicBezTo>
                      <a:pt x="229" y="561"/>
                      <a:pt x="223" y="567"/>
                      <a:pt x="217" y="576"/>
                    </a:cubicBezTo>
                    <a:lnTo>
                      <a:pt x="217" y="665"/>
                    </a:lnTo>
                    <a:cubicBezTo>
                      <a:pt x="228" y="678"/>
                      <a:pt x="239" y="689"/>
                      <a:pt x="249" y="696"/>
                    </a:cubicBezTo>
                    <a:cubicBezTo>
                      <a:pt x="259" y="703"/>
                      <a:pt x="270" y="707"/>
                      <a:pt x="281" y="707"/>
                    </a:cubicBezTo>
                    <a:cubicBezTo>
                      <a:pt x="291" y="707"/>
                      <a:pt x="300" y="704"/>
                      <a:pt x="307" y="700"/>
                    </a:cubicBezTo>
                    <a:cubicBezTo>
                      <a:pt x="314" y="695"/>
                      <a:pt x="320" y="688"/>
                      <a:pt x="325" y="680"/>
                    </a:cubicBezTo>
                    <a:cubicBezTo>
                      <a:pt x="329" y="671"/>
                      <a:pt x="333" y="662"/>
                      <a:pt x="335" y="652"/>
                    </a:cubicBezTo>
                    <a:cubicBezTo>
                      <a:pt x="337" y="642"/>
                      <a:pt x="338" y="631"/>
                      <a:pt x="338" y="621"/>
                    </a:cubicBezTo>
                    <a:close/>
                    <a:moveTo>
                      <a:pt x="612" y="732"/>
                    </a:moveTo>
                    <a:cubicBezTo>
                      <a:pt x="612" y="734"/>
                      <a:pt x="611" y="735"/>
                      <a:pt x="609" y="736"/>
                    </a:cubicBezTo>
                    <a:cubicBezTo>
                      <a:pt x="608" y="737"/>
                      <a:pt x="606" y="738"/>
                      <a:pt x="604" y="738"/>
                    </a:cubicBezTo>
                    <a:cubicBezTo>
                      <a:pt x="602" y="739"/>
                      <a:pt x="598" y="739"/>
                      <a:pt x="594" y="739"/>
                    </a:cubicBezTo>
                    <a:cubicBezTo>
                      <a:pt x="590" y="739"/>
                      <a:pt x="586" y="739"/>
                      <a:pt x="584" y="738"/>
                    </a:cubicBezTo>
                    <a:cubicBezTo>
                      <a:pt x="581" y="738"/>
                      <a:pt x="579" y="737"/>
                      <a:pt x="578" y="736"/>
                    </a:cubicBezTo>
                    <a:cubicBezTo>
                      <a:pt x="577" y="735"/>
                      <a:pt x="576" y="734"/>
                      <a:pt x="576" y="732"/>
                    </a:cubicBezTo>
                    <a:lnTo>
                      <a:pt x="576" y="709"/>
                    </a:lnTo>
                    <a:cubicBezTo>
                      <a:pt x="566" y="720"/>
                      <a:pt x="556" y="728"/>
                      <a:pt x="543" y="734"/>
                    </a:cubicBezTo>
                    <a:cubicBezTo>
                      <a:pt x="532" y="739"/>
                      <a:pt x="519" y="742"/>
                      <a:pt x="505" y="742"/>
                    </a:cubicBezTo>
                    <a:cubicBezTo>
                      <a:pt x="494" y="742"/>
                      <a:pt x="483" y="741"/>
                      <a:pt x="473" y="738"/>
                    </a:cubicBezTo>
                    <a:cubicBezTo>
                      <a:pt x="464" y="735"/>
                      <a:pt x="456" y="730"/>
                      <a:pt x="449" y="724"/>
                    </a:cubicBezTo>
                    <a:cubicBezTo>
                      <a:pt x="442" y="719"/>
                      <a:pt x="437" y="711"/>
                      <a:pt x="433" y="703"/>
                    </a:cubicBezTo>
                    <a:cubicBezTo>
                      <a:pt x="430" y="695"/>
                      <a:pt x="428" y="685"/>
                      <a:pt x="428" y="674"/>
                    </a:cubicBezTo>
                    <a:cubicBezTo>
                      <a:pt x="428" y="662"/>
                      <a:pt x="430" y="651"/>
                      <a:pt x="436" y="641"/>
                    </a:cubicBezTo>
                    <a:cubicBezTo>
                      <a:pt x="441" y="632"/>
                      <a:pt x="448" y="624"/>
                      <a:pt x="458" y="618"/>
                    </a:cubicBezTo>
                    <a:cubicBezTo>
                      <a:pt x="467" y="612"/>
                      <a:pt x="479" y="608"/>
                      <a:pt x="493" y="604"/>
                    </a:cubicBezTo>
                    <a:cubicBezTo>
                      <a:pt x="507" y="601"/>
                      <a:pt x="523" y="600"/>
                      <a:pt x="540" y="600"/>
                    </a:cubicBezTo>
                    <a:lnTo>
                      <a:pt x="571" y="600"/>
                    </a:lnTo>
                    <a:lnTo>
                      <a:pt x="571" y="583"/>
                    </a:lnTo>
                    <a:cubicBezTo>
                      <a:pt x="571" y="574"/>
                      <a:pt x="570" y="566"/>
                      <a:pt x="568" y="560"/>
                    </a:cubicBezTo>
                    <a:cubicBezTo>
                      <a:pt x="566" y="553"/>
                      <a:pt x="563" y="547"/>
                      <a:pt x="559" y="543"/>
                    </a:cubicBezTo>
                    <a:cubicBezTo>
                      <a:pt x="555" y="539"/>
                      <a:pt x="550" y="535"/>
                      <a:pt x="543" y="533"/>
                    </a:cubicBezTo>
                    <a:cubicBezTo>
                      <a:pt x="537" y="531"/>
                      <a:pt x="529" y="530"/>
                      <a:pt x="520" y="530"/>
                    </a:cubicBezTo>
                    <a:cubicBezTo>
                      <a:pt x="509" y="530"/>
                      <a:pt x="500" y="531"/>
                      <a:pt x="492" y="533"/>
                    </a:cubicBezTo>
                    <a:cubicBezTo>
                      <a:pt x="484" y="536"/>
                      <a:pt x="477" y="538"/>
                      <a:pt x="471" y="541"/>
                    </a:cubicBezTo>
                    <a:cubicBezTo>
                      <a:pt x="465" y="544"/>
                      <a:pt x="460" y="547"/>
                      <a:pt x="456" y="549"/>
                    </a:cubicBezTo>
                    <a:cubicBezTo>
                      <a:pt x="452" y="552"/>
                      <a:pt x="449" y="553"/>
                      <a:pt x="447" y="553"/>
                    </a:cubicBezTo>
                    <a:cubicBezTo>
                      <a:pt x="446" y="553"/>
                      <a:pt x="445" y="553"/>
                      <a:pt x="444" y="552"/>
                    </a:cubicBezTo>
                    <a:cubicBezTo>
                      <a:pt x="442" y="551"/>
                      <a:pt x="442" y="550"/>
                      <a:pt x="441" y="549"/>
                    </a:cubicBezTo>
                    <a:cubicBezTo>
                      <a:pt x="440" y="548"/>
                      <a:pt x="440" y="546"/>
                      <a:pt x="439" y="544"/>
                    </a:cubicBezTo>
                    <a:cubicBezTo>
                      <a:pt x="439" y="542"/>
                      <a:pt x="439" y="539"/>
                      <a:pt x="439" y="537"/>
                    </a:cubicBezTo>
                    <a:cubicBezTo>
                      <a:pt x="439" y="533"/>
                      <a:pt x="439" y="530"/>
                      <a:pt x="440" y="527"/>
                    </a:cubicBezTo>
                    <a:cubicBezTo>
                      <a:pt x="440" y="525"/>
                      <a:pt x="442" y="523"/>
                      <a:pt x="444" y="520"/>
                    </a:cubicBezTo>
                    <a:cubicBezTo>
                      <a:pt x="446" y="518"/>
                      <a:pt x="450" y="516"/>
                      <a:pt x="455" y="513"/>
                    </a:cubicBezTo>
                    <a:cubicBezTo>
                      <a:pt x="461" y="510"/>
                      <a:pt x="467" y="507"/>
                      <a:pt x="474" y="505"/>
                    </a:cubicBezTo>
                    <a:cubicBezTo>
                      <a:pt x="481" y="502"/>
                      <a:pt x="489" y="500"/>
                      <a:pt x="498" y="499"/>
                    </a:cubicBezTo>
                    <a:cubicBezTo>
                      <a:pt x="506" y="497"/>
                      <a:pt x="515" y="497"/>
                      <a:pt x="523" y="497"/>
                    </a:cubicBezTo>
                    <a:cubicBezTo>
                      <a:pt x="539" y="497"/>
                      <a:pt x="553" y="498"/>
                      <a:pt x="564" y="502"/>
                    </a:cubicBezTo>
                    <a:cubicBezTo>
                      <a:pt x="576" y="506"/>
                      <a:pt x="585" y="511"/>
                      <a:pt x="592" y="518"/>
                    </a:cubicBezTo>
                    <a:cubicBezTo>
                      <a:pt x="599" y="525"/>
                      <a:pt x="604" y="534"/>
                      <a:pt x="607" y="544"/>
                    </a:cubicBezTo>
                    <a:cubicBezTo>
                      <a:pt x="610" y="555"/>
                      <a:pt x="612" y="567"/>
                      <a:pt x="612" y="581"/>
                    </a:cubicBezTo>
                    <a:lnTo>
                      <a:pt x="612" y="732"/>
                    </a:lnTo>
                    <a:close/>
                    <a:moveTo>
                      <a:pt x="571" y="629"/>
                    </a:moveTo>
                    <a:lnTo>
                      <a:pt x="536" y="629"/>
                    </a:lnTo>
                    <a:cubicBezTo>
                      <a:pt x="524" y="629"/>
                      <a:pt x="515" y="630"/>
                      <a:pt x="506" y="632"/>
                    </a:cubicBezTo>
                    <a:cubicBezTo>
                      <a:pt x="498" y="634"/>
                      <a:pt x="491" y="637"/>
                      <a:pt x="486" y="641"/>
                    </a:cubicBezTo>
                    <a:cubicBezTo>
                      <a:pt x="480" y="644"/>
                      <a:pt x="476" y="649"/>
                      <a:pt x="474" y="654"/>
                    </a:cubicBezTo>
                    <a:cubicBezTo>
                      <a:pt x="471" y="659"/>
                      <a:pt x="470" y="665"/>
                      <a:pt x="470" y="672"/>
                    </a:cubicBezTo>
                    <a:cubicBezTo>
                      <a:pt x="470" y="684"/>
                      <a:pt x="474" y="693"/>
                      <a:pt x="481" y="700"/>
                    </a:cubicBezTo>
                    <a:cubicBezTo>
                      <a:pt x="488" y="707"/>
                      <a:pt x="499" y="710"/>
                      <a:pt x="512" y="710"/>
                    </a:cubicBezTo>
                    <a:cubicBezTo>
                      <a:pt x="523" y="710"/>
                      <a:pt x="533" y="707"/>
                      <a:pt x="542" y="702"/>
                    </a:cubicBezTo>
                    <a:cubicBezTo>
                      <a:pt x="551" y="697"/>
                      <a:pt x="561" y="688"/>
                      <a:pt x="571" y="677"/>
                    </a:cubicBezTo>
                    <a:lnTo>
                      <a:pt x="571" y="629"/>
                    </a:lnTo>
                    <a:close/>
                    <a:moveTo>
                      <a:pt x="969" y="729"/>
                    </a:moveTo>
                    <a:cubicBezTo>
                      <a:pt x="969" y="733"/>
                      <a:pt x="968" y="735"/>
                      <a:pt x="965" y="737"/>
                    </a:cubicBezTo>
                    <a:cubicBezTo>
                      <a:pt x="963" y="738"/>
                      <a:pt x="958" y="739"/>
                      <a:pt x="950" y="739"/>
                    </a:cubicBezTo>
                    <a:cubicBezTo>
                      <a:pt x="946" y="739"/>
                      <a:pt x="943" y="739"/>
                      <a:pt x="940" y="739"/>
                    </a:cubicBezTo>
                    <a:cubicBezTo>
                      <a:pt x="937" y="739"/>
                      <a:pt x="935" y="738"/>
                      <a:pt x="934" y="738"/>
                    </a:cubicBezTo>
                    <a:cubicBezTo>
                      <a:pt x="932" y="737"/>
                      <a:pt x="931" y="737"/>
                      <a:pt x="931" y="736"/>
                    </a:cubicBezTo>
                    <a:cubicBezTo>
                      <a:pt x="930" y="735"/>
                      <a:pt x="930" y="734"/>
                      <a:pt x="930" y="732"/>
                    </a:cubicBezTo>
                    <a:lnTo>
                      <a:pt x="914" y="602"/>
                    </a:lnTo>
                    <a:cubicBezTo>
                      <a:pt x="913" y="597"/>
                      <a:pt x="913" y="592"/>
                      <a:pt x="912" y="587"/>
                    </a:cubicBezTo>
                    <a:cubicBezTo>
                      <a:pt x="912" y="581"/>
                      <a:pt x="911" y="576"/>
                      <a:pt x="911" y="571"/>
                    </a:cubicBezTo>
                    <a:cubicBezTo>
                      <a:pt x="910" y="565"/>
                      <a:pt x="910" y="560"/>
                      <a:pt x="909" y="554"/>
                    </a:cubicBezTo>
                    <a:cubicBezTo>
                      <a:pt x="909" y="549"/>
                      <a:pt x="908" y="544"/>
                      <a:pt x="908" y="539"/>
                    </a:cubicBezTo>
                    <a:lnTo>
                      <a:pt x="908" y="533"/>
                    </a:lnTo>
                    <a:cubicBezTo>
                      <a:pt x="906" y="538"/>
                      <a:pt x="905" y="543"/>
                      <a:pt x="903" y="548"/>
                    </a:cubicBezTo>
                    <a:cubicBezTo>
                      <a:pt x="901" y="553"/>
                      <a:pt x="899" y="559"/>
                      <a:pt x="898" y="564"/>
                    </a:cubicBezTo>
                    <a:cubicBezTo>
                      <a:pt x="896" y="570"/>
                      <a:pt x="894" y="575"/>
                      <a:pt x="892" y="581"/>
                    </a:cubicBezTo>
                    <a:cubicBezTo>
                      <a:pt x="890" y="586"/>
                      <a:pt x="889" y="591"/>
                      <a:pt x="887" y="596"/>
                    </a:cubicBezTo>
                    <a:lnTo>
                      <a:pt x="840" y="729"/>
                    </a:lnTo>
                    <a:cubicBezTo>
                      <a:pt x="840" y="731"/>
                      <a:pt x="839" y="732"/>
                      <a:pt x="838" y="734"/>
                    </a:cubicBezTo>
                    <a:cubicBezTo>
                      <a:pt x="837" y="735"/>
                      <a:pt x="836" y="736"/>
                      <a:pt x="834" y="737"/>
                    </a:cubicBezTo>
                    <a:cubicBezTo>
                      <a:pt x="833" y="738"/>
                      <a:pt x="831" y="738"/>
                      <a:pt x="828" y="739"/>
                    </a:cubicBezTo>
                    <a:cubicBezTo>
                      <a:pt x="826" y="739"/>
                      <a:pt x="823" y="739"/>
                      <a:pt x="819" y="739"/>
                    </a:cubicBezTo>
                    <a:cubicBezTo>
                      <a:pt x="816" y="739"/>
                      <a:pt x="813" y="739"/>
                      <a:pt x="811" y="739"/>
                    </a:cubicBezTo>
                    <a:cubicBezTo>
                      <a:pt x="808" y="738"/>
                      <a:pt x="806" y="738"/>
                      <a:pt x="805" y="737"/>
                    </a:cubicBezTo>
                    <a:cubicBezTo>
                      <a:pt x="803" y="736"/>
                      <a:pt x="802" y="735"/>
                      <a:pt x="801" y="734"/>
                    </a:cubicBezTo>
                    <a:cubicBezTo>
                      <a:pt x="800" y="732"/>
                      <a:pt x="799" y="731"/>
                      <a:pt x="799" y="729"/>
                    </a:cubicBezTo>
                    <a:lnTo>
                      <a:pt x="753" y="596"/>
                    </a:lnTo>
                    <a:cubicBezTo>
                      <a:pt x="752" y="591"/>
                      <a:pt x="750" y="587"/>
                      <a:pt x="748" y="581"/>
                    </a:cubicBezTo>
                    <a:cubicBezTo>
                      <a:pt x="746" y="576"/>
                      <a:pt x="745" y="571"/>
                      <a:pt x="743" y="565"/>
                    </a:cubicBezTo>
                    <a:cubicBezTo>
                      <a:pt x="741" y="559"/>
                      <a:pt x="740" y="554"/>
                      <a:pt x="738" y="548"/>
                    </a:cubicBezTo>
                    <a:cubicBezTo>
                      <a:pt x="736" y="543"/>
                      <a:pt x="735" y="538"/>
                      <a:pt x="734" y="533"/>
                    </a:cubicBezTo>
                    <a:lnTo>
                      <a:pt x="733" y="539"/>
                    </a:lnTo>
                    <a:cubicBezTo>
                      <a:pt x="733" y="544"/>
                      <a:pt x="732" y="549"/>
                      <a:pt x="732" y="554"/>
                    </a:cubicBezTo>
                    <a:cubicBezTo>
                      <a:pt x="731" y="560"/>
                      <a:pt x="731" y="565"/>
                      <a:pt x="730" y="571"/>
                    </a:cubicBezTo>
                    <a:cubicBezTo>
                      <a:pt x="730" y="576"/>
                      <a:pt x="729" y="581"/>
                      <a:pt x="729" y="587"/>
                    </a:cubicBezTo>
                    <a:cubicBezTo>
                      <a:pt x="728" y="592"/>
                      <a:pt x="728" y="597"/>
                      <a:pt x="727" y="602"/>
                    </a:cubicBezTo>
                    <a:lnTo>
                      <a:pt x="712" y="730"/>
                    </a:lnTo>
                    <a:cubicBezTo>
                      <a:pt x="712" y="732"/>
                      <a:pt x="711" y="733"/>
                      <a:pt x="711" y="735"/>
                    </a:cubicBezTo>
                    <a:cubicBezTo>
                      <a:pt x="710" y="736"/>
                      <a:pt x="709" y="737"/>
                      <a:pt x="707" y="737"/>
                    </a:cubicBezTo>
                    <a:cubicBezTo>
                      <a:pt x="706" y="738"/>
                      <a:pt x="704" y="738"/>
                      <a:pt x="701" y="739"/>
                    </a:cubicBezTo>
                    <a:cubicBezTo>
                      <a:pt x="698" y="739"/>
                      <a:pt x="695" y="739"/>
                      <a:pt x="690" y="739"/>
                    </a:cubicBezTo>
                    <a:cubicBezTo>
                      <a:pt x="686" y="739"/>
                      <a:pt x="683" y="739"/>
                      <a:pt x="681" y="739"/>
                    </a:cubicBezTo>
                    <a:cubicBezTo>
                      <a:pt x="678" y="738"/>
                      <a:pt x="676" y="738"/>
                      <a:pt x="675" y="737"/>
                    </a:cubicBezTo>
                    <a:cubicBezTo>
                      <a:pt x="674" y="736"/>
                      <a:pt x="673" y="735"/>
                      <a:pt x="673" y="734"/>
                    </a:cubicBezTo>
                    <a:cubicBezTo>
                      <a:pt x="672" y="732"/>
                      <a:pt x="672" y="731"/>
                      <a:pt x="673" y="729"/>
                    </a:cubicBezTo>
                    <a:lnTo>
                      <a:pt x="697" y="517"/>
                    </a:lnTo>
                    <a:cubicBezTo>
                      <a:pt x="698" y="512"/>
                      <a:pt x="700" y="508"/>
                      <a:pt x="703" y="505"/>
                    </a:cubicBezTo>
                    <a:cubicBezTo>
                      <a:pt x="706" y="503"/>
                      <a:pt x="710" y="501"/>
                      <a:pt x="716" y="501"/>
                    </a:cubicBezTo>
                    <a:lnTo>
                      <a:pt x="736" y="501"/>
                    </a:lnTo>
                    <a:cubicBezTo>
                      <a:pt x="740" y="501"/>
                      <a:pt x="745" y="502"/>
                      <a:pt x="748" y="502"/>
                    </a:cubicBezTo>
                    <a:cubicBezTo>
                      <a:pt x="751" y="503"/>
                      <a:pt x="754" y="504"/>
                      <a:pt x="757" y="506"/>
                    </a:cubicBezTo>
                    <a:cubicBezTo>
                      <a:pt x="759" y="508"/>
                      <a:pt x="761" y="511"/>
                      <a:pt x="763" y="514"/>
                    </a:cubicBezTo>
                    <a:cubicBezTo>
                      <a:pt x="764" y="517"/>
                      <a:pt x="766" y="520"/>
                      <a:pt x="767" y="525"/>
                    </a:cubicBezTo>
                    <a:lnTo>
                      <a:pt x="801" y="620"/>
                    </a:lnTo>
                    <a:cubicBezTo>
                      <a:pt x="802" y="626"/>
                      <a:pt x="804" y="632"/>
                      <a:pt x="806" y="638"/>
                    </a:cubicBezTo>
                    <a:cubicBezTo>
                      <a:pt x="808" y="644"/>
                      <a:pt x="810" y="649"/>
                      <a:pt x="812" y="655"/>
                    </a:cubicBezTo>
                    <a:cubicBezTo>
                      <a:pt x="814" y="661"/>
                      <a:pt x="815" y="666"/>
                      <a:pt x="817" y="672"/>
                    </a:cubicBezTo>
                    <a:cubicBezTo>
                      <a:pt x="818" y="677"/>
                      <a:pt x="820" y="683"/>
                      <a:pt x="821" y="688"/>
                    </a:cubicBezTo>
                    <a:lnTo>
                      <a:pt x="822" y="688"/>
                    </a:lnTo>
                    <a:cubicBezTo>
                      <a:pt x="823" y="682"/>
                      <a:pt x="825" y="677"/>
                      <a:pt x="826" y="671"/>
                    </a:cubicBezTo>
                    <a:cubicBezTo>
                      <a:pt x="828" y="666"/>
                      <a:pt x="830" y="660"/>
                      <a:pt x="831" y="654"/>
                    </a:cubicBezTo>
                    <a:cubicBezTo>
                      <a:pt x="833" y="648"/>
                      <a:pt x="835" y="642"/>
                      <a:pt x="837" y="636"/>
                    </a:cubicBezTo>
                    <a:cubicBezTo>
                      <a:pt x="839" y="631"/>
                      <a:pt x="841" y="625"/>
                      <a:pt x="842" y="620"/>
                    </a:cubicBezTo>
                    <a:lnTo>
                      <a:pt x="876" y="525"/>
                    </a:lnTo>
                    <a:cubicBezTo>
                      <a:pt x="877" y="521"/>
                      <a:pt x="878" y="517"/>
                      <a:pt x="880" y="514"/>
                    </a:cubicBezTo>
                    <a:cubicBezTo>
                      <a:pt x="882" y="511"/>
                      <a:pt x="883" y="509"/>
                      <a:pt x="886" y="507"/>
                    </a:cubicBezTo>
                    <a:cubicBezTo>
                      <a:pt x="888" y="505"/>
                      <a:pt x="891" y="504"/>
                      <a:pt x="894" y="503"/>
                    </a:cubicBezTo>
                    <a:cubicBezTo>
                      <a:pt x="897" y="502"/>
                      <a:pt x="901" y="501"/>
                      <a:pt x="906" y="501"/>
                    </a:cubicBezTo>
                    <a:lnTo>
                      <a:pt x="925" y="501"/>
                    </a:lnTo>
                    <a:cubicBezTo>
                      <a:pt x="931" y="501"/>
                      <a:pt x="936" y="503"/>
                      <a:pt x="939" y="505"/>
                    </a:cubicBezTo>
                    <a:cubicBezTo>
                      <a:pt x="942" y="507"/>
                      <a:pt x="944" y="511"/>
                      <a:pt x="944" y="517"/>
                    </a:cubicBezTo>
                    <a:lnTo>
                      <a:pt x="969" y="729"/>
                    </a:lnTo>
                    <a:close/>
                    <a:moveTo>
                      <a:pt x="1239" y="617"/>
                    </a:moveTo>
                    <a:cubicBezTo>
                      <a:pt x="1239" y="635"/>
                      <a:pt x="1236" y="652"/>
                      <a:pt x="1232" y="667"/>
                    </a:cubicBezTo>
                    <a:cubicBezTo>
                      <a:pt x="1227" y="683"/>
                      <a:pt x="1220" y="696"/>
                      <a:pt x="1210" y="707"/>
                    </a:cubicBezTo>
                    <a:cubicBezTo>
                      <a:pt x="1201" y="718"/>
                      <a:pt x="1189" y="727"/>
                      <a:pt x="1174" y="733"/>
                    </a:cubicBezTo>
                    <a:cubicBezTo>
                      <a:pt x="1160" y="739"/>
                      <a:pt x="1143" y="742"/>
                      <a:pt x="1125" y="742"/>
                    </a:cubicBezTo>
                    <a:cubicBezTo>
                      <a:pt x="1106" y="742"/>
                      <a:pt x="1090" y="739"/>
                      <a:pt x="1076" y="734"/>
                    </a:cubicBezTo>
                    <a:cubicBezTo>
                      <a:pt x="1063" y="729"/>
                      <a:pt x="1051" y="721"/>
                      <a:pt x="1042" y="710"/>
                    </a:cubicBezTo>
                    <a:cubicBezTo>
                      <a:pt x="1033" y="700"/>
                      <a:pt x="1026" y="687"/>
                      <a:pt x="1022" y="672"/>
                    </a:cubicBezTo>
                    <a:cubicBezTo>
                      <a:pt x="1017" y="657"/>
                      <a:pt x="1015" y="640"/>
                      <a:pt x="1015" y="621"/>
                    </a:cubicBezTo>
                    <a:cubicBezTo>
                      <a:pt x="1015" y="603"/>
                      <a:pt x="1018" y="586"/>
                      <a:pt x="1022" y="571"/>
                    </a:cubicBezTo>
                    <a:cubicBezTo>
                      <a:pt x="1027" y="556"/>
                      <a:pt x="1034" y="543"/>
                      <a:pt x="1044" y="532"/>
                    </a:cubicBezTo>
                    <a:cubicBezTo>
                      <a:pt x="1053" y="520"/>
                      <a:pt x="1065" y="512"/>
                      <a:pt x="1079" y="506"/>
                    </a:cubicBezTo>
                    <a:cubicBezTo>
                      <a:pt x="1094" y="500"/>
                      <a:pt x="1110" y="497"/>
                      <a:pt x="1129" y="497"/>
                    </a:cubicBezTo>
                    <a:cubicBezTo>
                      <a:pt x="1148" y="497"/>
                      <a:pt x="1164" y="499"/>
                      <a:pt x="1177" y="505"/>
                    </a:cubicBezTo>
                    <a:cubicBezTo>
                      <a:pt x="1191" y="510"/>
                      <a:pt x="1202" y="518"/>
                      <a:pt x="1211" y="529"/>
                    </a:cubicBezTo>
                    <a:cubicBezTo>
                      <a:pt x="1221" y="539"/>
                      <a:pt x="1227" y="552"/>
                      <a:pt x="1232" y="567"/>
                    </a:cubicBezTo>
                    <a:cubicBezTo>
                      <a:pt x="1237" y="581"/>
                      <a:pt x="1239" y="598"/>
                      <a:pt x="1239" y="617"/>
                    </a:cubicBezTo>
                    <a:close/>
                    <a:moveTo>
                      <a:pt x="1196" y="620"/>
                    </a:moveTo>
                    <a:cubicBezTo>
                      <a:pt x="1196" y="608"/>
                      <a:pt x="1194" y="596"/>
                      <a:pt x="1192" y="585"/>
                    </a:cubicBezTo>
                    <a:cubicBezTo>
                      <a:pt x="1190" y="575"/>
                      <a:pt x="1186" y="565"/>
                      <a:pt x="1181" y="557"/>
                    </a:cubicBezTo>
                    <a:cubicBezTo>
                      <a:pt x="1176" y="549"/>
                      <a:pt x="1169" y="543"/>
                      <a:pt x="1160" y="538"/>
                    </a:cubicBezTo>
                    <a:cubicBezTo>
                      <a:pt x="1152" y="533"/>
                      <a:pt x="1141" y="531"/>
                      <a:pt x="1128" y="531"/>
                    </a:cubicBezTo>
                    <a:cubicBezTo>
                      <a:pt x="1115" y="531"/>
                      <a:pt x="1105" y="533"/>
                      <a:pt x="1096" y="537"/>
                    </a:cubicBezTo>
                    <a:cubicBezTo>
                      <a:pt x="1088" y="542"/>
                      <a:pt x="1080" y="548"/>
                      <a:pt x="1075" y="556"/>
                    </a:cubicBezTo>
                    <a:cubicBezTo>
                      <a:pt x="1069" y="563"/>
                      <a:pt x="1065" y="573"/>
                      <a:pt x="1062" y="584"/>
                    </a:cubicBezTo>
                    <a:cubicBezTo>
                      <a:pt x="1060" y="594"/>
                      <a:pt x="1058" y="606"/>
                      <a:pt x="1058" y="619"/>
                    </a:cubicBezTo>
                    <a:cubicBezTo>
                      <a:pt x="1058" y="631"/>
                      <a:pt x="1059" y="643"/>
                      <a:pt x="1062" y="653"/>
                    </a:cubicBezTo>
                    <a:cubicBezTo>
                      <a:pt x="1064" y="664"/>
                      <a:pt x="1067" y="673"/>
                      <a:pt x="1073" y="681"/>
                    </a:cubicBezTo>
                    <a:cubicBezTo>
                      <a:pt x="1078" y="690"/>
                      <a:pt x="1085" y="696"/>
                      <a:pt x="1094" y="701"/>
                    </a:cubicBezTo>
                    <a:cubicBezTo>
                      <a:pt x="1102" y="705"/>
                      <a:pt x="1113" y="708"/>
                      <a:pt x="1126" y="708"/>
                    </a:cubicBezTo>
                    <a:cubicBezTo>
                      <a:pt x="1138" y="708"/>
                      <a:pt x="1149" y="706"/>
                      <a:pt x="1158" y="701"/>
                    </a:cubicBezTo>
                    <a:cubicBezTo>
                      <a:pt x="1166" y="697"/>
                      <a:pt x="1174" y="691"/>
                      <a:pt x="1179" y="683"/>
                    </a:cubicBezTo>
                    <a:cubicBezTo>
                      <a:pt x="1185" y="675"/>
                      <a:pt x="1189" y="666"/>
                      <a:pt x="1192" y="655"/>
                    </a:cubicBezTo>
                    <a:cubicBezTo>
                      <a:pt x="1194" y="644"/>
                      <a:pt x="1196" y="633"/>
                      <a:pt x="1196" y="620"/>
                    </a:cubicBezTo>
                    <a:close/>
                    <a:moveTo>
                      <a:pt x="1452" y="520"/>
                    </a:moveTo>
                    <a:cubicBezTo>
                      <a:pt x="1452" y="523"/>
                      <a:pt x="1452" y="526"/>
                      <a:pt x="1451" y="528"/>
                    </a:cubicBezTo>
                    <a:cubicBezTo>
                      <a:pt x="1451" y="531"/>
                      <a:pt x="1451" y="533"/>
                      <a:pt x="1450" y="534"/>
                    </a:cubicBezTo>
                    <a:cubicBezTo>
                      <a:pt x="1449" y="536"/>
                      <a:pt x="1448" y="537"/>
                      <a:pt x="1447" y="537"/>
                    </a:cubicBezTo>
                    <a:cubicBezTo>
                      <a:pt x="1446" y="538"/>
                      <a:pt x="1445" y="538"/>
                      <a:pt x="1443" y="538"/>
                    </a:cubicBezTo>
                    <a:lnTo>
                      <a:pt x="1376" y="538"/>
                    </a:lnTo>
                    <a:lnTo>
                      <a:pt x="1376" y="731"/>
                    </a:lnTo>
                    <a:cubicBezTo>
                      <a:pt x="1376" y="733"/>
                      <a:pt x="1376" y="734"/>
                      <a:pt x="1375" y="735"/>
                    </a:cubicBezTo>
                    <a:cubicBezTo>
                      <a:pt x="1375" y="736"/>
                      <a:pt x="1374" y="736"/>
                      <a:pt x="1372" y="737"/>
                    </a:cubicBezTo>
                    <a:cubicBezTo>
                      <a:pt x="1371" y="738"/>
                      <a:pt x="1369" y="738"/>
                      <a:pt x="1366" y="739"/>
                    </a:cubicBezTo>
                    <a:cubicBezTo>
                      <a:pt x="1363" y="739"/>
                      <a:pt x="1360" y="739"/>
                      <a:pt x="1356" y="739"/>
                    </a:cubicBezTo>
                    <a:cubicBezTo>
                      <a:pt x="1352" y="739"/>
                      <a:pt x="1349" y="739"/>
                      <a:pt x="1346" y="739"/>
                    </a:cubicBezTo>
                    <a:cubicBezTo>
                      <a:pt x="1343" y="738"/>
                      <a:pt x="1341" y="738"/>
                      <a:pt x="1340" y="737"/>
                    </a:cubicBezTo>
                    <a:cubicBezTo>
                      <a:pt x="1338" y="736"/>
                      <a:pt x="1337" y="736"/>
                      <a:pt x="1336" y="735"/>
                    </a:cubicBezTo>
                    <a:cubicBezTo>
                      <a:pt x="1336" y="734"/>
                      <a:pt x="1335" y="733"/>
                      <a:pt x="1335" y="731"/>
                    </a:cubicBezTo>
                    <a:lnTo>
                      <a:pt x="1335" y="538"/>
                    </a:lnTo>
                    <a:lnTo>
                      <a:pt x="1268" y="538"/>
                    </a:lnTo>
                    <a:cubicBezTo>
                      <a:pt x="1267" y="538"/>
                      <a:pt x="1266" y="538"/>
                      <a:pt x="1265" y="537"/>
                    </a:cubicBezTo>
                    <a:cubicBezTo>
                      <a:pt x="1264" y="537"/>
                      <a:pt x="1263" y="536"/>
                      <a:pt x="1262" y="534"/>
                    </a:cubicBezTo>
                    <a:cubicBezTo>
                      <a:pt x="1262" y="533"/>
                      <a:pt x="1261" y="531"/>
                      <a:pt x="1261" y="528"/>
                    </a:cubicBezTo>
                    <a:cubicBezTo>
                      <a:pt x="1260" y="526"/>
                      <a:pt x="1260" y="523"/>
                      <a:pt x="1260" y="520"/>
                    </a:cubicBezTo>
                    <a:cubicBezTo>
                      <a:pt x="1260" y="517"/>
                      <a:pt x="1260" y="514"/>
                      <a:pt x="1261" y="512"/>
                    </a:cubicBezTo>
                    <a:cubicBezTo>
                      <a:pt x="1261" y="509"/>
                      <a:pt x="1262" y="507"/>
                      <a:pt x="1262" y="506"/>
                    </a:cubicBezTo>
                    <a:cubicBezTo>
                      <a:pt x="1263" y="504"/>
                      <a:pt x="1264" y="503"/>
                      <a:pt x="1265" y="502"/>
                    </a:cubicBezTo>
                    <a:cubicBezTo>
                      <a:pt x="1266" y="502"/>
                      <a:pt x="1267" y="501"/>
                      <a:pt x="1268" y="501"/>
                    </a:cubicBezTo>
                    <a:lnTo>
                      <a:pt x="1443" y="501"/>
                    </a:lnTo>
                    <a:cubicBezTo>
                      <a:pt x="1445" y="501"/>
                      <a:pt x="1446" y="502"/>
                      <a:pt x="1447" y="502"/>
                    </a:cubicBezTo>
                    <a:cubicBezTo>
                      <a:pt x="1448" y="503"/>
                      <a:pt x="1449" y="504"/>
                      <a:pt x="1450" y="506"/>
                    </a:cubicBezTo>
                    <a:cubicBezTo>
                      <a:pt x="1450" y="507"/>
                      <a:pt x="1451" y="509"/>
                      <a:pt x="1451" y="512"/>
                    </a:cubicBezTo>
                    <a:cubicBezTo>
                      <a:pt x="1452" y="514"/>
                      <a:pt x="1452" y="517"/>
                      <a:pt x="1452" y="520"/>
                    </a:cubicBezTo>
                    <a:close/>
                    <a:moveTo>
                      <a:pt x="1688" y="731"/>
                    </a:moveTo>
                    <a:cubicBezTo>
                      <a:pt x="1688" y="733"/>
                      <a:pt x="1688" y="734"/>
                      <a:pt x="1687" y="735"/>
                    </a:cubicBezTo>
                    <a:cubicBezTo>
                      <a:pt x="1687" y="736"/>
                      <a:pt x="1686" y="736"/>
                      <a:pt x="1684" y="737"/>
                    </a:cubicBezTo>
                    <a:cubicBezTo>
                      <a:pt x="1683" y="738"/>
                      <a:pt x="1681" y="738"/>
                      <a:pt x="1678" y="739"/>
                    </a:cubicBezTo>
                    <a:cubicBezTo>
                      <a:pt x="1675" y="739"/>
                      <a:pt x="1672" y="739"/>
                      <a:pt x="1668" y="739"/>
                    </a:cubicBezTo>
                    <a:cubicBezTo>
                      <a:pt x="1664" y="739"/>
                      <a:pt x="1661" y="739"/>
                      <a:pt x="1658" y="739"/>
                    </a:cubicBezTo>
                    <a:cubicBezTo>
                      <a:pt x="1655" y="738"/>
                      <a:pt x="1653" y="738"/>
                      <a:pt x="1652" y="737"/>
                    </a:cubicBezTo>
                    <a:cubicBezTo>
                      <a:pt x="1650" y="736"/>
                      <a:pt x="1649" y="736"/>
                      <a:pt x="1648" y="735"/>
                    </a:cubicBezTo>
                    <a:cubicBezTo>
                      <a:pt x="1648" y="734"/>
                      <a:pt x="1647" y="733"/>
                      <a:pt x="1647" y="731"/>
                    </a:cubicBezTo>
                    <a:lnTo>
                      <a:pt x="1647" y="633"/>
                    </a:lnTo>
                    <a:lnTo>
                      <a:pt x="1533" y="633"/>
                    </a:lnTo>
                    <a:lnTo>
                      <a:pt x="1533" y="731"/>
                    </a:lnTo>
                    <a:cubicBezTo>
                      <a:pt x="1533" y="733"/>
                      <a:pt x="1533" y="734"/>
                      <a:pt x="1532" y="735"/>
                    </a:cubicBezTo>
                    <a:cubicBezTo>
                      <a:pt x="1532" y="736"/>
                      <a:pt x="1531" y="736"/>
                      <a:pt x="1529" y="737"/>
                    </a:cubicBezTo>
                    <a:cubicBezTo>
                      <a:pt x="1528" y="738"/>
                      <a:pt x="1526" y="738"/>
                      <a:pt x="1523" y="739"/>
                    </a:cubicBezTo>
                    <a:cubicBezTo>
                      <a:pt x="1520" y="739"/>
                      <a:pt x="1517" y="739"/>
                      <a:pt x="1513" y="739"/>
                    </a:cubicBezTo>
                    <a:cubicBezTo>
                      <a:pt x="1509" y="739"/>
                      <a:pt x="1506" y="739"/>
                      <a:pt x="1503" y="739"/>
                    </a:cubicBezTo>
                    <a:cubicBezTo>
                      <a:pt x="1500" y="738"/>
                      <a:pt x="1498" y="738"/>
                      <a:pt x="1497" y="737"/>
                    </a:cubicBezTo>
                    <a:cubicBezTo>
                      <a:pt x="1495" y="736"/>
                      <a:pt x="1494" y="736"/>
                      <a:pt x="1493" y="735"/>
                    </a:cubicBezTo>
                    <a:cubicBezTo>
                      <a:pt x="1493" y="734"/>
                      <a:pt x="1492" y="733"/>
                      <a:pt x="1492" y="731"/>
                    </a:cubicBezTo>
                    <a:lnTo>
                      <a:pt x="1492" y="508"/>
                    </a:lnTo>
                    <a:cubicBezTo>
                      <a:pt x="1492" y="506"/>
                      <a:pt x="1493" y="505"/>
                      <a:pt x="1493" y="504"/>
                    </a:cubicBezTo>
                    <a:cubicBezTo>
                      <a:pt x="1494" y="503"/>
                      <a:pt x="1495" y="503"/>
                      <a:pt x="1497" y="502"/>
                    </a:cubicBezTo>
                    <a:cubicBezTo>
                      <a:pt x="1498" y="501"/>
                      <a:pt x="1500" y="501"/>
                      <a:pt x="1503" y="500"/>
                    </a:cubicBezTo>
                    <a:cubicBezTo>
                      <a:pt x="1506" y="500"/>
                      <a:pt x="1509" y="500"/>
                      <a:pt x="1513" y="500"/>
                    </a:cubicBezTo>
                    <a:cubicBezTo>
                      <a:pt x="1517" y="500"/>
                      <a:pt x="1520" y="500"/>
                      <a:pt x="1523" y="500"/>
                    </a:cubicBezTo>
                    <a:cubicBezTo>
                      <a:pt x="1526" y="501"/>
                      <a:pt x="1528" y="501"/>
                      <a:pt x="1529" y="502"/>
                    </a:cubicBezTo>
                    <a:cubicBezTo>
                      <a:pt x="1531" y="503"/>
                      <a:pt x="1532" y="503"/>
                      <a:pt x="1532" y="504"/>
                    </a:cubicBezTo>
                    <a:cubicBezTo>
                      <a:pt x="1533" y="505"/>
                      <a:pt x="1533" y="506"/>
                      <a:pt x="1533" y="508"/>
                    </a:cubicBezTo>
                    <a:lnTo>
                      <a:pt x="1533" y="599"/>
                    </a:lnTo>
                    <a:lnTo>
                      <a:pt x="1647" y="599"/>
                    </a:lnTo>
                    <a:lnTo>
                      <a:pt x="1647" y="508"/>
                    </a:lnTo>
                    <a:cubicBezTo>
                      <a:pt x="1647" y="506"/>
                      <a:pt x="1648" y="505"/>
                      <a:pt x="1648" y="504"/>
                    </a:cubicBezTo>
                    <a:cubicBezTo>
                      <a:pt x="1649" y="503"/>
                      <a:pt x="1650" y="503"/>
                      <a:pt x="1652" y="502"/>
                    </a:cubicBezTo>
                    <a:cubicBezTo>
                      <a:pt x="1653" y="501"/>
                      <a:pt x="1655" y="501"/>
                      <a:pt x="1658" y="500"/>
                    </a:cubicBezTo>
                    <a:cubicBezTo>
                      <a:pt x="1661" y="500"/>
                      <a:pt x="1664" y="500"/>
                      <a:pt x="1668" y="500"/>
                    </a:cubicBezTo>
                    <a:cubicBezTo>
                      <a:pt x="1672" y="500"/>
                      <a:pt x="1675" y="500"/>
                      <a:pt x="1678" y="500"/>
                    </a:cubicBezTo>
                    <a:cubicBezTo>
                      <a:pt x="1681" y="501"/>
                      <a:pt x="1683" y="501"/>
                      <a:pt x="1684" y="502"/>
                    </a:cubicBezTo>
                    <a:cubicBezTo>
                      <a:pt x="1686" y="503"/>
                      <a:pt x="1687" y="503"/>
                      <a:pt x="1687" y="504"/>
                    </a:cubicBezTo>
                    <a:cubicBezTo>
                      <a:pt x="1688" y="505"/>
                      <a:pt x="1688" y="506"/>
                      <a:pt x="1688" y="508"/>
                    </a:cubicBezTo>
                    <a:lnTo>
                      <a:pt x="1688" y="731"/>
                    </a:lnTo>
                    <a:close/>
                    <a:moveTo>
                      <a:pt x="1972" y="617"/>
                    </a:moveTo>
                    <a:cubicBezTo>
                      <a:pt x="1972" y="635"/>
                      <a:pt x="1970" y="652"/>
                      <a:pt x="1965" y="667"/>
                    </a:cubicBezTo>
                    <a:cubicBezTo>
                      <a:pt x="1960" y="683"/>
                      <a:pt x="1953" y="696"/>
                      <a:pt x="1944" y="707"/>
                    </a:cubicBezTo>
                    <a:cubicBezTo>
                      <a:pt x="1934" y="718"/>
                      <a:pt x="1922" y="727"/>
                      <a:pt x="1908" y="733"/>
                    </a:cubicBezTo>
                    <a:cubicBezTo>
                      <a:pt x="1894" y="739"/>
                      <a:pt x="1877" y="742"/>
                      <a:pt x="1858" y="742"/>
                    </a:cubicBezTo>
                    <a:cubicBezTo>
                      <a:pt x="1840" y="742"/>
                      <a:pt x="1824" y="739"/>
                      <a:pt x="1810" y="734"/>
                    </a:cubicBezTo>
                    <a:cubicBezTo>
                      <a:pt x="1796" y="729"/>
                      <a:pt x="1785" y="721"/>
                      <a:pt x="1776" y="710"/>
                    </a:cubicBezTo>
                    <a:cubicBezTo>
                      <a:pt x="1767" y="700"/>
                      <a:pt x="1760" y="687"/>
                      <a:pt x="1756" y="672"/>
                    </a:cubicBezTo>
                    <a:cubicBezTo>
                      <a:pt x="1751" y="657"/>
                      <a:pt x="1749" y="640"/>
                      <a:pt x="1749" y="621"/>
                    </a:cubicBezTo>
                    <a:cubicBezTo>
                      <a:pt x="1749" y="603"/>
                      <a:pt x="1751" y="586"/>
                      <a:pt x="1756" y="571"/>
                    </a:cubicBezTo>
                    <a:cubicBezTo>
                      <a:pt x="1761" y="556"/>
                      <a:pt x="1768" y="543"/>
                      <a:pt x="1777" y="532"/>
                    </a:cubicBezTo>
                    <a:cubicBezTo>
                      <a:pt x="1787" y="520"/>
                      <a:pt x="1799" y="512"/>
                      <a:pt x="1813" y="506"/>
                    </a:cubicBezTo>
                    <a:cubicBezTo>
                      <a:pt x="1827" y="500"/>
                      <a:pt x="1844" y="497"/>
                      <a:pt x="1863" y="497"/>
                    </a:cubicBezTo>
                    <a:cubicBezTo>
                      <a:pt x="1881" y="497"/>
                      <a:pt x="1897" y="499"/>
                      <a:pt x="1911" y="505"/>
                    </a:cubicBezTo>
                    <a:cubicBezTo>
                      <a:pt x="1925" y="510"/>
                      <a:pt x="1936" y="518"/>
                      <a:pt x="1945" y="529"/>
                    </a:cubicBezTo>
                    <a:cubicBezTo>
                      <a:pt x="1954" y="539"/>
                      <a:pt x="1961" y="552"/>
                      <a:pt x="1966" y="567"/>
                    </a:cubicBezTo>
                    <a:cubicBezTo>
                      <a:pt x="1970" y="581"/>
                      <a:pt x="1972" y="598"/>
                      <a:pt x="1972" y="617"/>
                    </a:cubicBezTo>
                    <a:close/>
                    <a:moveTo>
                      <a:pt x="1929" y="620"/>
                    </a:moveTo>
                    <a:cubicBezTo>
                      <a:pt x="1929" y="608"/>
                      <a:pt x="1928" y="596"/>
                      <a:pt x="1926" y="585"/>
                    </a:cubicBezTo>
                    <a:cubicBezTo>
                      <a:pt x="1924" y="575"/>
                      <a:pt x="1920" y="565"/>
                      <a:pt x="1915" y="557"/>
                    </a:cubicBezTo>
                    <a:cubicBezTo>
                      <a:pt x="1910" y="549"/>
                      <a:pt x="1903" y="543"/>
                      <a:pt x="1894" y="538"/>
                    </a:cubicBezTo>
                    <a:cubicBezTo>
                      <a:pt x="1885" y="533"/>
                      <a:pt x="1874" y="531"/>
                      <a:pt x="1861" y="531"/>
                    </a:cubicBezTo>
                    <a:cubicBezTo>
                      <a:pt x="1849" y="531"/>
                      <a:pt x="1839" y="533"/>
                      <a:pt x="1830" y="537"/>
                    </a:cubicBezTo>
                    <a:cubicBezTo>
                      <a:pt x="1821" y="542"/>
                      <a:pt x="1814" y="548"/>
                      <a:pt x="1808" y="556"/>
                    </a:cubicBezTo>
                    <a:cubicBezTo>
                      <a:pt x="1803" y="563"/>
                      <a:pt x="1799" y="573"/>
                      <a:pt x="1796" y="584"/>
                    </a:cubicBezTo>
                    <a:cubicBezTo>
                      <a:pt x="1793" y="594"/>
                      <a:pt x="1792" y="606"/>
                      <a:pt x="1792" y="619"/>
                    </a:cubicBezTo>
                    <a:cubicBezTo>
                      <a:pt x="1792" y="631"/>
                      <a:pt x="1793" y="643"/>
                      <a:pt x="1795" y="653"/>
                    </a:cubicBezTo>
                    <a:cubicBezTo>
                      <a:pt x="1797" y="664"/>
                      <a:pt x="1801" y="673"/>
                      <a:pt x="1806" y="681"/>
                    </a:cubicBezTo>
                    <a:cubicBezTo>
                      <a:pt x="1812" y="690"/>
                      <a:pt x="1819" y="696"/>
                      <a:pt x="1827" y="701"/>
                    </a:cubicBezTo>
                    <a:cubicBezTo>
                      <a:pt x="1836" y="705"/>
                      <a:pt x="1847" y="708"/>
                      <a:pt x="1860" y="708"/>
                    </a:cubicBezTo>
                    <a:cubicBezTo>
                      <a:pt x="1872" y="708"/>
                      <a:pt x="1882" y="706"/>
                      <a:pt x="1891" y="701"/>
                    </a:cubicBezTo>
                    <a:cubicBezTo>
                      <a:pt x="1900" y="697"/>
                      <a:pt x="1907" y="691"/>
                      <a:pt x="1913" y="683"/>
                    </a:cubicBezTo>
                    <a:cubicBezTo>
                      <a:pt x="1918" y="675"/>
                      <a:pt x="1923" y="666"/>
                      <a:pt x="1925" y="655"/>
                    </a:cubicBezTo>
                    <a:cubicBezTo>
                      <a:pt x="1928" y="644"/>
                      <a:pt x="1929" y="633"/>
                      <a:pt x="1929" y="620"/>
                    </a:cubicBezTo>
                    <a:close/>
                    <a:moveTo>
                      <a:pt x="2194" y="697"/>
                    </a:moveTo>
                    <a:cubicBezTo>
                      <a:pt x="2194" y="700"/>
                      <a:pt x="2193" y="702"/>
                      <a:pt x="2193" y="705"/>
                    </a:cubicBezTo>
                    <a:cubicBezTo>
                      <a:pt x="2193" y="707"/>
                      <a:pt x="2193" y="708"/>
                      <a:pt x="2192" y="710"/>
                    </a:cubicBezTo>
                    <a:cubicBezTo>
                      <a:pt x="2192" y="711"/>
                      <a:pt x="2192" y="712"/>
                      <a:pt x="2191" y="714"/>
                    </a:cubicBezTo>
                    <a:cubicBezTo>
                      <a:pt x="2190" y="715"/>
                      <a:pt x="2189" y="716"/>
                      <a:pt x="2187" y="718"/>
                    </a:cubicBezTo>
                    <a:cubicBezTo>
                      <a:pt x="2185" y="720"/>
                      <a:pt x="2181" y="723"/>
                      <a:pt x="2176" y="726"/>
                    </a:cubicBezTo>
                    <a:cubicBezTo>
                      <a:pt x="2171" y="729"/>
                      <a:pt x="2166" y="732"/>
                      <a:pt x="2160" y="734"/>
                    </a:cubicBezTo>
                    <a:cubicBezTo>
                      <a:pt x="2153" y="737"/>
                      <a:pt x="2147" y="739"/>
                      <a:pt x="2139" y="740"/>
                    </a:cubicBezTo>
                    <a:cubicBezTo>
                      <a:pt x="2132" y="741"/>
                      <a:pt x="2125" y="742"/>
                      <a:pt x="2117" y="742"/>
                    </a:cubicBezTo>
                    <a:cubicBezTo>
                      <a:pt x="2101" y="742"/>
                      <a:pt x="2086" y="740"/>
                      <a:pt x="2074" y="734"/>
                    </a:cubicBezTo>
                    <a:cubicBezTo>
                      <a:pt x="2062" y="729"/>
                      <a:pt x="2051" y="721"/>
                      <a:pt x="2043" y="711"/>
                    </a:cubicBezTo>
                    <a:cubicBezTo>
                      <a:pt x="2034" y="701"/>
                      <a:pt x="2028" y="688"/>
                      <a:pt x="2024" y="674"/>
                    </a:cubicBezTo>
                    <a:cubicBezTo>
                      <a:pt x="2019" y="659"/>
                      <a:pt x="2017" y="642"/>
                      <a:pt x="2017" y="622"/>
                    </a:cubicBezTo>
                    <a:cubicBezTo>
                      <a:pt x="2017" y="600"/>
                      <a:pt x="2020" y="581"/>
                      <a:pt x="2025" y="565"/>
                    </a:cubicBezTo>
                    <a:cubicBezTo>
                      <a:pt x="2031" y="550"/>
                      <a:pt x="2038" y="537"/>
                      <a:pt x="2047" y="527"/>
                    </a:cubicBezTo>
                    <a:cubicBezTo>
                      <a:pt x="2057" y="517"/>
                      <a:pt x="2068" y="509"/>
                      <a:pt x="2080" y="504"/>
                    </a:cubicBezTo>
                    <a:cubicBezTo>
                      <a:pt x="2093" y="499"/>
                      <a:pt x="2107" y="497"/>
                      <a:pt x="2121" y="497"/>
                    </a:cubicBezTo>
                    <a:cubicBezTo>
                      <a:pt x="2129" y="497"/>
                      <a:pt x="2136" y="497"/>
                      <a:pt x="2142" y="499"/>
                    </a:cubicBezTo>
                    <a:cubicBezTo>
                      <a:pt x="2149" y="500"/>
                      <a:pt x="2155" y="502"/>
                      <a:pt x="2161" y="504"/>
                    </a:cubicBezTo>
                    <a:cubicBezTo>
                      <a:pt x="2166" y="506"/>
                      <a:pt x="2171" y="509"/>
                      <a:pt x="2176" y="511"/>
                    </a:cubicBezTo>
                    <a:cubicBezTo>
                      <a:pt x="2180" y="514"/>
                      <a:pt x="2183" y="517"/>
                      <a:pt x="2185" y="519"/>
                    </a:cubicBezTo>
                    <a:cubicBezTo>
                      <a:pt x="2187" y="521"/>
                      <a:pt x="2189" y="522"/>
                      <a:pt x="2189" y="523"/>
                    </a:cubicBezTo>
                    <a:cubicBezTo>
                      <a:pt x="2190" y="524"/>
                      <a:pt x="2191" y="526"/>
                      <a:pt x="2191" y="527"/>
                    </a:cubicBezTo>
                    <a:cubicBezTo>
                      <a:pt x="2192" y="529"/>
                      <a:pt x="2192" y="531"/>
                      <a:pt x="2192" y="533"/>
                    </a:cubicBezTo>
                    <a:cubicBezTo>
                      <a:pt x="2192" y="535"/>
                      <a:pt x="2193" y="537"/>
                      <a:pt x="2193" y="540"/>
                    </a:cubicBezTo>
                    <a:cubicBezTo>
                      <a:pt x="2193" y="547"/>
                      <a:pt x="2192" y="551"/>
                      <a:pt x="2190" y="554"/>
                    </a:cubicBezTo>
                    <a:cubicBezTo>
                      <a:pt x="2189" y="556"/>
                      <a:pt x="2187" y="558"/>
                      <a:pt x="2185" y="558"/>
                    </a:cubicBezTo>
                    <a:cubicBezTo>
                      <a:pt x="2182" y="558"/>
                      <a:pt x="2179" y="556"/>
                      <a:pt x="2176" y="554"/>
                    </a:cubicBezTo>
                    <a:cubicBezTo>
                      <a:pt x="2173" y="551"/>
                      <a:pt x="2169" y="548"/>
                      <a:pt x="2164" y="545"/>
                    </a:cubicBezTo>
                    <a:cubicBezTo>
                      <a:pt x="2159" y="541"/>
                      <a:pt x="2153" y="538"/>
                      <a:pt x="2146" y="535"/>
                    </a:cubicBezTo>
                    <a:cubicBezTo>
                      <a:pt x="2139" y="533"/>
                      <a:pt x="2131" y="531"/>
                      <a:pt x="2121" y="531"/>
                    </a:cubicBezTo>
                    <a:cubicBezTo>
                      <a:pt x="2101" y="531"/>
                      <a:pt x="2086" y="539"/>
                      <a:pt x="2076" y="554"/>
                    </a:cubicBezTo>
                    <a:cubicBezTo>
                      <a:pt x="2065" y="569"/>
                      <a:pt x="2060" y="591"/>
                      <a:pt x="2060" y="620"/>
                    </a:cubicBezTo>
                    <a:cubicBezTo>
                      <a:pt x="2060" y="634"/>
                      <a:pt x="2061" y="647"/>
                      <a:pt x="2064" y="658"/>
                    </a:cubicBezTo>
                    <a:cubicBezTo>
                      <a:pt x="2067" y="669"/>
                      <a:pt x="2071" y="678"/>
                      <a:pt x="2076" y="685"/>
                    </a:cubicBezTo>
                    <a:cubicBezTo>
                      <a:pt x="2081" y="692"/>
                      <a:pt x="2088" y="698"/>
                      <a:pt x="2096" y="701"/>
                    </a:cubicBezTo>
                    <a:cubicBezTo>
                      <a:pt x="2103" y="705"/>
                      <a:pt x="2112" y="707"/>
                      <a:pt x="2122" y="707"/>
                    </a:cubicBezTo>
                    <a:cubicBezTo>
                      <a:pt x="2131" y="707"/>
                      <a:pt x="2140" y="705"/>
                      <a:pt x="2147" y="702"/>
                    </a:cubicBezTo>
                    <a:cubicBezTo>
                      <a:pt x="2154" y="699"/>
                      <a:pt x="2160" y="696"/>
                      <a:pt x="2165" y="692"/>
                    </a:cubicBezTo>
                    <a:cubicBezTo>
                      <a:pt x="2171" y="689"/>
                      <a:pt x="2175" y="686"/>
                      <a:pt x="2179" y="683"/>
                    </a:cubicBezTo>
                    <a:cubicBezTo>
                      <a:pt x="2182" y="680"/>
                      <a:pt x="2185" y="678"/>
                      <a:pt x="2187" y="678"/>
                    </a:cubicBezTo>
                    <a:cubicBezTo>
                      <a:pt x="2188" y="678"/>
                      <a:pt x="2189" y="679"/>
                      <a:pt x="2190" y="679"/>
                    </a:cubicBezTo>
                    <a:cubicBezTo>
                      <a:pt x="2191" y="680"/>
                      <a:pt x="2191" y="681"/>
                      <a:pt x="2192" y="683"/>
                    </a:cubicBezTo>
                    <a:cubicBezTo>
                      <a:pt x="2193" y="684"/>
                      <a:pt x="2193" y="686"/>
                      <a:pt x="2193" y="689"/>
                    </a:cubicBezTo>
                    <a:cubicBezTo>
                      <a:pt x="2193" y="691"/>
                      <a:pt x="2194" y="694"/>
                      <a:pt x="2194" y="697"/>
                    </a:cubicBezTo>
                    <a:close/>
                    <a:moveTo>
                      <a:pt x="2404" y="520"/>
                    </a:moveTo>
                    <a:cubicBezTo>
                      <a:pt x="2404" y="523"/>
                      <a:pt x="2404" y="526"/>
                      <a:pt x="2404" y="528"/>
                    </a:cubicBezTo>
                    <a:cubicBezTo>
                      <a:pt x="2404" y="531"/>
                      <a:pt x="2403" y="533"/>
                      <a:pt x="2402" y="534"/>
                    </a:cubicBezTo>
                    <a:cubicBezTo>
                      <a:pt x="2402" y="536"/>
                      <a:pt x="2401" y="537"/>
                      <a:pt x="2400" y="537"/>
                    </a:cubicBezTo>
                    <a:cubicBezTo>
                      <a:pt x="2399" y="538"/>
                      <a:pt x="2397" y="538"/>
                      <a:pt x="2396" y="538"/>
                    </a:cubicBezTo>
                    <a:lnTo>
                      <a:pt x="2329" y="538"/>
                    </a:lnTo>
                    <a:lnTo>
                      <a:pt x="2329" y="731"/>
                    </a:lnTo>
                    <a:cubicBezTo>
                      <a:pt x="2329" y="733"/>
                      <a:pt x="2329" y="734"/>
                      <a:pt x="2328" y="735"/>
                    </a:cubicBezTo>
                    <a:cubicBezTo>
                      <a:pt x="2327" y="736"/>
                      <a:pt x="2326" y="736"/>
                      <a:pt x="2325" y="737"/>
                    </a:cubicBezTo>
                    <a:cubicBezTo>
                      <a:pt x="2323" y="738"/>
                      <a:pt x="2321" y="738"/>
                      <a:pt x="2318" y="739"/>
                    </a:cubicBezTo>
                    <a:cubicBezTo>
                      <a:pt x="2316" y="739"/>
                      <a:pt x="2312" y="739"/>
                      <a:pt x="2308" y="739"/>
                    </a:cubicBezTo>
                    <a:cubicBezTo>
                      <a:pt x="2304" y="739"/>
                      <a:pt x="2301" y="739"/>
                      <a:pt x="2298" y="739"/>
                    </a:cubicBezTo>
                    <a:cubicBezTo>
                      <a:pt x="2296" y="738"/>
                      <a:pt x="2294" y="738"/>
                      <a:pt x="2292" y="737"/>
                    </a:cubicBezTo>
                    <a:cubicBezTo>
                      <a:pt x="2290" y="736"/>
                      <a:pt x="2289" y="736"/>
                      <a:pt x="2289" y="735"/>
                    </a:cubicBezTo>
                    <a:cubicBezTo>
                      <a:pt x="2288" y="734"/>
                      <a:pt x="2288" y="733"/>
                      <a:pt x="2288" y="731"/>
                    </a:cubicBezTo>
                    <a:lnTo>
                      <a:pt x="2288" y="538"/>
                    </a:lnTo>
                    <a:lnTo>
                      <a:pt x="2221" y="538"/>
                    </a:lnTo>
                    <a:cubicBezTo>
                      <a:pt x="2219" y="538"/>
                      <a:pt x="2218" y="538"/>
                      <a:pt x="2217" y="537"/>
                    </a:cubicBezTo>
                    <a:cubicBezTo>
                      <a:pt x="2216" y="537"/>
                      <a:pt x="2215" y="536"/>
                      <a:pt x="2215" y="534"/>
                    </a:cubicBezTo>
                    <a:cubicBezTo>
                      <a:pt x="2214" y="533"/>
                      <a:pt x="2213" y="531"/>
                      <a:pt x="2213" y="528"/>
                    </a:cubicBezTo>
                    <a:cubicBezTo>
                      <a:pt x="2213" y="526"/>
                      <a:pt x="2212" y="523"/>
                      <a:pt x="2212" y="520"/>
                    </a:cubicBezTo>
                    <a:cubicBezTo>
                      <a:pt x="2212" y="517"/>
                      <a:pt x="2213" y="514"/>
                      <a:pt x="2213" y="512"/>
                    </a:cubicBezTo>
                    <a:cubicBezTo>
                      <a:pt x="2213" y="509"/>
                      <a:pt x="2214" y="507"/>
                      <a:pt x="2215" y="506"/>
                    </a:cubicBezTo>
                    <a:cubicBezTo>
                      <a:pt x="2216" y="504"/>
                      <a:pt x="2216" y="503"/>
                      <a:pt x="2217" y="502"/>
                    </a:cubicBezTo>
                    <a:cubicBezTo>
                      <a:pt x="2218" y="502"/>
                      <a:pt x="2219" y="501"/>
                      <a:pt x="2221" y="501"/>
                    </a:cubicBezTo>
                    <a:lnTo>
                      <a:pt x="2396" y="501"/>
                    </a:lnTo>
                    <a:cubicBezTo>
                      <a:pt x="2397" y="501"/>
                      <a:pt x="2399" y="502"/>
                      <a:pt x="2400" y="502"/>
                    </a:cubicBezTo>
                    <a:cubicBezTo>
                      <a:pt x="2401" y="503"/>
                      <a:pt x="2402" y="504"/>
                      <a:pt x="2402" y="506"/>
                    </a:cubicBezTo>
                    <a:cubicBezTo>
                      <a:pt x="2403" y="507"/>
                      <a:pt x="2403" y="509"/>
                      <a:pt x="2404" y="512"/>
                    </a:cubicBezTo>
                    <a:cubicBezTo>
                      <a:pt x="2404" y="514"/>
                      <a:pt x="2404" y="517"/>
                      <a:pt x="2404" y="520"/>
                    </a:cubicBezTo>
                    <a:close/>
                    <a:moveTo>
                      <a:pt x="2631" y="660"/>
                    </a:moveTo>
                    <a:cubicBezTo>
                      <a:pt x="2631" y="672"/>
                      <a:pt x="2628" y="682"/>
                      <a:pt x="2624" y="692"/>
                    </a:cubicBezTo>
                    <a:cubicBezTo>
                      <a:pt x="2620" y="702"/>
                      <a:pt x="2613" y="711"/>
                      <a:pt x="2604" y="718"/>
                    </a:cubicBezTo>
                    <a:cubicBezTo>
                      <a:pt x="2596" y="725"/>
                      <a:pt x="2584" y="731"/>
                      <a:pt x="2570" y="735"/>
                    </a:cubicBezTo>
                    <a:cubicBezTo>
                      <a:pt x="2556" y="740"/>
                      <a:pt x="2540" y="742"/>
                      <a:pt x="2520" y="742"/>
                    </a:cubicBezTo>
                    <a:cubicBezTo>
                      <a:pt x="2516" y="742"/>
                      <a:pt x="2511" y="742"/>
                      <a:pt x="2506" y="742"/>
                    </a:cubicBezTo>
                    <a:cubicBezTo>
                      <a:pt x="2501" y="741"/>
                      <a:pt x="2497" y="741"/>
                      <a:pt x="2492" y="741"/>
                    </a:cubicBezTo>
                    <a:cubicBezTo>
                      <a:pt x="2487" y="741"/>
                      <a:pt x="2483" y="741"/>
                      <a:pt x="2478" y="740"/>
                    </a:cubicBezTo>
                    <a:cubicBezTo>
                      <a:pt x="2474" y="740"/>
                      <a:pt x="2470" y="739"/>
                      <a:pt x="2465" y="739"/>
                    </a:cubicBezTo>
                    <a:cubicBezTo>
                      <a:pt x="2458" y="738"/>
                      <a:pt x="2453" y="736"/>
                      <a:pt x="2450" y="732"/>
                    </a:cubicBezTo>
                    <a:cubicBezTo>
                      <a:pt x="2447" y="729"/>
                      <a:pt x="2445" y="723"/>
                      <a:pt x="2445" y="716"/>
                    </a:cubicBezTo>
                    <a:lnTo>
                      <a:pt x="2445" y="508"/>
                    </a:lnTo>
                    <a:cubicBezTo>
                      <a:pt x="2445" y="506"/>
                      <a:pt x="2445" y="505"/>
                      <a:pt x="2446" y="504"/>
                    </a:cubicBezTo>
                    <a:cubicBezTo>
                      <a:pt x="2446" y="503"/>
                      <a:pt x="2447" y="503"/>
                      <a:pt x="2449" y="502"/>
                    </a:cubicBezTo>
                    <a:cubicBezTo>
                      <a:pt x="2451" y="501"/>
                      <a:pt x="2453" y="501"/>
                      <a:pt x="2455" y="500"/>
                    </a:cubicBezTo>
                    <a:cubicBezTo>
                      <a:pt x="2458" y="500"/>
                      <a:pt x="2461" y="500"/>
                      <a:pt x="2465" y="500"/>
                    </a:cubicBezTo>
                    <a:cubicBezTo>
                      <a:pt x="2469" y="500"/>
                      <a:pt x="2473" y="500"/>
                      <a:pt x="2475" y="500"/>
                    </a:cubicBezTo>
                    <a:cubicBezTo>
                      <a:pt x="2478" y="501"/>
                      <a:pt x="2480" y="501"/>
                      <a:pt x="2482" y="502"/>
                    </a:cubicBezTo>
                    <a:cubicBezTo>
                      <a:pt x="2483" y="503"/>
                      <a:pt x="2484" y="503"/>
                      <a:pt x="2485" y="504"/>
                    </a:cubicBezTo>
                    <a:cubicBezTo>
                      <a:pt x="2486" y="505"/>
                      <a:pt x="2486" y="506"/>
                      <a:pt x="2486" y="508"/>
                    </a:cubicBezTo>
                    <a:lnTo>
                      <a:pt x="2486" y="586"/>
                    </a:lnTo>
                    <a:cubicBezTo>
                      <a:pt x="2492" y="586"/>
                      <a:pt x="2499" y="586"/>
                      <a:pt x="2506" y="585"/>
                    </a:cubicBezTo>
                    <a:cubicBezTo>
                      <a:pt x="2513" y="585"/>
                      <a:pt x="2520" y="585"/>
                      <a:pt x="2528" y="585"/>
                    </a:cubicBezTo>
                    <a:cubicBezTo>
                      <a:pt x="2546" y="585"/>
                      <a:pt x="2561" y="587"/>
                      <a:pt x="2574" y="590"/>
                    </a:cubicBezTo>
                    <a:cubicBezTo>
                      <a:pt x="2587" y="594"/>
                      <a:pt x="2598" y="599"/>
                      <a:pt x="2606" y="606"/>
                    </a:cubicBezTo>
                    <a:cubicBezTo>
                      <a:pt x="2614" y="612"/>
                      <a:pt x="2621" y="620"/>
                      <a:pt x="2624" y="629"/>
                    </a:cubicBezTo>
                    <a:cubicBezTo>
                      <a:pt x="2628" y="639"/>
                      <a:pt x="2631" y="649"/>
                      <a:pt x="2631" y="660"/>
                    </a:cubicBezTo>
                    <a:close/>
                    <a:moveTo>
                      <a:pt x="2587" y="663"/>
                    </a:moveTo>
                    <a:cubicBezTo>
                      <a:pt x="2587" y="656"/>
                      <a:pt x="2586" y="650"/>
                      <a:pt x="2584" y="644"/>
                    </a:cubicBezTo>
                    <a:cubicBezTo>
                      <a:pt x="2582" y="639"/>
                      <a:pt x="2578" y="634"/>
                      <a:pt x="2573" y="630"/>
                    </a:cubicBezTo>
                    <a:cubicBezTo>
                      <a:pt x="2568" y="626"/>
                      <a:pt x="2562" y="623"/>
                      <a:pt x="2554" y="621"/>
                    </a:cubicBezTo>
                    <a:cubicBezTo>
                      <a:pt x="2546" y="619"/>
                      <a:pt x="2536" y="618"/>
                      <a:pt x="2525" y="618"/>
                    </a:cubicBezTo>
                    <a:cubicBezTo>
                      <a:pt x="2518" y="618"/>
                      <a:pt x="2511" y="618"/>
                      <a:pt x="2504" y="619"/>
                    </a:cubicBezTo>
                    <a:cubicBezTo>
                      <a:pt x="2497" y="619"/>
                      <a:pt x="2491" y="619"/>
                      <a:pt x="2486" y="620"/>
                    </a:cubicBezTo>
                    <a:lnTo>
                      <a:pt x="2486" y="706"/>
                    </a:lnTo>
                    <a:cubicBezTo>
                      <a:pt x="2492" y="707"/>
                      <a:pt x="2498" y="707"/>
                      <a:pt x="2504" y="708"/>
                    </a:cubicBezTo>
                    <a:cubicBezTo>
                      <a:pt x="2511" y="708"/>
                      <a:pt x="2518" y="708"/>
                      <a:pt x="2527" y="708"/>
                    </a:cubicBezTo>
                    <a:cubicBezTo>
                      <a:pt x="2547" y="708"/>
                      <a:pt x="2562" y="704"/>
                      <a:pt x="2572" y="696"/>
                    </a:cubicBezTo>
                    <a:cubicBezTo>
                      <a:pt x="2582" y="688"/>
                      <a:pt x="2587" y="677"/>
                      <a:pt x="2587" y="663"/>
                    </a:cubicBez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5" name="Freeform 1467"/>
              <p:cNvSpPr>
                <a:spLocks/>
              </p:cNvSpPr>
              <p:nvPr/>
            </p:nvSpPr>
            <p:spPr bwMode="auto">
              <a:xfrm>
                <a:off x="577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6" name="Rectangle 1468"/>
              <p:cNvSpPr>
                <a:spLocks noChangeArrowheads="1"/>
              </p:cNvSpPr>
              <p:nvPr/>
            </p:nvSpPr>
            <p:spPr bwMode="auto">
              <a:xfrm>
                <a:off x="577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7" name="Freeform 1469"/>
              <p:cNvSpPr>
                <a:spLocks/>
              </p:cNvSpPr>
              <p:nvPr/>
            </p:nvSpPr>
            <p:spPr bwMode="auto">
              <a:xfrm>
                <a:off x="578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8" name="Freeform 1470"/>
              <p:cNvSpPr>
                <a:spLocks/>
              </p:cNvSpPr>
              <p:nvPr/>
            </p:nvSpPr>
            <p:spPr bwMode="auto">
              <a:xfrm>
                <a:off x="5798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19" name="Rectangle 1471"/>
              <p:cNvSpPr>
                <a:spLocks noChangeArrowheads="1"/>
              </p:cNvSpPr>
              <p:nvPr/>
            </p:nvSpPr>
            <p:spPr bwMode="auto">
              <a:xfrm>
                <a:off x="5799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0" name="Freeform 1472"/>
              <p:cNvSpPr>
                <a:spLocks/>
              </p:cNvSpPr>
              <p:nvPr/>
            </p:nvSpPr>
            <p:spPr bwMode="auto">
              <a:xfrm>
                <a:off x="5817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1" name="Freeform 1473"/>
              <p:cNvSpPr>
                <a:spLocks/>
              </p:cNvSpPr>
              <p:nvPr/>
            </p:nvSpPr>
            <p:spPr bwMode="auto">
              <a:xfrm>
                <a:off x="582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2" name="Rectangle 1474"/>
              <p:cNvSpPr>
                <a:spLocks noChangeArrowheads="1"/>
              </p:cNvSpPr>
              <p:nvPr/>
            </p:nvSpPr>
            <p:spPr bwMode="auto">
              <a:xfrm>
                <a:off x="582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3" name="Freeform 1475"/>
              <p:cNvSpPr>
                <a:spLocks/>
              </p:cNvSpPr>
              <p:nvPr/>
            </p:nvSpPr>
            <p:spPr bwMode="auto">
              <a:xfrm>
                <a:off x="584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4" name="Freeform 1476"/>
              <p:cNvSpPr>
                <a:spLocks/>
              </p:cNvSpPr>
              <p:nvPr/>
            </p:nvSpPr>
            <p:spPr bwMode="auto">
              <a:xfrm>
                <a:off x="5853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5" name="Rectangle 1477"/>
              <p:cNvSpPr>
                <a:spLocks noChangeArrowheads="1"/>
              </p:cNvSpPr>
              <p:nvPr/>
            </p:nvSpPr>
            <p:spPr bwMode="auto">
              <a:xfrm>
                <a:off x="5854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6" name="Freeform 1478"/>
              <p:cNvSpPr>
                <a:spLocks/>
              </p:cNvSpPr>
              <p:nvPr/>
            </p:nvSpPr>
            <p:spPr bwMode="auto">
              <a:xfrm>
                <a:off x="5872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7" name="Freeform 1479"/>
              <p:cNvSpPr>
                <a:spLocks/>
              </p:cNvSpPr>
              <p:nvPr/>
            </p:nvSpPr>
            <p:spPr bwMode="auto">
              <a:xfrm>
                <a:off x="588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8" name="Rectangle 1480"/>
              <p:cNvSpPr>
                <a:spLocks noChangeArrowheads="1"/>
              </p:cNvSpPr>
              <p:nvPr/>
            </p:nvSpPr>
            <p:spPr bwMode="auto">
              <a:xfrm>
                <a:off x="588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29" name="Freeform 1481"/>
              <p:cNvSpPr>
                <a:spLocks/>
              </p:cNvSpPr>
              <p:nvPr/>
            </p:nvSpPr>
            <p:spPr bwMode="auto">
              <a:xfrm>
                <a:off x="589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0" name="Freeform 1482"/>
              <p:cNvSpPr>
                <a:spLocks/>
              </p:cNvSpPr>
              <p:nvPr/>
            </p:nvSpPr>
            <p:spPr bwMode="auto">
              <a:xfrm>
                <a:off x="590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1" name="Rectangle 1483"/>
              <p:cNvSpPr>
                <a:spLocks noChangeArrowheads="1"/>
              </p:cNvSpPr>
              <p:nvPr/>
            </p:nvSpPr>
            <p:spPr bwMode="auto">
              <a:xfrm>
                <a:off x="590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2" name="Freeform 1484"/>
              <p:cNvSpPr>
                <a:spLocks/>
              </p:cNvSpPr>
              <p:nvPr/>
            </p:nvSpPr>
            <p:spPr bwMode="auto">
              <a:xfrm>
                <a:off x="592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3" name="Freeform 1485"/>
              <p:cNvSpPr>
                <a:spLocks/>
              </p:cNvSpPr>
              <p:nvPr/>
            </p:nvSpPr>
            <p:spPr bwMode="auto">
              <a:xfrm>
                <a:off x="593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4" name="Rectangle 1486"/>
              <p:cNvSpPr>
                <a:spLocks noChangeArrowheads="1"/>
              </p:cNvSpPr>
              <p:nvPr/>
            </p:nvSpPr>
            <p:spPr bwMode="auto">
              <a:xfrm>
                <a:off x="593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5" name="Freeform 1487"/>
              <p:cNvSpPr>
                <a:spLocks/>
              </p:cNvSpPr>
              <p:nvPr/>
            </p:nvSpPr>
            <p:spPr bwMode="auto">
              <a:xfrm>
                <a:off x="5954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6" name="Freeform 1488"/>
              <p:cNvSpPr>
                <a:spLocks/>
              </p:cNvSpPr>
              <p:nvPr/>
            </p:nvSpPr>
            <p:spPr bwMode="auto">
              <a:xfrm>
                <a:off x="596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7" name="Rectangle 1489"/>
              <p:cNvSpPr>
                <a:spLocks noChangeArrowheads="1"/>
              </p:cNvSpPr>
              <p:nvPr/>
            </p:nvSpPr>
            <p:spPr bwMode="auto">
              <a:xfrm>
                <a:off x="596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8" name="Freeform 1490"/>
              <p:cNvSpPr>
                <a:spLocks/>
              </p:cNvSpPr>
              <p:nvPr/>
            </p:nvSpPr>
            <p:spPr bwMode="auto">
              <a:xfrm>
                <a:off x="598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39" name="Freeform 1491"/>
              <p:cNvSpPr>
                <a:spLocks/>
              </p:cNvSpPr>
              <p:nvPr/>
            </p:nvSpPr>
            <p:spPr bwMode="auto">
              <a:xfrm>
                <a:off x="599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0" name="Rectangle 1492"/>
              <p:cNvSpPr>
                <a:spLocks noChangeArrowheads="1"/>
              </p:cNvSpPr>
              <p:nvPr/>
            </p:nvSpPr>
            <p:spPr bwMode="auto">
              <a:xfrm>
                <a:off x="599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1" name="Freeform 1493"/>
              <p:cNvSpPr>
                <a:spLocks/>
              </p:cNvSpPr>
              <p:nvPr/>
            </p:nvSpPr>
            <p:spPr bwMode="auto">
              <a:xfrm>
                <a:off x="6009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2" name="Freeform 1494"/>
              <p:cNvSpPr>
                <a:spLocks/>
              </p:cNvSpPr>
              <p:nvPr/>
            </p:nvSpPr>
            <p:spPr bwMode="auto">
              <a:xfrm>
                <a:off x="601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3" name="Rectangle 1495"/>
              <p:cNvSpPr>
                <a:spLocks noChangeArrowheads="1"/>
              </p:cNvSpPr>
              <p:nvPr/>
            </p:nvSpPr>
            <p:spPr bwMode="auto">
              <a:xfrm>
                <a:off x="601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4" name="Freeform 1496"/>
              <p:cNvSpPr>
                <a:spLocks/>
              </p:cNvSpPr>
              <p:nvPr/>
            </p:nvSpPr>
            <p:spPr bwMode="auto">
              <a:xfrm>
                <a:off x="603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5" name="Freeform 1497"/>
              <p:cNvSpPr>
                <a:spLocks/>
              </p:cNvSpPr>
              <p:nvPr/>
            </p:nvSpPr>
            <p:spPr bwMode="auto">
              <a:xfrm>
                <a:off x="6045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6" name="Rectangle 1498"/>
              <p:cNvSpPr>
                <a:spLocks noChangeArrowheads="1"/>
              </p:cNvSpPr>
              <p:nvPr/>
            </p:nvSpPr>
            <p:spPr bwMode="auto">
              <a:xfrm>
                <a:off x="6047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7" name="Freeform 1499"/>
              <p:cNvSpPr>
                <a:spLocks/>
              </p:cNvSpPr>
              <p:nvPr/>
            </p:nvSpPr>
            <p:spPr bwMode="auto">
              <a:xfrm>
                <a:off x="6064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8" name="Freeform 1500"/>
              <p:cNvSpPr>
                <a:spLocks/>
              </p:cNvSpPr>
              <p:nvPr/>
            </p:nvSpPr>
            <p:spPr bwMode="auto">
              <a:xfrm>
                <a:off x="607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49" name="Rectangle 1501"/>
              <p:cNvSpPr>
                <a:spLocks noChangeArrowheads="1"/>
              </p:cNvSpPr>
              <p:nvPr/>
            </p:nvSpPr>
            <p:spPr bwMode="auto">
              <a:xfrm>
                <a:off x="607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0" name="Freeform 1502"/>
              <p:cNvSpPr>
                <a:spLocks/>
              </p:cNvSpPr>
              <p:nvPr/>
            </p:nvSpPr>
            <p:spPr bwMode="auto">
              <a:xfrm>
                <a:off x="609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1" name="Freeform 1503"/>
              <p:cNvSpPr>
                <a:spLocks/>
              </p:cNvSpPr>
              <p:nvPr/>
            </p:nvSpPr>
            <p:spPr bwMode="auto">
              <a:xfrm>
                <a:off x="6100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2" name="Rectangle 1504"/>
              <p:cNvSpPr>
                <a:spLocks noChangeArrowheads="1"/>
              </p:cNvSpPr>
              <p:nvPr/>
            </p:nvSpPr>
            <p:spPr bwMode="auto">
              <a:xfrm>
                <a:off x="6102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3" name="Freeform 1505"/>
              <p:cNvSpPr>
                <a:spLocks/>
              </p:cNvSpPr>
              <p:nvPr/>
            </p:nvSpPr>
            <p:spPr bwMode="auto">
              <a:xfrm>
                <a:off x="6119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4" name="Freeform 1506"/>
              <p:cNvSpPr>
                <a:spLocks/>
              </p:cNvSpPr>
              <p:nvPr/>
            </p:nvSpPr>
            <p:spPr bwMode="auto">
              <a:xfrm>
                <a:off x="612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5" name="Rectangle 1507"/>
              <p:cNvSpPr>
                <a:spLocks noChangeArrowheads="1"/>
              </p:cNvSpPr>
              <p:nvPr/>
            </p:nvSpPr>
            <p:spPr bwMode="auto">
              <a:xfrm>
                <a:off x="612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6" name="Freeform 1508"/>
              <p:cNvSpPr>
                <a:spLocks/>
              </p:cNvSpPr>
              <p:nvPr/>
            </p:nvSpPr>
            <p:spPr bwMode="auto">
              <a:xfrm>
                <a:off x="614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7" name="Freeform 1509"/>
              <p:cNvSpPr>
                <a:spLocks/>
              </p:cNvSpPr>
              <p:nvPr/>
            </p:nvSpPr>
            <p:spPr bwMode="auto">
              <a:xfrm>
                <a:off x="6155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8" name="Rectangle 1510"/>
              <p:cNvSpPr>
                <a:spLocks noChangeArrowheads="1"/>
              </p:cNvSpPr>
              <p:nvPr/>
            </p:nvSpPr>
            <p:spPr bwMode="auto">
              <a:xfrm>
                <a:off x="6156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59" name="Freeform 1511"/>
              <p:cNvSpPr>
                <a:spLocks/>
              </p:cNvSpPr>
              <p:nvPr/>
            </p:nvSpPr>
            <p:spPr bwMode="auto">
              <a:xfrm>
                <a:off x="6174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0" name="Freeform 1512"/>
              <p:cNvSpPr>
                <a:spLocks/>
              </p:cNvSpPr>
              <p:nvPr/>
            </p:nvSpPr>
            <p:spPr bwMode="auto">
              <a:xfrm>
                <a:off x="618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1" name="Rectangle 1513"/>
              <p:cNvSpPr>
                <a:spLocks noChangeArrowheads="1"/>
              </p:cNvSpPr>
              <p:nvPr/>
            </p:nvSpPr>
            <p:spPr bwMode="auto">
              <a:xfrm>
                <a:off x="618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2" name="Freeform 1514"/>
              <p:cNvSpPr>
                <a:spLocks/>
              </p:cNvSpPr>
              <p:nvPr/>
            </p:nvSpPr>
            <p:spPr bwMode="auto">
              <a:xfrm>
                <a:off x="6201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3" name="Freeform 1515"/>
              <p:cNvSpPr>
                <a:spLocks/>
              </p:cNvSpPr>
              <p:nvPr/>
            </p:nvSpPr>
            <p:spPr bwMode="auto">
              <a:xfrm>
                <a:off x="6210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4" name="Rectangle 1516"/>
              <p:cNvSpPr>
                <a:spLocks noChangeArrowheads="1"/>
              </p:cNvSpPr>
              <p:nvPr/>
            </p:nvSpPr>
            <p:spPr bwMode="auto">
              <a:xfrm>
                <a:off x="6211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5" name="Freeform 1517"/>
              <p:cNvSpPr>
                <a:spLocks/>
              </p:cNvSpPr>
              <p:nvPr/>
            </p:nvSpPr>
            <p:spPr bwMode="auto">
              <a:xfrm>
                <a:off x="6229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6" name="Freeform 1518"/>
              <p:cNvSpPr>
                <a:spLocks/>
              </p:cNvSpPr>
              <p:nvPr/>
            </p:nvSpPr>
            <p:spPr bwMode="auto">
              <a:xfrm>
                <a:off x="623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7" name="Rectangle 1519"/>
              <p:cNvSpPr>
                <a:spLocks noChangeArrowheads="1"/>
              </p:cNvSpPr>
              <p:nvPr/>
            </p:nvSpPr>
            <p:spPr bwMode="auto">
              <a:xfrm>
                <a:off x="623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8" name="Freeform 1520"/>
              <p:cNvSpPr>
                <a:spLocks/>
              </p:cNvSpPr>
              <p:nvPr/>
            </p:nvSpPr>
            <p:spPr bwMode="auto">
              <a:xfrm>
                <a:off x="6256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69" name="Freeform 1521"/>
              <p:cNvSpPr>
                <a:spLocks/>
              </p:cNvSpPr>
              <p:nvPr/>
            </p:nvSpPr>
            <p:spPr bwMode="auto">
              <a:xfrm>
                <a:off x="626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0" name="Rectangle 1522"/>
              <p:cNvSpPr>
                <a:spLocks noChangeArrowheads="1"/>
              </p:cNvSpPr>
              <p:nvPr/>
            </p:nvSpPr>
            <p:spPr bwMode="auto">
              <a:xfrm>
                <a:off x="626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1" name="Freeform 1523"/>
              <p:cNvSpPr>
                <a:spLocks/>
              </p:cNvSpPr>
              <p:nvPr/>
            </p:nvSpPr>
            <p:spPr bwMode="auto">
              <a:xfrm>
                <a:off x="628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2" name="Freeform 1524"/>
              <p:cNvSpPr>
                <a:spLocks/>
              </p:cNvSpPr>
              <p:nvPr/>
            </p:nvSpPr>
            <p:spPr bwMode="auto">
              <a:xfrm>
                <a:off x="629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3" name="Rectangle 1525"/>
              <p:cNvSpPr>
                <a:spLocks noChangeArrowheads="1"/>
              </p:cNvSpPr>
              <p:nvPr/>
            </p:nvSpPr>
            <p:spPr bwMode="auto">
              <a:xfrm>
                <a:off x="629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4" name="Freeform 1526"/>
              <p:cNvSpPr>
                <a:spLocks/>
              </p:cNvSpPr>
              <p:nvPr/>
            </p:nvSpPr>
            <p:spPr bwMode="auto">
              <a:xfrm>
                <a:off x="6311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5" name="Freeform 1527"/>
              <p:cNvSpPr>
                <a:spLocks/>
              </p:cNvSpPr>
              <p:nvPr/>
            </p:nvSpPr>
            <p:spPr bwMode="auto">
              <a:xfrm>
                <a:off x="631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6" name="Rectangle 1528"/>
              <p:cNvSpPr>
                <a:spLocks noChangeArrowheads="1"/>
              </p:cNvSpPr>
              <p:nvPr/>
            </p:nvSpPr>
            <p:spPr bwMode="auto">
              <a:xfrm>
                <a:off x="632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7" name="Freeform 1529"/>
              <p:cNvSpPr>
                <a:spLocks/>
              </p:cNvSpPr>
              <p:nvPr/>
            </p:nvSpPr>
            <p:spPr bwMode="auto">
              <a:xfrm>
                <a:off x="633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8" name="Freeform 1530"/>
              <p:cNvSpPr>
                <a:spLocks/>
              </p:cNvSpPr>
              <p:nvPr/>
            </p:nvSpPr>
            <p:spPr bwMode="auto">
              <a:xfrm>
                <a:off x="6347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79" name="Rectangle 1531"/>
              <p:cNvSpPr>
                <a:spLocks noChangeArrowheads="1"/>
              </p:cNvSpPr>
              <p:nvPr/>
            </p:nvSpPr>
            <p:spPr bwMode="auto">
              <a:xfrm>
                <a:off x="6349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0" name="Freeform 1532"/>
              <p:cNvSpPr>
                <a:spLocks/>
              </p:cNvSpPr>
              <p:nvPr/>
            </p:nvSpPr>
            <p:spPr bwMode="auto">
              <a:xfrm>
                <a:off x="6366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1" name="Freeform 1533"/>
              <p:cNvSpPr>
                <a:spLocks/>
              </p:cNvSpPr>
              <p:nvPr/>
            </p:nvSpPr>
            <p:spPr bwMode="auto">
              <a:xfrm>
                <a:off x="637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2" name="Rectangle 1534"/>
              <p:cNvSpPr>
                <a:spLocks noChangeArrowheads="1"/>
              </p:cNvSpPr>
              <p:nvPr/>
            </p:nvSpPr>
            <p:spPr bwMode="auto">
              <a:xfrm>
                <a:off x="637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3" name="Freeform 1535"/>
              <p:cNvSpPr>
                <a:spLocks/>
              </p:cNvSpPr>
              <p:nvPr/>
            </p:nvSpPr>
            <p:spPr bwMode="auto">
              <a:xfrm>
                <a:off x="639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4" name="Freeform 1536"/>
              <p:cNvSpPr>
                <a:spLocks/>
              </p:cNvSpPr>
              <p:nvPr/>
            </p:nvSpPr>
            <p:spPr bwMode="auto">
              <a:xfrm>
                <a:off x="6402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5" name="Rectangle 1537"/>
              <p:cNvSpPr>
                <a:spLocks noChangeArrowheads="1"/>
              </p:cNvSpPr>
              <p:nvPr/>
            </p:nvSpPr>
            <p:spPr bwMode="auto">
              <a:xfrm>
                <a:off x="6404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6" name="Freeform 1538"/>
              <p:cNvSpPr>
                <a:spLocks/>
              </p:cNvSpPr>
              <p:nvPr/>
            </p:nvSpPr>
            <p:spPr bwMode="auto">
              <a:xfrm>
                <a:off x="6421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7" name="Freeform 1539"/>
              <p:cNvSpPr>
                <a:spLocks/>
              </p:cNvSpPr>
              <p:nvPr/>
            </p:nvSpPr>
            <p:spPr bwMode="auto">
              <a:xfrm>
                <a:off x="642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8" name="Rectangle 1540"/>
              <p:cNvSpPr>
                <a:spLocks noChangeArrowheads="1"/>
              </p:cNvSpPr>
              <p:nvPr/>
            </p:nvSpPr>
            <p:spPr bwMode="auto">
              <a:xfrm>
                <a:off x="643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89" name="Freeform 1541"/>
              <p:cNvSpPr>
                <a:spLocks/>
              </p:cNvSpPr>
              <p:nvPr/>
            </p:nvSpPr>
            <p:spPr bwMode="auto">
              <a:xfrm>
                <a:off x="644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0" name="Freeform 1542"/>
              <p:cNvSpPr>
                <a:spLocks/>
              </p:cNvSpPr>
              <p:nvPr/>
            </p:nvSpPr>
            <p:spPr bwMode="auto">
              <a:xfrm>
                <a:off x="6457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1" name="Rectangle 1543"/>
              <p:cNvSpPr>
                <a:spLocks noChangeArrowheads="1"/>
              </p:cNvSpPr>
              <p:nvPr/>
            </p:nvSpPr>
            <p:spPr bwMode="auto">
              <a:xfrm>
                <a:off x="6458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2" name="Freeform 1544"/>
              <p:cNvSpPr>
                <a:spLocks/>
              </p:cNvSpPr>
              <p:nvPr/>
            </p:nvSpPr>
            <p:spPr bwMode="auto">
              <a:xfrm>
                <a:off x="6476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3" name="Freeform 1545"/>
              <p:cNvSpPr>
                <a:spLocks/>
              </p:cNvSpPr>
              <p:nvPr/>
            </p:nvSpPr>
            <p:spPr bwMode="auto">
              <a:xfrm>
                <a:off x="648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4" name="Rectangle 1546"/>
              <p:cNvSpPr>
                <a:spLocks noChangeArrowheads="1"/>
              </p:cNvSpPr>
              <p:nvPr/>
            </p:nvSpPr>
            <p:spPr bwMode="auto">
              <a:xfrm>
                <a:off x="648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5" name="Freeform 1547"/>
              <p:cNvSpPr>
                <a:spLocks/>
              </p:cNvSpPr>
              <p:nvPr/>
            </p:nvSpPr>
            <p:spPr bwMode="auto">
              <a:xfrm>
                <a:off x="650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6" name="Freeform 1548"/>
              <p:cNvSpPr>
                <a:spLocks/>
              </p:cNvSpPr>
              <p:nvPr/>
            </p:nvSpPr>
            <p:spPr bwMode="auto">
              <a:xfrm>
                <a:off x="6512" y="1756"/>
                <a:ext cx="1" cy="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1" h="4">
                    <a:moveTo>
                      <a:pt x="1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7" name="Rectangle 1549"/>
              <p:cNvSpPr>
                <a:spLocks noChangeArrowheads="1"/>
              </p:cNvSpPr>
              <p:nvPr/>
            </p:nvSpPr>
            <p:spPr bwMode="auto">
              <a:xfrm>
                <a:off x="6513" y="1756"/>
                <a:ext cx="1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8" name="Freeform 1550"/>
              <p:cNvSpPr>
                <a:spLocks/>
              </p:cNvSpPr>
              <p:nvPr/>
            </p:nvSpPr>
            <p:spPr bwMode="auto">
              <a:xfrm>
                <a:off x="6531" y="1756"/>
                <a:ext cx="1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599" name="Freeform 1551"/>
              <p:cNvSpPr>
                <a:spLocks/>
              </p:cNvSpPr>
              <p:nvPr/>
            </p:nvSpPr>
            <p:spPr bwMode="auto">
              <a:xfrm>
                <a:off x="653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0" name="Rectangle 1552"/>
              <p:cNvSpPr>
                <a:spLocks noChangeArrowheads="1"/>
              </p:cNvSpPr>
              <p:nvPr/>
            </p:nvSpPr>
            <p:spPr bwMode="auto">
              <a:xfrm>
                <a:off x="6541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1" name="Freeform 1553"/>
              <p:cNvSpPr>
                <a:spLocks/>
              </p:cNvSpPr>
              <p:nvPr/>
            </p:nvSpPr>
            <p:spPr bwMode="auto">
              <a:xfrm>
                <a:off x="6558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2" name="Freeform 1554"/>
              <p:cNvSpPr>
                <a:spLocks/>
              </p:cNvSpPr>
              <p:nvPr/>
            </p:nvSpPr>
            <p:spPr bwMode="auto">
              <a:xfrm>
                <a:off x="6566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3" name="Rectangle 1555"/>
              <p:cNvSpPr>
                <a:spLocks noChangeArrowheads="1"/>
              </p:cNvSpPr>
              <p:nvPr/>
            </p:nvSpPr>
            <p:spPr bwMode="auto">
              <a:xfrm>
                <a:off x="6568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4" name="Freeform 1556"/>
              <p:cNvSpPr>
                <a:spLocks/>
              </p:cNvSpPr>
              <p:nvPr/>
            </p:nvSpPr>
            <p:spPr bwMode="auto">
              <a:xfrm>
                <a:off x="6585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5" name="Freeform 1557"/>
              <p:cNvSpPr>
                <a:spLocks/>
              </p:cNvSpPr>
              <p:nvPr/>
            </p:nvSpPr>
            <p:spPr bwMode="auto">
              <a:xfrm>
                <a:off x="6594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6" name="Rectangle 1558"/>
              <p:cNvSpPr>
                <a:spLocks noChangeArrowheads="1"/>
              </p:cNvSpPr>
              <p:nvPr/>
            </p:nvSpPr>
            <p:spPr bwMode="auto">
              <a:xfrm>
                <a:off x="6596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7" name="Freeform 1559"/>
              <p:cNvSpPr>
                <a:spLocks/>
              </p:cNvSpPr>
              <p:nvPr/>
            </p:nvSpPr>
            <p:spPr bwMode="auto">
              <a:xfrm>
                <a:off x="6613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8" name="Freeform 1560"/>
              <p:cNvSpPr>
                <a:spLocks/>
              </p:cNvSpPr>
              <p:nvPr/>
            </p:nvSpPr>
            <p:spPr bwMode="auto">
              <a:xfrm>
                <a:off x="6621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09" name="Rectangle 1561"/>
              <p:cNvSpPr>
                <a:spLocks noChangeArrowheads="1"/>
              </p:cNvSpPr>
              <p:nvPr/>
            </p:nvSpPr>
            <p:spPr bwMode="auto">
              <a:xfrm>
                <a:off x="6623" y="1756"/>
                <a:ext cx="17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0" name="Freeform 1562"/>
              <p:cNvSpPr>
                <a:spLocks/>
              </p:cNvSpPr>
              <p:nvPr/>
            </p:nvSpPr>
            <p:spPr bwMode="auto">
              <a:xfrm>
                <a:off x="6640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1" name="Freeform 1563"/>
              <p:cNvSpPr>
                <a:spLocks/>
              </p:cNvSpPr>
              <p:nvPr/>
            </p:nvSpPr>
            <p:spPr bwMode="auto">
              <a:xfrm>
                <a:off x="6649" y="175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4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2" name="Rectangle 1564"/>
              <p:cNvSpPr>
                <a:spLocks noChangeArrowheads="1"/>
              </p:cNvSpPr>
              <p:nvPr/>
            </p:nvSpPr>
            <p:spPr bwMode="auto">
              <a:xfrm>
                <a:off x="6651" y="1756"/>
                <a:ext cx="8" cy="4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3" name="Freeform 1565"/>
              <p:cNvSpPr>
                <a:spLocks/>
              </p:cNvSpPr>
              <p:nvPr/>
            </p:nvSpPr>
            <p:spPr bwMode="auto">
              <a:xfrm>
                <a:off x="6659" y="175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1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4" name="Freeform 1566"/>
              <p:cNvSpPr>
                <a:spLocks/>
              </p:cNvSpPr>
              <p:nvPr/>
            </p:nvSpPr>
            <p:spPr bwMode="auto">
              <a:xfrm>
                <a:off x="575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5" name="Rectangle 1567"/>
              <p:cNvSpPr>
                <a:spLocks noChangeArrowheads="1"/>
              </p:cNvSpPr>
              <p:nvPr/>
            </p:nvSpPr>
            <p:spPr bwMode="auto">
              <a:xfrm>
                <a:off x="575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6" name="Freeform 1568"/>
              <p:cNvSpPr>
                <a:spLocks/>
              </p:cNvSpPr>
              <p:nvPr/>
            </p:nvSpPr>
            <p:spPr bwMode="auto">
              <a:xfrm>
                <a:off x="5773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7" name="Freeform 1569"/>
              <p:cNvSpPr>
                <a:spLocks/>
              </p:cNvSpPr>
              <p:nvPr/>
            </p:nvSpPr>
            <p:spPr bwMode="auto">
              <a:xfrm>
                <a:off x="578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8" name="Rectangle 1570"/>
              <p:cNvSpPr>
                <a:spLocks noChangeArrowheads="1"/>
              </p:cNvSpPr>
              <p:nvPr/>
            </p:nvSpPr>
            <p:spPr bwMode="auto">
              <a:xfrm>
                <a:off x="578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19" name="Freeform 1571"/>
              <p:cNvSpPr>
                <a:spLocks/>
              </p:cNvSpPr>
              <p:nvPr/>
            </p:nvSpPr>
            <p:spPr bwMode="auto">
              <a:xfrm>
                <a:off x="580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0" name="Freeform 1572"/>
              <p:cNvSpPr>
                <a:spLocks/>
              </p:cNvSpPr>
              <p:nvPr/>
            </p:nvSpPr>
            <p:spPr bwMode="auto">
              <a:xfrm>
                <a:off x="580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1" name="Rectangle 1573"/>
              <p:cNvSpPr>
                <a:spLocks noChangeArrowheads="1"/>
              </p:cNvSpPr>
              <p:nvPr/>
            </p:nvSpPr>
            <p:spPr bwMode="auto">
              <a:xfrm>
                <a:off x="581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2" name="Freeform 1574"/>
              <p:cNvSpPr>
                <a:spLocks/>
              </p:cNvSpPr>
              <p:nvPr/>
            </p:nvSpPr>
            <p:spPr bwMode="auto">
              <a:xfrm>
                <a:off x="5828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3" name="Freeform 1575"/>
              <p:cNvSpPr>
                <a:spLocks/>
              </p:cNvSpPr>
              <p:nvPr/>
            </p:nvSpPr>
            <p:spPr bwMode="auto">
              <a:xfrm>
                <a:off x="583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4" name="Rectangle 1576"/>
              <p:cNvSpPr>
                <a:spLocks noChangeArrowheads="1"/>
              </p:cNvSpPr>
              <p:nvPr/>
            </p:nvSpPr>
            <p:spPr bwMode="auto">
              <a:xfrm>
                <a:off x="583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5" name="Freeform 1577"/>
              <p:cNvSpPr>
                <a:spLocks/>
              </p:cNvSpPr>
              <p:nvPr/>
            </p:nvSpPr>
            <p:spPr bwMode="auto">
              <a:xfrm>
                <a:off x="585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6" name="Freeform 1578"/>
              <p:cNvSpPr>
                <a:spLocks/>
              </p:cNvSpPr>
              <p:nvPr/>
            </p:nvSpPr>
            <p:spPr bwMode="auto">
              <a:xfrm>
                <a:off x="5864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7" name="Rectangle 1579"/>
              <p:cNvSpPr>
                <a:spLocks noChangeArrowheads="1"/>
              </p:cNvSpPr>
              <p:nvPr/>
            </p:nvSpPr>
            <p:spPr bwMode="auto">
              <a:xfrm>
                <a:off x="5866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8" name="Freeform 1580"/>
              <p:cNvSpPr>
                <a:spLocks/>
              </p:cNvSpPr>
              <p:nvPr/>
            </p:nvSpPr>
            <p:spPr bwMode="auto">
              <a:xfrm>
                <a:off x="5883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29" name="Freeform 1581"/>
              <p:cNvSpPr>
                <a:spLocks/>
              </p:cNvSpPr>
              <p:nvPr/>
            </p:nvSpPr>
            <p:spPr bwMode="auto">
              <a:xfrm>
                <a:off x="589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0" name="Rectangle 1582"/>
              <p:cNvSpPr>
                <a:spLocks noChangeArrowheads="1"/>
              </p:cNvSpPr>
              <p:nvPr/>
            </p:nvSpPr>
            <p:spPr bwMode="auto">
              <a:xfrm>
                <a:off x="589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1" name="Freeform 1583"/>
              <p:cNvSpPr>
                <a:spLocks/>
              </p:cNvSpPr>
              <p:nvPr/>
            </p:nvSpPr>
            <p:spPr bwMode="auto">
              <a:xfrm>
                <a:off x="591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2" name="Freeform 1584"/>
              <p:cNvSpPr>
                <a:spLocks/>
              </p:cNvSpPr>
              <p:nvPr/>
            </p:nvSpPr>
            <p:spPr bwMode="auto">
              <a:xfrm>
                <a:off x="5919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3" name="Rectangle 1585"/>
              <p:cNvSpPr>
                <a:spLocks noChangeArrowheads="1"/>
              </p:cNvSpPr>
              <p:nvPr/>
            </p:nvSpPr>
            <p:spPr bwMode="auto">
              <a:xfrm>
                <a:off x="5921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4" name="Freeform 1586"/>
              <p:cNvSpPr>
                <a:spLocks/>
              </p:cNvSpPr>
              <p:nvPr/>
            </p:nvSpPr>
            <p:spPr bwMode="auto">
              <a:xfrm>
                <a:off x="5938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5" name="Freeform 1587"/>
              <p:cNvSpPr>
                <a:spLocks/>
              </p:cNvSpPr>
              <p:nvPr/>
            </p:nvSpPr>
            <p:spPr bwMode="auto">
              <a:xfrm>
                <a:off x="594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6" name="Rectangle 1588"/>
              <p:cNvSpPr>
                <a:spLocks noChangeArrowheads="1"/>
              </p:cNvSpPr>
              <p:nvPr/>
            </p:nvSpPr>
            <p:spPr bwMode="auto">
              <a:xfrm>
                <a:off x="594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7" name="Freeform 1589"/>
              <p:cNvSpPr>
                <a:spLocks/>
              </p:cNvSpPr>
              <p:nvPr/>
            </p:nvSpPr>
            <p:spPr bwMode="auto">
              <a:xfrm>
                <a:off x="596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8" name="Freeform 1590"/>
              <p:cNvSpPr>
                <a:spLocks/>
              </p:cNvSpPr>
              <p:nvPr/>
            </p:nvSpPr>
            <p:spPr bwMode="auto">
              <a:xfrm>
                <a:off x="5974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39" name="Rectangle 1591"/>
              <p:cNvSpPr>
                <a:spLocks noChangeArrowheads="1"/>
              </p:cNvSpPr>
              <p:nvPr/>
            </p:nvSpPr>
            <p:spPr bwMode="auto">
              <a:xfrm>
                <a:off x="5975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0" name="Freeform 1592"/>
              <p:cNvSpPr>
                <a:spLocks/>
              </p:cNvSpPr>
              <p:nvPr/>
            </p:nvSpPr>
            <p:spPr bwMode="auto">
              <a:xfrm>
                <a:off x="5993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1" name="Freeform 1593"/>
              <p:cNvSpPr>
                <a:spLocks/>
              </p:cNvSpPr>
              <p:nvPr/>
            </p:nvSpPr>
            <p:spPr bwMode="auto">
              <a:xfrm>
                <a:off x="600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2" name="Rectangle 1594"/>
              <p:cNvSpPr>
                <a:spLocks noChangeArrowheads="1"/>
              </p:cNvSpPr>
              <p:nvPr/>
            </p:nvSpPr>
            <p:spPr bwMode="auto">
              <a:xfrm>
                <a:off x="600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3" name="Freeform 1595"/>
              <p:cNvSpPr>
                <a:spLocks/>
              </p:cNvSpPr>
              <p:nvPr/>
            </p:nvSpPr>
            <p:spPr bwMode="auto">
              <a:xfrm>
                <a:off x="6020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4" name="Freeform 1596"/>
              <p:cNvSpPr>
                <a:spLocks/>
              </p:cNvSpPr>
              <p:nvPr/>
            </p:nvSpPr>
            <p:spPr bwMode="auto">
              <a:xfrm>
                <a:off x="6029" y="1434"/>
                <a:ext cx="1" cy="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5" name="Rectangle 1597"/>
              <p:cNvSpPr>
                <a:spLocks noChangeArrowheads="1"/>
              </p:cNvSpPr>
              <p:nvPr/>
            </p:nvSpPr>
            <p:spPr bwMode="auto">
              <a:xfrm>
                <a:off x="6030" y="1434"/>
                <a:ext cx="18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6" name="Freeform 1598"/>
              <p:cNvSpPr>
                <a:spLocks/>
              </p:cNvSpPr>
              <p:nvPr/>
            </p:nvSpPr>
            <p:spPr bwMode="auto">
              <a:xfrm>
                <a:off x="6048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7" name="Freeform 1599"/>
              <p:cNvSpPr>
                <a:spLocks/>
              </p:cNvSpPr>
              <p:nvPr/>
            </p:nvSpPr>
            <p:spPr bwMode="auto">
              <a:xfrm>
                <a:off x="605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8" name="Rectangle 1600"/>
              <p:cNvSpPr>
                <a:spLocks noChangeArrowheads="1"/>
              </p:cNvSpPr>
              <p:nvPr/>
            </p:nvSpPr>
            <p:spPr bwMode="auto">
              <a:xfrm>
                <a:off x="6058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49" name="Freeform 1601"/>
              <p:cNvSpPr>
                <a:spLocks/>
              </p:cNvSpPr>
              <p:nvPr/>
            </p:nvSpPr>
            <p:spPr bwMode="auto">
              <a:xfrm>
                <a:off x="6075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0" name="Freeform 1602"/>
              <p:cNvSpPr>
                <a:spLocks/>
              </p:cNvSpPr>
              <p:nvPr/>
            </p:nvSpPr>
            <p:spPr bwMode="auto">
              <a:xfrm>
                <a:off x="6083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1" name="Rectangle 1603"/>
              <p:cNvSpPr>
                <a:spLocks noChangeArrowheads="1"/>
              </p:cNvSpPr>
              <p:nvPr/>
            </p:nvSpPr>
            <p:spPr bwMode="auto">
              <a:xfrm>
                <a:off x="6085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2" name="Freeform 1604"/>
              <p:cNvSpPr>
                <a:spLocks/>
              </p:cNvSpPr>
              <p:nvPr/>
            </p:nvSpPr>
            <p:spPr bwMode="auto">
              <a:xfrm>
                <a:off x="6102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3" name="Freeform 1605"/>
              <p:cNvSpPr>
                <a:spLocks/>
              </p:cNvSpPr>
              <p:nvPr/>
            </p:nvSpPr>
            <p:spPr bwMode="auto">
              <a:xfrm>
                <a:off x="6111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4" name="Rectangle 1606"/>
              <p:cNvSpPr>
                <a:spLocks noChangeArrowheads="1"/>
              </p:cNvSpPr>
              <p:nvPr/>
            </p:nvSpPr>
            <p:spPr bwMode="auto">
              <a:xfrm>
                <a:off x="6113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5" name="Freeform 1607"/>
              <p:cNvSpPr>
                <a:spLocks/>
              </p:cNvSpPr>
              <p:nvPr/>
            </p:nvSpPr>
            <p:spPr bwMode="auto">
              <a:xfrm>
                <a:off x="6130" y="1434"/>
                <a:ext cx="1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2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6" name="Freeform 1608"/>
              <p:cNvSpPr>
                <a:spLocks/>
              </p:cNvSpPr>
              <p:nvPr/>
            </p:nvSpPr>
            <p:spPr bwMode="auto">
              <a:xfrm>
                <a:off x="6138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7" name="Rectangle 1609"/>
              <p:cNvSpPr>
                <a:spLocks noChangeArrowheads="1"/>
              </p:cNvSpPr>
              <p:nvPr/>
            </p:nvSpPr>
            <p:spPr bwMode="auto">
              <a:xfrm>
                <a:off x="6140" y="1434"/>
                <a:ext cx="17" cy="3"/>
              </a:xfrm>
              <a:prstGeom prst="rect">
                <a:avLst/>
              </a:prstGeom>
              <a:solidFill>
                <a:srgbClr val="9999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8" name="Freeform 1610"/>
              <p:cNvSpPr>
                <a:spLocks/>
              </p:cNvSpPr>
              <p:nvPr/>
            </p:nvSpPr>
            <p:spPr bwMode="auto">
              <a:xfrm>
                <a:off x="6157" y="1434"/>
                <a:ext cx="2" cy="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659" name="Freeform 1611"/>
              <p:cNvSpPr>
                <a:spLocks/>
              </p:cNvSpPr>
              <p:nvPr/>
            </p:nvSpPr>
            <p:spPr bwMode="auto">
              <a:xfrm>
                <a:off x="6166" y="1434"/>
                <a:ext cx="2" cy="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2" y="0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9999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40"/>
                <a:endParaRPr lang="ru-RU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661" name="Rectangle 1613"/>
            <p:cNvSpPr>
              <a:spLocks noChangeArrowheads="1"/>
            </p:cNvSpPr>
            <p:nvPr/>
          </p:nvSpPr>
          <p:spPr bwMode="auto">
            <a:xfrm>
              <a:off x="10498892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62" name="Freeform 1614"/>
            <p:cNvSpPr>
              <a:spLocks/>
            </p:cNvSpPr>
            <p:nvPr/>
          </p:nvSpPr>
          <p:spPr bwMode="auto">
            <a:xfrm>
              <a:off x="10532762" y="1875880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63" name="Freeform 1615"/>
            <p:cNvSpPr>
              <a:spLocks/>
            </p:cNvSpPr>
            <p:nvPr/>
          </p:nvSpPr>
          <p:spPr bwMode="auto">
            <a:xfrm>
              <a:off x="10548701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64" name="Rectangle 1616"/>
            <p:cNvSpPr>
              <a:spLocks noChangeArrowheads="1"/>
            </p:cNvSpPr>
            <p:nvPr/>
          </p:nvSpPr>
          <p:spPr bwMode="auto">
            <a:xfrm>
              <a:off x="10552686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65" name="Freeform 1617"/>
            <p:cNvSpPr>
              <a:spLocks/>
            </p:cNvSpPr>
            <p:nvPr/>
          </p:nvSpPr>
          <p:spPr bwMode="auto">
            <a:xfrm>
              <a:off x="10586555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66" name="Freeform 1618"/>
            <p:cNvSpPr>
              <a:spLocks/>
            </p:cNvSpPr>
            <p:nvPr/>
          </p:nvSpPr>
          <p:spPr bwMode="auto">
            <a:xfrm>
              <a:off x="10604486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67" name="Rectangle 1619"/>
            <p:cNvSpPr>
              <a:spLocks noChangeArrowheads="1"/>
            </p:cNvSpPr>
            <p:nvPr/>
          </p:nvSpPr>
          <p:spPr bwMode="auto">
            <a:xfrm>
              <a:off x="10608471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68" name="Freeform 1620"/>
            <p:cNvSpPr>
              <a:spLocks/>
            </p:cNvSpPr>
            <p:nvPr/>
          </p:nvSpPr>
          <p:spPr bwMode="auto">
            <a:xfrm>
              <a:off x="10642341" y="1875880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69" name="Freeform 1621"/>
            <p:cNvSpPr>
              <a:spLocks/>
            </p:cNvSpPr>
            <p:nvPr/>
          </p:nvSpPr>
          <p:spPr bwMode="auto">
            <a:xfrm>
              <a:off x="10658280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0" name="Rectangle 1622"/>
            <p:cNvSpPr>
              <a:spLocks noChangeArrowheads="1"/>
            </p:cNvSpPr>
            <p:nvPr/>
          </p:nvSpPr>
          <p:spPr bwMode="auto">
            <a:xfrm>
              <a:off x="10662264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1" name="Freeform 1623"/>
            <p:cNvSpPr>
              <a:spLocks/>
            </p:cNvSpPr>
            <p:nvPr/>
          </p:nvSpPr>
          <p:spPr bwMode="auto">
            <a:xfrm>
              <a:off x="10696134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2" name="Freeform 1624"/>
            <p:cNvSpPr>
              <a:spLocks/>
            </p:cNvSpPr>
            <p:nvPr/>
          </p:nvSpPr>
          <p:spPr bwMode="auto">
            <a:xfrm>
              <a:off x="10714065" y="1875880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3" name="Rectangle 1625"/>
            <p:cNvSpPr>
              <a:spLocks noChangeArrowheads="1"/>
            </p:cNvSpPr>
            <p:nvPr/>
          </p:nvSpPr>
          <p:spPr bwMode="auto">
            <a:xfrm>
              <a:off x="10716058" y="1875880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4" name="Freeform 1626"/>
            <p:cNvSpPr>
              <a:spLocks/>
            </p:cNvSpPr>
            <p:nvPr/>
          </p:nvSpPr>
          <p:spPr bwMode="auto">
            <a:xfrm>
              <a:off x="10751920" y="1875880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5" name="Freeform 1627"/>
            <p:cNvSpPr>
              <a:spLocks/>
            </p:cNvSpPr>
            <p:nvPr/>
          </p:nvSpPr>
          <p:spPr bwMode="auto">
            <a:xfrm>
              <a:off x="10767859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6" name="Rectangle 1628"/>
            <p:cNvSpPr>
              <a:spLocks noChangeArrowheads="1"/>
            </p:cNvSpPr>
            <p:nvPr/>
          </p:nvSpPr>
          <p:spPr bwMode="auto">
            <a:xfrm>
              <a:off x="10771843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7" name="Freeform 1629"/>
            <p:cNvSpPr>
              <a:spLocks/>
            </p:cNvSpPr>
            <p:nvPr/>
          </p:nvSpPr>
          <p:spPr bwMode="auto">
            <a:xfrm>
              <a:off x="10805713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8" name="Freeform 1630"/>
            <p:cNvSpPr>
              <a:spLocks/>
            </p:cNvSpPr>
            <p:nvPr/>
          </p:nvSpPr>
          <p:spPr bwMode="auto">
            <a:xfrm>
              <a:off x="10823644" y="1875880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79" name="Rectangle 1631"/>
            <p:cNvSpPr>
              <a:spLocks noChangeArrowheads="1"/>
            </p:cNvSpPr>
            <p:nvPr/>
          </p:nvSpPr>
          <p:spPr bwMode="auto">
            <a:xfrm>
              <a:off x="10825636" y="1875880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0" name="Freeform 1632"/>
            <p:cNvSpPr>
              <a:spLocks/>
            </p:cNvSpPr>
            <p:nvPr/>
          </p:nvSpPr>
          <p:spPr bwMode="auto">
            <a:xfrm>
              <a:off x="10861499" y="1875880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1" name="Freeform 1633"/>
            <p:cNvSpPr>
              <a:spLocks/>
            </p:cNvSpPr>
            <p:nvPr/>
          </p:nvSpPr>
          <p:spPr bwMode="auto">
            <a:xfrm>
              <a:off x="10877437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2" name="Rectangle 1634"/>
            <p:cNvSpPr>
              <a:spLocks noChangeArrowheads="1"/>
            </p:cNvSpPr>
            <p:nvPr/>
          </p:nvSpPr>
          <p:spPr bwMode="auto">
            <a:xfrm>
              <a:off x="10881422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3" name="Freeform 1635"/>
            <p:cNvSpPr>
              <a:spLocks/>
            </p:cNvSpPr>
            <p:nvPr/>
          </p:nvSpPr>
          <p:spPr bwMode="auto">
            <a:xfrm>
              <a:off x="10915292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4" name="Freeform 1636"/>
            <p:cNvSpPr>
              <a:spLocks/>
            </p:cNvSpPr>
            <p:nvPr/>
          </p:nvSpPr>
          <p:spPr bwMode="auto">
            <a:xfrm>
              <a:off x="10931231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5" name="Rectangle 1637"/>
            <p:cNvSpPr>
              <a:spLocks noChangeArrowheads="1"/>
            </p:cNvSpPr>
            <p:nvPr/>
          </p:nvSpPr>
          <p:spPr bwMode="auto">
            <a:xfrm>
              <a:off x="10935215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6" name="Freeform 1638"/>
            <p:cNvSpPr>
              <a:spLocks/>
            </p:cNvSpPr>
            <p:nvPr/>
          </p:nvSpPr>
          <p:spPr bwMode="auto">
            <a:xfrm>
              <a:off x="10969085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7" name="Freeform 1639"/>
            <p:cNvSpPr>
              <a:spLocks/>
            </p:cNvSpPr>
            <p:nvPr/>
          </p:nvSpPr>
          <p:spPr bwMode="auto">
            <a:xfrm>
              <a:off x="10987016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8" name="Rectangle 1640"/>
            <p:cNvSpPr>
              <a:spLocks noChangeArrowheads="1"/>
            </p:cNvSpPr>
            <p:nvPr/>
          </p:nvSpPr>
          <p:spPr bwMode="auto">
            <a:xfrm>
              <a:off x="10991001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89" name="Freeform 1641"/>
            <p:cNvSpPr>
              <a:spLocks/>
            </p:cNvSpPr>
            <p:nvPr/>
          </p:nvSpPr>
          <p:spPr bwMode="auto">
            <a:xfrm>
              <a:off x="11024871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0" name="Freeform 1642"/>
            <p:cNvSpPr>
              <a:spLocks/>
            </p:cNvSpPr>
            <p:nvPr/>
          </p:nvSpPr>
          <p:spPr bwMode="auto">
            <a:xfrm>
              <a:off x="11040809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1" name="Rectangle 1643"/>
            <p:cNvSpPr>
              <a:spLocks noChangeArrowheads="1"/>
            </p:cNvSpPr>
            <p:nvPr/>
          </p:nvSpPr>
          <p:spPr bwMode="auto">
            <a:xfrm>
              <a:off x="11044794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2" name="Freeform 1644"/>
            <p:cNvSpPr>
              <a:spLocks/>
            </p:cNvSpPr>
            <p:nvPr/>
          </p:nvSpPr>
          <p:spPr bwMode="auto">
            <a:xfrm>
              <a:off x="11078664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3" name="Freeform 1645"/>
            <p:cNvSpPr>
              <a:spLocks/>
            </p:cNvSpPr>
            <p:nvPr/>
          </p:nvSpPr>
          <p:spPr bwMode="auto">
            <a:xfrm>
              <a:off x="11096595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4" name="Rectangle 1646"/>
            <p:cNvSpPr>
              <a:spLocks noChangeArrowheads="1"/>
            </p:cNvSpPr>
            <p:nvPr/>
          </p:nvSpPr>
          <p:spPr bwMode="auto">
            <a:xfrm>
              <a:off x="11100580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5" name="Freeform 1647"/>
            <p:cNvSpPr>
              <a:spLocks/>
            </p:cNvSpPr>
            <p:nvPr/>
          </p:nvSpPr>
          <p:spPr bwMode="auto">
            <a:xfrm>
              <a:off x="11134449" y="1875880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6" name="Freeform 1648"/>
            <p:cNvSpPr>
              <a:spLocks/>
            </p:cNvSpPr>
            <p:nvPr/>
          </p:nvSpPr>
          <p:spPr bwMode="auto">
            <a:xfrm>
              <a:off x="11150388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7" name="Rectangle 1649"/>
            <p:cNvSpPr>
              <a:spLocks noChangeArrowheads="1"/>
            </p:cNvSpPr>
            <p:nvPr/>
          </p:nvSpPr>
          <p:spPr bwMode="auto">
            <a:xfrm>
              <a:off x="11154373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8" name="Freeform 1650"/>
            <p:cNvSpPr>
              <a:spLocks/>
            </p:cNvSpPr>
            <p:nvPr/>
          </p:nvSpPr>
          <p:spPr bwMode="auto">
            <a:xfrm>
              <a:off x="11188243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99" name="Freeform 1651"/>
            <p:cNvSpPr>
              <a:spLocks/>
            </p:cNvSpPr>
            <p:nvPr/>
          </p:nvSpPr>
          <p:spPr bwMode="auto">
            <a:xfrm>
              <a:off x="11206174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0" name="Rectangle 1652"/>
            <p:cNvSpPr>
              <a:spLocks noChangeArrowheads="1"/>
            </p:cNvSpPr>
            <p:nvPr/>
          </p:nvSpPr>
          <p:spPr bwMode="auto">
            <a:xfrm>
              <a:off x="11210158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1" name="Freeform 1653"/>
            <p:cNvSpPr>
              <a:spLocks/>
            </p:cNvSpPr>
            <p:nvPr/>
          </p:nvSpPr>
          <p:spPr bwMode="auto">
            <a:xfrm>
              <a:off x="11244028" y="1875880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2" name="Freeform 1654"/>
            <p:cNvSpPr>
              <a:spLocks/>
            </p:cNvSpPr>
            <p:nvPr/>
          </p:nvSpPr>
          <p:spPr bwMode="auto">
            <a:xfrm>
              <a:off x="11259967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3" name="Rectangle 1655"/>
            <p:cNvSpPr>
              <a:spLocks noChangeArrowheads="1"/>
            </p:cNvSpPr>
            <p:nvPr/>
          </p:nvSpPr>
          <p:spPr bwMode="auto">
            <a:xfrm>
              <a:off x="11263952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4" name="Freeform 1656"/>
            <p:cNvSpPr>
              <a:spLocks/>
            </p:cNvSpPr>
            <p:nvPr/>
          </p:nvSpPr>
          <p:spPr bwMode="auto">
            <a:xfrm>
              <a:off x="11297822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5" name="Freeform 1657"/>
            <p:cNvSpPr>
              <a:spLocks/>
            </p:cNvSpPr>
            <p:nvPr/>
          </p:nvSpPr>
          <p:spPr bwMode="auto">
            <a:xfrm>
              <a:off x="11315753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6" name="Rectangle 1658"/>
            <p:cNvSpPr>
              <a:spLocks noChangeArrowheads="1"/>
            </p:cNvSpPr>
            <p:nvPr/>
          </p:nvSpPr>
          <p:spPr bwMode="auto">
            <a:xfrm>
              <a:off x="11319737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7" name="Freeform 1659"/>
            <p:cNvSpPr>
              <a:spLocks/>
            </p:cNvSpPr>
            <p:nvPr/>
          </p:nvSpPr>
          <p:spPr bwMode="auto">
            <a:xfrm>
              <a:off x="11353607" y="1875880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8" name="Freeform 1660"/>
            <p:cNvSpPr>
              <a:spLocks/>
            </p:cNvSpPr>
            <p:nvPr/>
          </p:nvSpPr>
          <p:spPr bwMode="auto">
            <a:xfrm>
              <a:off x="11369546" y="1875880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09" name="Rectangle 1661"/>
            <p:cNvSpPr>
              <a:spLocks noChangeArrowheads="1"/>
            </p:cNvSpPr>
            <p:nvPr/>
          </p:nvSpPr>
          <p:spPr bwMode="auto">
            <a:xfrm>
              <a:off x="11373531" y="1875880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0" name="Freeform 1662"/>
            <p:cNvSpPr>
              <a:spLocks/>
            </p:cNvSpPr>
            <p:nvPr/>
          </p:nvSpPr>
          <p:spPr bwMode="auto">
            <a:xfrm>
              <a:off x="11407400" y="1875880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1" name="Freeform 1663"/>
            <p:cNvSpPr>
              <a:spLocks/>
            </p:cNvSpPr>
            <p:nvPr/>
          </p:nvSpPr>
          <p:spPr bwMode="auto">
            <a:xfrm>
              <a:off x="11425331" y="1875880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2" name="Rectangle 1664"/>
            <p:cNvSpPr>
              <a:spLocks noChangeArrowheads="1"/>
            </p:cNvSpPr>
            <p:nvPr/>
          </p:nvSpPr>
          <p:spPr bwMode="auto">
            <a:xfrm>
              <a:off x="11427324" y="1875880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3" name="Freeform 1665"/>
            <p:cNvSpPr>
              <a:spLocks/>
            </p:cNvSpPr>
            <p:nvPr/>
          </p:nvSpPr>
          <p:spPr bwMode="auto">
            <a:xfrm>
              <a:off x="11463186" y="1875880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4" name="Freeform 1666"/>
            <p:cNvSpPr>
              <a:spLocks/>
            </p:cNvSpPr>
            <p:nvPr/>
          </p:nvSpPr>
          <p:spPr bwMode="auto">
            <a:xfrm>
              <a:off x="9674063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5" name="Rectangle 1667"/>
            <p:cNvSpPr>
              <a:spLocks noChangeArrowheads="1"/>
            </p:cNvSpPr>
            <p:nvPr/>
          </p:nvSpPr>
          <p:spPr bwMode="auto">
            <a:xfrm>
              <a:off x="9678047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6" name="Freeform 1668"/>
            <p:cNvSpPr>
              <a:spLocks/>
            </p:cNvSpPr>
            <p:nvPr/>
          </p:nvSpPr>
          <p:spPr bwMode="auto">
            <a:xfrm>
              <a:off x="9711917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7" name="Freeform 1669"/>
            <p:cNvSpPr>
              <a:spLocks/>
            </p:cNvSpPr>
            <p:nvPr/>
          </p:nvSpPr>
          <p:spPr bwMode="auto">
            <a:xfrm>
              <a:off x="9727856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8" name="Rectangle 1670"/>
            <p:cNvSpPr>
              <a:spLocks noChangeArrowheads="1"/>
            </p:cNvSpPr>
            <p:nvPr/>
          </p:nvSpPr>
          <p:spPr bwMode="auto">
            <a:xfrm>
              <a:off x="9731841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19" name="Freeform 1671"/>
            <p:cNvSpPr>
              <a:spLocks/>
            </p:cNvSpPr>
            <p:nvPr/>
          </p:nvSpPr>
          <p:spPr bwMode="auto">
            <a:xfrm>
              <a:off x="9765710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0" name="Freeform 1672"/>
            <p:cNvSpPr>
              <a:spLocks/>
            </p:cNvSpPr>
            <p:nvPr/>
          </p:nvSpPr>
          <p:spPr bwMode="auto">
            <a:xfrm>
              <a:off x="9783642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1" name="Rectangle 1673"/>
            <p:cNvSpPr>
              <a:spLocks noChangeArrowheads="1"/>
            </p:cNvSpPr>
            <p:nvPr/>
          </p:nvSpPr>
          <p:spPr bwMode="auto">
            <a:xfrm>
              <a:off x="9787626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2" name="Freeform 1674"/>
            <p:cNvSpPr>
              <a:spLocks/>
            </p:cNvSpPr>
            <p:nvPr/>
          </p:nvSpPr>
          <p:spPr bwMode="auto">
            <a:xfrm>
              <a:off x="9821496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3" name="Freeform 1675"/>
            <p:cNvSpPr>
              <a:spLocks/>
            </p:cNvSpPr>
            <p:nvPr/>
          </p:nvSpPr>
          <p:spPr bwMode="auto">
            <a:xfrm>
              <a:off x="9837435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4" name="Rectangle 1676"/>
            <p:cNvSpPr>
              <a:spLocks noChangeArrowheads="1"/>
            </p:cNvSpPr>
            <p:nvPr/>
          </p:nvSpPr>
          <p:spPr bwMode="auto">
            <a:xfrm>
              <a:off x="9841419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5" name="Freeform 1677"/>
            <p:cNvSpPr>
              <a:spLocks/>
            </p:cNvSpPr>
            <p:nvPr/>
          </p:nvSpPr>
          <p:spPr bwMode="auto">
            <a:xfrm>
              <a:off x="9875289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6" name="Freeform 1678"/>
            <p:cNvSpPr>
              <a:spLocks/>
            </p:cNvSpPr>
            <p:nvPr/>
          </p:nvSpPr>
          <p:spPr bwMode="auto">
            <a:xfrm>
              <a:off x="9893220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7" name="Rectangle 1679"/>
            <p:cNvSpPr>
              <a:spLocks noChangeArrowheads="1"/>
            </p:cNvSpPr>
            <p:nvPr/>
          </p:nvSpPr>
          <p:spPr bwMode="auto">
            <a:xfrm>
              <a:off x="9897205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8" name="Freeform 1680"/>
            <p:cNvSpPr>
              <a:spLocks/>
            </p:cNvSpPr>
            <p:nvPr/>
          </p:nvSpPr>
          <p:spPr bwMode="auto">
            <a:xfrm>
              <a:off x="9931075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29" name="Freeform 1681"/>
            <p:cNvSpPr>
              <a:spLocks/>
            </p:cNvSpPr>
            <p:nvPr/>
          </p:nvSpPr>
          <p:spPr bwMode="auto">
            <a:xfrm>
              <a:off x="9947014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0" name="Rectangle 1682"/>
            <p:cNvSpPr>
              <a:spLocks noChangeArrowheads="1"/>
            </p:cNvSpPr>
            <p:nvPr/>
          </p:nvSpPr>
          <p:spPr bwMode="auto">
            <a:xfrm>
              <a:off x="9950998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1" name="Freeform 1683"/>
            <p:cNvSpPr>
              <a:spLocks/>
            </p:cNvSpPr>
            <p:nvPr/>
          </p:nvSpPr>
          <p:spPr bwMode="auto">
            <a:xfrm>
              <a:off x="9984868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2" name="Freeform 1684"/>
            <p:cNvSpPr>
              <a:spLocks/>
            </p:cNvSpPr>
            <p:nvPr/>
          </p:nvSpPr>
          <p:spPr bwMode="auto">
            <a:xfrm>
              <a:off x="10002799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3" name="Rectangle 1685"/>
            <p:cNvSpPr>
              <a:spLocks noChangeArrowheads="1"/>
            </p:cNvSpPr>
            <p:nvPr/>
          </p:nvSpPr>
          <p:spPr bwMode="auto">
            <a:xfrm>
              <a:off x="10006784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4" name="Freeform 1686"/>
            <p:cNvSpPr>
              <a:spLocks/>
            </p:cNvSpPr>
            <p:nvPr/>
          </p:nvSpPr>
          <p:spPr bwMode="auto">
            <a:xfrm>
              <a:off x="10040654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5" name="Freeform 1687"/>
            <p:cNvSpPr>
              <a:spLocks/>
            </p:cNvSpPr>
            <p:nvPr/>
          </p:nvSpPr>
          <p:spPr bwMode="auto">
            <a:xfrm>
              <a:off x="10056592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6" name="Rectangle 1688"/>
            <p:cNvSpPr>
              <a:spLocks noChangeArrowheads="1"/>
            </p:cNvSpPr>
            <p:nvPr/>
          </p:nvSpPr>
          <p:spPr bwMode="auto">
            <a:xfrm>
              <a:off x="10060577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7" name="Freeform 1689"/>
            <p:cNvSpPr>
              <a:spLocks/>
            </p:cNvSpPr>
            <p:nvPr/>
          </p:nvSpPr>
          <p:spPr bwMode="auto">
            <a:xfrm>
              <a:off x="10094447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8" name="Freeform 1690"/>
            <p:cNvSpPr>
              <a:spLocks/>
            </p:cNvSpPr>
            <p:nvPr/>
          </p:nvSpPr>
          <p:spPr bwMode="auto">
            <a:xfrm>
              <a:off x="10112378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39" name="Rectangle 1691"/>
            <p:cNvSpPr>
              <a:spLocks noChangeArrowheads="1"/>
            </p:cNvSpPr>
            <p:nvPr/>
          </p:nvSpPr>
          <p:spPr bwMode="auto">
            <a:xfrm>
              <a:off x="10114370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0" name="Freeform 1692"/>
            <p:cNvSpPr>
              <a:spLocks/>
            </p:cNvSpPr>
            <p:nvPr/>
          </p:nvSpPr>
          <p:spPr bwMode="auto">
            <a:xfrm>
              <a:off x="10150232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1" name="Freeform 1693"/>
            <p:cNvSpPr>
              <a:spLocks/>
            </p:cNvSpPr>
            <p:nvPr/>
          </p:nvSpPr>
          <p:spPr bwMode="auto">
            <a:xfrm>
              <a:off x="10166171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2" name="Rectangle 1694"/>
            <p:cNvSpPr>
              <a:spLocks noChangeArrowheads="1"/>
            </p:cNvSpPr>
            <p:nvPr/>
          </p:nvSpPr>
          <p:spPr bwMode="auto">
            <a:xfrm>
              <a:off x="10170156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3" name="Freeform 1695"/>
            <p:cNvSpPr>
              <a:spLocks/>
            </p:cNvSpPr>
            <p:nvPr/>
          </p:nvSpPr>
          <p:spPr bwMode="auto">
            <a:xfrm>
              <a:off x="10204026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4" name="Freeform 1696"/>
            <p:cNvSpPr>
              <a:spLocks/>
            </p:cNvSpPr>
            <p:nvPr/>
          </p:nvSpPr>
          <p:spPr bwMode="auto">
            <a:xfrm>
              <a:off x="10221957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5" name="Rectangle 1697"/>
            <p:cNvSpPr>
              <a:spLocks noChangeArrowheads="1"/>
            </p:cNvSpPr>
            <p:nvPr/>
          </p:nvSpPr>
          <p:spPr bwMode="auto">
            <a:xfrm>
              <a:off x="10223949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6" name="Freeform 1698"/>
            <p:cNvSpPr>
              <a:spLocks/>
            </p:cNvSpPr>
            <p:nvPr/>
          </p:nvSpPr>
          <p:spPr bwMode="auto">
            <a:xfrm>
              <a:off x="10259811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7" name="Freeform 1699"/>
            <p:cNvSpPr>
              <a:spLocks/>
            </p:cNvSpPr>
            <p:nvPr/>
          </p:nvSpPr>
          <p:spPr bwMode="auto">
            <a:xfrm>
              <a:off x="10275750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8" name="Rectangle 1700"/>
            <p:cNvSpPr>
              <a:spLocks noChangeArrowheads="1"/>
            </p:cNvSpPr>
            <p:nvPr/>
          </p:nvSpPr>
          <p:spPr bwMode="auto">
            <a:xfrm>
              <a:off x="10279735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49" name="Freeform 1701"/>
            <p:cNvSpPr>
              <a:spLocks/>
            </p:cNvSpPr>
            <p:nvPr/>
          </p:nvSpPr>
          <p:spPr bwMode="auto">
            <a:xfrm>
              <a:off x="10313605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0" name="Freeform 1702"/>
            <p:cNvSpPr>
              <a:spLocks/>
            </p:cNvSpPr>
            <p:nvPr/>
          </p:nvSpPr>
          <p:spPr bwMode="auto">
            <a:xfrm>
              <a:off x="10329543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1" name="Rectangle 1703"/>
            <p:cNvSpPr>
              <a:spLocks noChangeArrowheads="1"/>
            </p:cNvSpPr>
            <p:nvPr/>
          </p:nvSpPr>
          <p:spPr bwMode="auto">
            <a:xfrm>
              <a:off x="10333528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2" name="Freeform 1704"/>
            <p:cNvSpPr>
              <a:spLocks/>
            </p:cNvSpPr>
            <p:nvPr/>
          </p:nvSpPr>
          <p:spPr bwMode="auto">
            <a:xfrm>
              <a:off x="10367398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3" name="Freeform 1705"/>
            <p:cNvSpPr>
              <a:spLocks/>
            </p:cNvSpPr>
            <p:nvPr/>
          </p:nvSpPr>
          <p:spPr bwMode="auto">
            <a:xfrm>
              <a:off x="10385329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4" name="Rectangle 1706"/>
            <p:cNvSpPr>
              <a:spLocks noChangeArrowheads="1"/>
            </p:cNvSpPr>
            <p:nvPr/>
          </p:nvSpPr>
          <p:spPr bwMode="auto">
            <a:xfrm>
              <a:off x="10389314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5" name="Freeform 1707"/>
            <p:cNvSpPr>
              <a:spLocks/>
            </p:cNvSpPr>
            <p:nvPr/>
          </p:nvSpPr>
          <p:spPr bwMode="auto">
            <a:xfrm>
              <a:off x="10423183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6" name="Freeform 1708"/>
            <p:cNvSpPr>
              <a:spLocks/>
            </p:cNvSpPr>
            <p:nvPr/>
          </p:nvSpPr>
          <p:spPr bwMode="auto">
            <a:xfrm>
              <a:off x="10439122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7" name="Rectangle 1709"/>
            <p:cNvSpPr>
              <a:spLocks noChangeArrowheads="1"/>
            </p:cNvSpPr>
            <p:nvPr/>
          </p:nvSpPr>
          <p:spPr bwMode="auto">
            <a:xfrm>
              <a:off x="10443107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8" name="Freeform 1710"/>
            <p:cNvSpPr>
              <a:spLocks/>
            </p:cNvSpPr>
            <p:nvPr/>
          </p:nvSpPr>
          <p:spPr bwMode="auto">
            <a:xfrm>
              <a:off x="10476977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59" name="Freeform 1711"/>
            <p:cNvSpPr>
              <a:spLocks/>
            </p:cNvSpPr>
            <p:nvPr/>
          </p:nvSpPr>
          <p:spPr bwMode="auto">
            <a:xfrm>
              <a:off x="10494908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0" name="Rectangle 1712"/>
            <p:cNvSpPr>
              <a:spLocks noChangeArrowheads="1"/>
            </p:cNvSpPr>
            <p:nvPr/>
          </p:nvSpPr>
          <p:spPr bwMode="auto">
            <a:xfrm>
              <a:off x="10498892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1" name="Freeform 1713"/>
            <p:cNvSpPr>
              <a:spLocks/>
            </p:cNvSpPr>
            <p:nvPr/>
          </p:nvSpPr>
          <p:spPr bwMode="auto">
            <a:xfrm>
              <a:off x="10532762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2" name="Freeform 1714"/>
            <p:cNvSpPr>
              <a:spLocks/>
            </p:cNvSpPr>
            <p:nvPr/>
          </p:nvSpPr>
          <p:spPr bwMode="auto">
            <a:xfrm>
              <a:off x="10548701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3" name="Rectangle 1715"/>
            <p:cNvSpPr>
              <a:spLocks noChangeArrowheads="1"/>
            </p:cNvSpPr>
            <p:nvPr/>
          </p:nvSpPr>
          <p:spPr bwMode="auto">
            <a:xfrm>
              <a:off x="10552686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4" name="Freeform 1716"/>
            <p:cNvSpPr>
              <a:spLocks/>
            </p:cNvSpPr>
            <p:nvPr/>
          </p:nvSpPr>
          <p:spPr bwMode="auto">
            <a:xfrm>
              <a:off x="10586555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5" name="Freeform 1717"/>
            <p:cNvSpPr>
              <a:spLocks/>
            </p:cNvSpPr>
            <p:nvPr/>
          </p:nvSpPr>
          <p:spPr bwMode="auto">
            <a:xfrm>
              <a:off x="10604486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6" name="Rectangle 1718"/>
            <p:cNvSpPr>
              <a:spLocks noChangeArrowheads="1"/>
            </p:cNvSpPr>
            <p:nvPr/>
          </p:nvSpPr>
          <p:spPr bwMode="auto">
            <a:xfrm>
              <a:off x="10608471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7" name="Freeform 1719"/>
            <p:cNvSpPr>
              <a:spLocks/>
            </p:cNvSpPr>
            <p:nvPr/>
          </p:nvSpPr>
          <p:spPr bwMode="auto">
            <a:xfrm>
              <a:off x="10642341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8" name="Freeform 1720"/>
            <p:cNvSpPr>
              <a:spLocks/>
            </p:cNvSpPr>
            <p:nvPr/>
          </p:nvSpPr>
          <p:spPr bwMode="auto">
            <a:xfrm>
              <a:off x="10658280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69" name="Rectangle 1721"/>
            <p:cNvSpPr>
              <a:spLocks noChangeArrowheads="1"/>
            </p:cNvSpPr>
            <p:nvPr/>
          </p:nvSpPr>
          <p:spPr bwMode="auto">
            <a:xfrm>
              <a:off x="10662264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0" name="Freeform 1722"/>
            <p:cNvSpPr>
              <a:spLocks/>
            </p:cNvSpPr>
            <p:nvPr/>
          </p:nvSpPr>
          <p:spPr bwMode="auto">
            <a:xfrm>
              <a:off x="10696134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1" name="Freeform 1723"/>
            <p:cNvSpPr>
              <a:spLocks/>
            </p:cNvSpPr>
            <p:nvPr/>
          </p:nvSpPr>
          <p:spPr bwMode="auto">
            <a:xfrm>
              <a:off x="10714065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2" name="Rectangle 1724"/>
            <p:cNvSpPr>
              <a:spLocks noChangeArrowheads="1"/>
            </p:cNvSpPr>
            <p:nvPr/>
          </p:nvSpPr>
          <p:spPr bwMode="auto">
            <a:xfrm>
              <a:off x="10716058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3" name="Freeform 1725"/>
            <p:cNvSpPr>
              <a:spLocks/>
            </p:cNvSpPr>
            <p:nvPr/>
          </p:nvSpPr>
          <p:spPr bwMode="auto">
            <a:xfrm>
              <a:off x="10751920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4" name="Freeform 1726"/>
            <p:cNvSpPr>
              <a:spLocks/>
            </p:cNvSpPr>
            <p:nvPr/>
          </p:nvSpPr>
          <p:spPr bwMode="auto">
            <a:xfrm>
              <a:off x="10767859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5" name="Rectangle 1727"/>
            <p:cNvSpPr>
              <a:spLocks noChangeArrowheads="1"/>
            </p:cNvSpPr>
            <p:nvPr/>
          </p:nvSpPr>
          <p:spPr bwMode="auto">
            <a:xfrm>
              <a:off x="10771843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6" name="Freeform 1728"/>
            <p:cNvSpPr>
              <a:spLocks/>
            </p:cNvSpPr>
            <p:nvPr/>
          </p:nvSpPr>
          <p:spPr bwMode="auto">
            <a:xfrm>
              <a:off x="10805713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7" name="Freeform 1729"/>
            <p:cNvSpPr>
              <a:spLocks/>
            </p:cNvSpPr>
            <p:nvPr/>
          </p:nvSpPr>
          <p:spPr bwMode="auto">
            <a:xfrm>
              <a:off x="10823644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8" name="Rectangle 1730"/>
            <p:cNvSpPr>
              <a:spLocks noChangeArrowheads="1"/>
            </p:cNvSpPr>
            <p:nvPr/>
          </p:nvSpPr>
          <p:spPr bwMode="auto">
            <a:xfrm>
              <a:off x="10825636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79" name="Freeform 1731"/>
            <p:cNvSpPr>
              <a:spLocks/>
            </p:cNvSpPr>
            <p:nvPr/>
          </p:nvSpPr>
          <p:spPr bwMode="auto">
            <a:xfrm>
              <a:off x="10861499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0" name="Freeform 1732"/>
            <p:cNvSpPr>
              <a:spLocks/>
            </p:cNvSpPr>
            <p:nvPr/>
          </p:nvSpPr>
          <p:spPr bwMode="auto">
            <a:xfrm>
              <a:off x="10877437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1" name="Rectangle 1733"/>
            <p:cNvSpPr>
              <a:spLocks noChangeArrowheads="1"/>
            </p:cNvSpPr>
            <p:nvPr/>
          </p:nvSpPr>
          <p:spPr bwMode="auto">
            <a:xfrm>
              <a:off x="10881422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2" name="Freeform 1734"/>
            <p:cNvSpPr>
              <a:spLocks/>
            </p:cNvSpPr>
            <p:nvPr/>
          </p:nvSpPr>
          <p:spPr bwMode="auto">
            <a:xfrm>
              <a:off x="10915292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3" name="Freeform 1735"/>
            <p:cNvSpPr>
              <a:spLocks/>
            </p:cNvSpPr>
            <p:nvPr/>
          </p:nvSpPr>
          <p:spPr bwMode="auto">
            <a:xfrm>
              <a:off x="10931231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4" name="Rectangle 1736"/>
            <p:cNvSpPr>
              <a:spLocks noChangeArrowheads="1"/>
            </p:cNvSpPr>
            <p:nvPr/>
          </p:nvSpPr>
          <p:spPr bwMode="auto">
            <a:xfrm>
              <a:off x="10935215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5" name="Freeform 1737"/>
            <p:cNvSpPr>
              <a:spLocks/>
            </p:cNvSpPr>
            <p:nvPr/>
          </p:nvSpPr>
          <p:spPr bwMode="auto">
            <a:xfrm>
              <a:off x="10969085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6" name="Freeform 1738"/>
            <p:cNvSpPr>
              <a:spLocks/>
            </p:cNvSpPr>
            <p:nvPr/>
          </p:nvSpPr>
          <p:spPr bwMode="auto">
            <a:xfrm>
              <a:off x="10987016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7" name="Rectangle 1739"/>
            <p:cNvSpPr>
              <a:spLocks noChangeArrowheads="1"/>
            </p:cNvSpPr>
            <p:nvPr/>
          </p:nvSpPr>
          <p:spPr bwMode="auto">
            <a:xfrm>
              <a:off x="10991001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8" name="Freeform 1740"/>
            <p:cNvSpPr>
              <a:spLocks/>
            </p:cNvSpPr>
            <p:nvPr/>
          </p:nvSpPr>
          <p:spPr bwMode="auto">
            <a:xfrm>
              <a:off x="11024871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89" name="Freeform 1741"/>
            <p:cNvSpPr>
              <a:spLocks/>
            </p:cNvSpPr>
            <p:nvPr/>
          </p:nvSpPr>
          <p:spPr bwMode="auto">
            <a:xfrm>
              <a:off x="11040809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0" name="Rectangle 1742"/>
            <p:cNvSpPr>
              <a:spLocks noChangeArrowheads="1"/>
            </p:cNvSpPr>
            <p:nvPr/>
          </p:nvSpPr>
          <p:spPr bwMode="auto">
            <a:xfrm>
              <a:off x="11044794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1" name="Freeform 1743"/>
            <p:cNvSpPr>
              <a:spLocks/>
            </p:cNvSpPr>
            <p:nvPr/>
          </p:nvSpPr>
          <p:spPr bwMode="auto">
            <a:xfrm>
              <a:off x="11078664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2" name="Freeform 1744"/>
            <p:cNvSpPr>
              <a:spLocks/>
            </p:cNvSpPr>
            <p:nvPr/>
          </p:nvSpPr>
          <p:spPr bwMode="auto">
            <a:xfrm>
              <a:off x="11096595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3" name="Rectangle 1745"/>
            <p:cNvSpPr>
              <a:spLocks noChangeArrowheads="1"/>
            </p:cNvSpPr>
            <p:nvPr/>
          </p:nvSpPr>
          <p:spPr bwMode="auto">
            <a:xfrm>
              <a:off x="11100580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4" name="Freeform 1746"/>
            <p:cNvSpPr>
              <a:spLocks/>
            </p:cNvSpPr>
            <p:nvPr/>
          </p:nvSpPr>
          <p:spPr bwMode="auto">
            <a:xfrm>
              <a:off x="11134449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5" name="Freeform 1747"/>
            <p:cNvSpPr>
              <a:spLocks/>
            </p:cNvSpPr>
            <p:nvPr/>
          </p:nvSpPr>
          <p:spPr bwMode="auto">
            <a:xfrm>
              <a:off x="11150388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6" name="Rectangle 1748"/>
            <p:cNvSpPr>
              <a:spLocks noChangeArrowheads="1"/>
            </p:cNvSpPr>
            <p:nvPr/>
          </p:nvSpPr>
          <p:spPr bwMode="auto">
            <a:xfrm>
              <a:off x="11154373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7" name="Freeform 1749"/>
            <p:cNvSpPr>
              <a:spLocks/>
            </p:cNvSpPr>
            <p:nvPr/>
          </p:nvSpPr>
          <p:spPr bwMode="auto">
            <a:xfrm>
              <a:off x="11188243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8" name="Freeform 1750"/>
            <p:cNvSpPr>
              <a:spLocks/>
            </p:cNvSpPr>
            <p:nvPr/>
          </p:nvSpPr>
          <p:spPr bwMode="auto">
            <a:xfrm>
              <a:off x="11206174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99" name="Rectangle 1751"/>
            <p:cNvSpPr>
              <a:spLocks noChangeArrowheads="1"/>
            </p:cNvSpPr>
            <p:nvPr/>
          </p:nvSpPr>
          <p:spPr bwMode="auto">
            <a:xfrm>
              <a:off x="11210158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0" name="Freeform 1752"/>
            <p:cNvSpPr>
              <a:spLocks/>
            </p:cNvSpPr>
            <p:nvPr/>
          </p:nvSpPr>
          <p:spPr bwMode="auto">
            <a:xfrm>
              <a:off x="11244028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1" name="Freeform 1753"/>
            <p:cNvSpPr>
              <a:spLocks/>
            </p:cNvSpPr>
            <p:nvPr/>
          </p:nvSpPr>
          <p:spPr bwMode="auto">
            <a:xfrm>
              <a:off x="11259967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2" name="Rectangle 1754"/>
            <p:cNvSpPr>
              <a:spLocks noChangeArrowheads="1"/>
            </p:cNvSpPr>
            <p:nvPr/>
          </p:nvSpPr>
          <p:spPr bwMode="auto">
            <a:xfrm>
              <a:off x="11263952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3" name="Freeform 1755"/>
            <p:cNvSpPr>
              <a:spLocks/>
            </p:cNvSpPr>
            <p:nvPr/>
          </p:nvSpPr>
          <p:spPr bwMode="auto">
            <a:xfrm>
              <a:off x="11297822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4" name="Freeform 1756"/>
            <p:cNvSpPr>
              <a:spLocks/>
            </p:cNvSpPr>
            <p:nvPr/>
          </p:nvSpPr>
          <p:spPr bwMode="auto">
            <a:xfrm>
              <a:off x="11315753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5" name="Rectangle 1757"/>
            <p:cNvSpPr>
              <a:spLocks noChangeArrowheads="1"/>
            </p:cNvSpPr>
            <p:nvPr/>
          </p:nvSpPr>
          <p:spPr bwMode="auto">
            <a:xfrm>
              <a:off x="11319737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6" name="Freeform 1758"/>
            <p:cNvSpPr>
              <a:spLocks/>
            </p:cNvSpPr>
            <p:nvPr/>
          </p:nvSpPr>
          <p:spPr bwMode="auto">
            <a:xfrm>
              <a:off x="11353607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7" name="Freeform 1759"/>
            <p:cNvSpPr>
              <a:spLocks/>
            </p:cNvSpPr>
            <p:nvPr/>
          </p:nvSpPr>
          <p:spPr bwMode="auto">
            <a:xfrm>
              <a:off x="11369546" y="1234346"/>
              <a:ext cx="3985" cy="597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8" name="Rectangle 1760"/>
            <p:cNvSpPr>
              <a:spLocks noChangeArrowheads="1"/>
            </p:cNvSpPr>
            <p:nvPr/>
          </p:nvSpPr>
          <p:spPr bwMode="auto">
            <a:xfrm>
              <a:off x="11373531" y="1234346"/>
              <a:ext cx="33870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09" name="Freeform 1761"/>
            <p:cNvSpPr>
              <a:spLocks/>
            </p:cNvSpPr>
            <p:nvPr/>
          </p:nvSpPr>
          <p:spPr bwMode="auto">
            <a:xfrm>
              <a:off x="11407400" y="1234346"/>
              <a:ext cx="3985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0" name="Freeform 1762"/>
            <p:cNvSpPr>
              <a:spLocks/>
            </p:cNvSpPr>
            <p:nvPr/>
          </p:nvSpPr>
          <p:spPr bwMode="auto">
            <a:xfrm>
              <a:off x="11425331" y="1234346"/>
              <a:ext cx="1992" cy="59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0"/>
                </a:cxn>
              </a:cxnLst>
              <a:rect l="0" t="0" r="r" b="b"/>
              <a:pathLst>
                <a:path w="1" h="3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1" name="Rectangle 1763"/>
            <p:cNvSpPr>
              <a:spLocks noChangeArrowheads="1"/>
            </p:cNvSpPr>
            <p:nvPr/>
          </p:nvSpPr>
          <p:spPr bwMode="auto">
            <a:xfrm>
              <a:off x="11427324" y="1234346"/>
              <a:ext cx="35862" cy="5977"/>
            </a:xfrm>
            <a:prstGeom prst="rect">
              <a:avLst/>
            </a:prstGeom>
            <a:solidFill>
              <a:srgbClr val="99999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2" name="Freeform 1764"/>
            <p:cNvSpPr>
              <a:spLocks/>
            </p:cNvSpPr>
            <p:nvPr/>
          </p:nvSpPr>
          <p:spPr bwMode="auto">
            <a:xfrm>
              <a:off x="11463186" y="1234346"/>
              <a:ext cx="1992" cy="597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3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999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3" name="Line 1765"/>
            <p:cNvSpPr>
              <a:spLocks noChangeShapeType="1"/>
            </p:cNvSpPr>
            <p:nvPr/>
          </p:nvSpPr>
          <p:spPr bwMode="auto">
            <a:xfrm>
              <a:off x="9638201" y="3162933"/>
              <a:ext cx="1838932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4" name="Line 1766"/>
            <p:cNvSpPr>
              <a:spLocks noChangeShapeType="1"/>
            </p:cNvSpPr>
            <p:nvPr/>
          </p:nvSpPr>
          <p:spPr bwMode="auto">
            <a:xfrm>
              <a:off x="9638201" y="2521399"/>
              <a:ext cx="6774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5" name="Line 1767"/>
            <p:cNvSpPr>
              <a:spLocks noChangeShapeType="1"/>
            </p:cNvSpPr>
            <p:nvPr/>
          </p:nvSpPr>
          <p:spPr bwMode="auto">
            <a:xfrm>
              <a:off x="9638201" y="1879864"/>
              <a:ext cx="6774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6" name="Line 1768"/>
            <p:cNvSpPr>
              <a:spLocks noChangeShapeType="1"/>
            </p:cNvSpPr>
            <p:nvPr/>
          </p:nvSpPr>
          <p:spPr bwMode="auto">
            <a:xfrm>
              <a:off x="9638201" y="1238330"/>
              <a:ext cx="67740" cy="1992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7" name="Line 1769"/>
            <p:cNvSpPr>
              <a:spLocks noChangeShapeType="1"/>
            </p:cNvSpPr>
            <p:nvPr/>
          </p:nvSpPr>
          <p:spPr bwMode="auto">
            <a:xfrm>
              <a:off x="9705940" y="1238330"/>
              <a:ext cx="1992" cy="3165831"/>
            </a:xfrm>
            <a:prstGeom prst="line">
              <a:avLst/>
            </a:pr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8" name="Freeform 1770"/>
            <p:cNvSpPr>
              <a:spLocks noEditPoints="1"/>
            </p:cNvSpPr>
            <p:nvPr/>
          </p:nvSpPr>
          <p:spPr bwMode="auto">
            <a:xfrm>
              <a:off x="10102416" y="3352205"/>
              <a:ext cx="932416" cy="643526"/>
            </a:xfrm>
            <a:custGeom>
              <a:avLst/>
              <a:gdLst/>
              <a:ahLst/>
              <a:cxnLst>
                <a:cxn ang="0">
                  <a:pos x="659" y="325"/>
                </a:cxn>
                <a:cxn ang="0">
                  <a:pos x="637" y="4"/>
                </a:cxn>
                <a:cxn ang="0">
                  <a:pos x="766" y="69"/>
                </a:cxn>
                <a:cxn ang="0">
                  <a:pos x="768" y="129"/>
                </a:cxn>
                <a:cxn ang="0">
                  <a:pos x="884" y="323"/>
                </a:cxn>
                <a:cxn ang="0">
                  <a:pos x="925" y="7"/>
                </a:cxn>
                <a:cxn ang="0">
                  <a:pos x="1020" y="321"/>
                </a:cxn>
                <a:cxn ang="0">
                  <a:pos x="1004" y="271"/>
                </a:cxn>
                <a:cxn ang="0">
                  <a:pos x="1117" y="200"/>
                </a:cxn>
                <a:cxn ang="0">
                  <a:pos x="1053" y="5"/>
                </a:cxn>
                <a:cxn ang="0">
                  <a:pos x="1166" y="40"/>
                </a:cxn>
                <a:cxn ang="0">
                  <a:pos x="1067" y="39"/>
                </a:cxn>
                <a:cxn ang="0">
                  <a:pos x="1161" y="178"/>
                </a:cxn>
                <a:cxn ang="0">
                  <a:pos x="1444" y="326"/>
                </a:cxn>
                <a:cxn ang="0">
                  <a:pos x="1228" y="327"/>
                </a:cxn>
                <a:cxn ang="0">
                  <a:pos x="1345" y="3"/>
                </a:cxn>
                <a:cxn ang="0">
                  <a:pos x="1400" y="207"/>
                </a:cxn>
                <a:cxn ang="0">
                  <a:pos x="1530" y="396"/>
                </a:cxn>
                <a:cxn ang="0">
                  <a:pos x="1539" y="280"/>
                </a:cxn>
                <a:cxn ang="0">
                  <a:pos x="364" y="754"/>
                </a:cxn>
                <a:cxn ang="0">
                  <a:pos x="205" y="909"/>
                </a:cxn>
                <a:cxn ang="0">
                  <a:pos x="165" y="589"/>
                </a:cxn>
                <a:cxn ang="0">
                  <a:pos x="220" y="605"/>
                </a:cxn>
                <a:cxn ang="0">
                  <a:pos x="325" y="673"/>
                </a:cxn>
                <a:cxn ang="0">
                  <a:pos x="238" y="781"/>
                </a:cxn>
                <a:cxn ang="0">
                  <a:pos x="460" y="713"/>
                </a:cxn>
                <a:cxn ang="0">
                  <a:pos x="610" y="778"/>
                </a:cxn>
                <a:cxn ang="0">
                  <a:pos x="584" y="820"/>
                </a:cxn>
                <a:cxn ang="0">
                  <a:pos x="480" y="590"/>
                </a:cxn>
                <a:cxn ang="0">
                  <a:pos x="523" y="614"/>
                </a:cxn>
                <a:cxn ang="0">
                  <a:pos x="698" y="823"/>
                </a:cxn>
                <a:cxn ang="0">
                  <a:pos x="722" y="587"/>
                </a:cxn>
                <a:cxn ang="0">
                  <a:pos x="832" y="585"/>
                </a:cxn>
                <a:cxn ang="0">
                  <a:pos x="943" y="587"/>
                </a:cxn>
                <a:cxn ang="0">
                  <a:pos x="1242" y="709"/>
                </a:cxn>
                <a:cxn ang="0">
                  <a:pos x="1222" y="780"/>
                </a:cxn>
                <a:cxn ang="0">
                  <a:pos x="1233" y="809"/>
                </a:cxn>
                <a:cxn ang="0">
                  <a:pos x="1048" y="654"/>
                </a:cxn>
                <a:cxn ang="0">
                  <a:pos x="1205" y="683"/>
                </a:cxn>
                <a:cxn ang="0">
                  <a:pos x="1504" y="820"/>
                </a:cxn>
                <a:cxn ang="0">
                  <a:pos x="1350" y="718"/>
                </a:cxn>
                <a:cxn ang="0">
                  <a:pos x="1309" y="816"/>
                </a:cxn>
                <a:cxn ang="0">
                  <a:pos x="1350" y="593"/>
                </a:cxn>
                <a:cxn ang="0">
                  <a:pos x="1501" y="587"/>
                </a:cxn>
                <a:cxn ang="0">
                  <a:pos x="1750" y="824"/>
                </a:cxn>
                <a:cxn ang="0">
                  <a:pos x="1619" y="817"/>
                </a:cxn>
                <a:cxn ang="0">
                  <a:pos x="1581" y="593"/>
                </a:cxn>
                <a:cxn ang="0">
                  <a:pos x="1620" y="760"/>
                </a:cxn>
                <a:cxn ang="0">
                  <a:pos x="1776" y="587"/>
                </a:cxn>
                <a:cxn ang="0">
                  <a:pos x="1901" y="772"/>
                </a:cxn>
                <a:cxn ang="0">
                  <a:pos x="2037" y="786"/>
                </a:cxn>
                <a:cxn ang="0">
                  <a:pos x="1953" y="827"/>
                </a:cxn>
                <a:cxn ang="0">
                  <a:pos x="1993" y="590"/>
                </a:cxn>
                <a:cxn ang="0">
                  <a:pos x="1901" y="635"/>
                </a:cxn>
                <a:cxn ang="0">
                  <a:pos x="158" y="1321"/>
                </a:cxn>
                <a:cxn ang="0">
                  <a:pos x="30" y="1321"/>
                </a:cxn>
                <a:cxn ang="0">
                  <a:pos x="176" y="1083"/>
                </a:cxn>
                <a:cxn ang="0">
                  <a:pos x="355" y="1322"/>
                </a:cxn>
                <a:cxn ang="0">
                  <a:pos x="275" y="1409"/>
                </a:cxn>
                <a:cxn ang="0">
                  <a:pos x="291" y="1082"/>
                </a:cxn>
                <a:cxn ang="0">
                  <a:pos x="421" y="1088"/>
                </a:cxn>
                <a:cxn ang="0">
                  <a:pos x="356" y="1116"/>
                </a:cxn>
                <a:cxn ang="0">
                  <a:pos x="424" y="1234"/>
                </a:cxn>
              </a:cxnLst>
              <a:rect l="0" t="0" r="r" b="b"/>
              <a:pathLst>
                <a:path w="2047" h="1410">
                  <a:moveTo>
                    <a:pt x="818" y="98"/>
                  </a:moveTo>
                  <a:cubicBezTo>
                    <a:pt x="818" y="115"/>
                    <a:pt x="815" y="129"/>
                    <a:pt x="810" y="142"/>
                  </a:cubicBezTo>
                  <a:cubicBezTo>
                    <a:pt x="805" y="155"/>
                    <a:pt x="797" y="166"/>
                    <a:pt x="787" y="175"/>
                  </a:cubicBezTo>
                  <a:cubicBezTo>
                    <a:pt x="777" y="184"/>
                    <a:pt x="765" y="191"/>
                    <a:pt x="751" y="196"/>
                  </a:cubicBezTo>
                  <a:cubicBezTo>
                    <a:pt x="737" y="201"/>
                    <a:pt x="720" y="204"/>
                    <a:pt x="700" y="204"/>
                  </a:cubicBezTo>
                  <a:lnTo>
                    <a:pt x="663" y="204"/>
                  </a:lnTo>
                  <a:lnTo>
                    <a:pt x="663" y="319"/>
                  </a:lnTo>
                  <a:cubicBezTo>
                    <a:pt x="663" y="321"/>
                    <a:pt x="663" y="322"/>
                    <a:pt x="662" y="323"/>
                  </a:cubicBezTo>
                  <a:cubicBezTo>
                    <a:pt x="661" y="324"/>
                    <a:pt x="660" y="325"/>
                    <a:pt x="659" y="325"/>
                  </a:cubicBezTo>
                  <a:cubicBezTo>
                    <a:pt x="657" y="326"/>
                    <a:pt x="655" y="326"/>
                    <a:pt x="652" y="327"/>
                  </a:cubicBezTo>
                  <a:cubicBezTo>
                    <a:pt x="649" y="327"/>
                    <a:pt x="646" y="327"/>
                    <a:pt x="642" y="327"/>
                  </a:cubicBezTo>
                  <a:cubicBezTo>
                    <a:pt x="638" y="327"/>
                    <a:pt x="634" y="327"/>
                    <a:pt x="631" y="327"/>
                  </a:cubicBezTo>
                  <a:cubicBezTo>
                    <a:pt x="629" y="326"/>
                    <a:pt x="627" y="326"/>
                    <a:pt x="625" y="325"/>
                  </a:cubicBezTo>
                  <a:cubicBezTo>
                    <a:pt x="623" y="325"/>
                    <a:pt x="622" y="324"/>
                    <a:pt x="621" y="323"/>
                  </a:cubicBezTo>
                  <a:cubicBezTo>
                    <a:pt x="621" y="322"/>
                    <a:pt x="620" y="321"/>
                    <a:pt x="620" y="319"/>
                  </a:cubicBezTo>
                  <a:lnTo>
                    <a:pt x="620" y="23"/>
                  </a:lnTo>
                  <a:cubicBezTo>
                    <a:pt x="620" y="16"/>
                    <a:pt x="622" y="11"/>
                    <a:pt x="626" y="9"/>
                  </a:cubicBezTo>
                  <a:cubicBezTo>
                    <a:pt x="629" y="6"/>
                    <a:pt x="633" y="4"/>
                    <a:pt x="637" y="4"/>
                  </a:cubicBezTo>
                  <a:lnTo>
                    <a:pt x="706" y="4"/>
                  </a:lnTo>
                  <a:cubicBezTo>
                    <a:pt x="713" y="4"/>
                    <a:pt x="720" y="5"/>
                    <a:pt x="726" y="5"/>
                  </a:cubicBezTo>
                  <a:cubicBezTo>
                    <a:pt x="733" y="6"/>
                    <a:pt x="740" y="7"/>
                    <a:pt x="749" y="9"/>
                  </a:cubicBezTo>
                  <a:cubicBezTo>
                    <a:pt x="757" y="11"/>
                    <a:pt x="766" y="14"/>
                    <a:pt x="775" y="20"/>
                  </a:cubicBezTo>
                  <a:cubicBezTo>
                    <a:pt x="784" y="25"/>
                    <a:pt x="792" y="31"/>
                    <a:pt x="798" y="39"/>
                  </a:cubicBezTo>
                  <a:cubicBezTo>
                    <a:pt x="805" y="46"/>
                    <a:pt x="809" y="55"/>
                    <a:pt x="813" y="65"/>
                  </a:cubicBezTo>
                  <a:cubicBezTo>
                    <a:pt x="816" y="75"/>
                    <a:pt x="818" y="86"/>
                    <a:pt x="818" y="98"/>
                  </a:cubicBezTo>
                  <a:close/>
                  <a:moveTo>
                    <a:pt x="773" y="102"/>
                  </a:moveTo>
                  <a:cubicBezTo>
                    <a:pt x="773" y="89"/>
                    <a:pt x="771" y="78"/>
                    <a:pt x="766" y="69"/>
                  </a:cubicBezTo>
                  <a:cubicBezTo>
                    <a:pt x="761" y="60"/>
                    <a:pt x="755" y="54"/>
                    <a:pt x="747" y="50"/>
                  </a:cubicBezTo>
                  <a:cubicBezTo>
                    <a:pt x="740" y="45"/>
                    <a:pt x="733" y="42"/>
                    <a:pt x="725" y="41"/>
                  </a:cubicBezTo>
                  <a:cubicBezTo>
                    <a:pt x="717" y="40"/>
                    <a:pt x="710" y="40"/>
                    <a:pt x="703" y="40"/>
                  </a:cubicBezTo>
                  <a:lnTo>
                    <a:pt x="663" y="40"/>
                  </a:lnTo>
                  <a:lnTo>
                    <a:pt x="663" y="168"/>
                  </a:lnTo>
                  <a:lnTo>
                    <a:pt x="702" y="168"/>
                  </a:lnTo>
                  <a:cubicBezTo>
                    <a:pt x="715" y="168"/>
                    <a:pt x="725" y="167"/>
                    <a:pt x="734" y="164"/>
                  </a:cubicBezTo>
                  <a:cubicBezTo>
                    <a:pt x="742" y="160"/>
                    <a:pt x="749" y="156"/>
                    <a:pt x="755" y="150"/>
                  </a:cubicBezTo>
                  <a:cubicBezTo>
                    <a:pt x="761" y="144"/>
                    <a:pt x="765" y="137"/>
                    <a:pt x="768" y="129"/>
                  </a:cubicBezTo>
                  <a:cubicBezTo>
                    <a:pt x="771" y="120"/>
                    <a:pt x="773" y="112"/>
                    <a:pt x="773" y="102"/>
                  </a:cubicBezTo>
                  <a:close/>
                  <a:moveTo>
                    <a:pt x="926" y="319"/>
                  </a:moveTo>
                  <a:cubicBezTo>
                    <a:pt x="926" y="321"/>
                    <a:pt x="926" y="322"/>
                    <a:pt x="925" y="323"/>
                  </a:cubicBezTo>
                  <a:cubicBezTo>
                    <a:pt x="924" y="324"/>
                    <a:pt x="923" y="325"/>
                    <a:pt x="922" y="325"/>
                  </a:cubicBezTo>
                  <a:cubicBezTo>
                    <a:pt x="920" y="326"/>
                    <a:pt x="918" y="326"/>
                    <a:pt x="915" y="327"/>
                  </a:cubicBezTo>
                  <a:cubicBezTo>
                    <a:pt x="912" y="327"/>
                    <a:pt x="909" y="327"/>
                    <a:pt x="905" y="327"/>
                  </a:cubicBezTo>
                  <a:cubicBezTo>
                    <a:pt x="901" y="327"/>
                    <a:pt x="897" y="327"/>
                    <a:pt x="894" y="327"/>
                  </a:cubicBezTo>
                  <a:cubicBezTo>
                    <a:pt x="892" y="326"/>
                    <a:pt x="889" y="326"/>
                    <a:pt x="888" y="325"/>
                  </a:cubicBezTo>
                  <a:cubicBezTo>
                    <a:pt x="886" y="325"/>
                    <a:pt x="885" y="324"/>
                    <a:pt x="884" y="323"/>
                  </a:cubicBezTo>
                  <a:cubicBezTo>
                    <a:pt x="884" y="322"/>
                    <a:pt x="883" y="321"/>
                    <a:pt x="883" y="319"/>
                  </a:cubicBezTo>
                  <a:lnTo>
                    <a:pt x="883" y="11"/>
                  </a:lnTo>
                  <a:cubicBezTo>
                    <a:pt x="883" y="9"/>
                    <a:pt x="884" y="8"/>
                    <a:pt x="884" y="7"/>
                  </a:cubicBezTo>
                  <a:cubicBezTo>
                    <a:pt x="885" y="6"/>
                    <a:pt x="886" y="5"/>
                    <a:pt x="888" y="5"/>
                  </a:cubicBezTo>
                  <a:cubicBezTo>
                    <a:pt x="890" y="4"/>
                    <a:pt x="892" y="4"/>
                    <a:pt x="895" y="3"/>
                  </a:cubicBezTo>
                  <a:cubicBezTo>
                    <a:pt x="898" y="3"/>
                    <a:pt x="901" y="3"/>
                    <a:pt x="905" y="3"/>
                  </a:cubicBezTo>
                  <a:cubicBezTo>
                    <a:pt x="909" y="3"/>
                    <a:pt x="912" y="3"/>
                    <a:pt x="915" y="3"/>
                  </a:cubicBezTo>
                  <a:cubicBezTo>
                    <a:pt x="918" y="4"/>
                    <a:pt x="920" y="4"/>
                    <a:pt x="922" y="5"/>
                  </a:cubicBezTo>
                  <a:cubicBezTo>
                    <a:pt x="923" y="5"/>
                    <a:pt x="924" y="6"/>
                    <a:pt x="925" y="7"/>
                  </a:cubicBezTo>
                  <a:cubicBezTo>
                    <a:pt x="926" y="8"/>
                    <a:pt x="926" y="9"/>
                    <a:pt x="926" y="11"/>
                  </a:cubicBezTo>
                  <a:lnTo>
                    <a:pt x="926" y="319"/>
                  </a:lnTo>
                  <a:close/>
                  <a:moveTo>
                    <a:pt x="1184" y="236"/>
                  </a:moveTo>
                  <a:cubicBezTo>
                    <a:pt x="1184" y="251"/>
                    <a:pt x="1181" y="264"/>
                    <a:pt x="1176" y="276"/>
                  </a:cubicBezTo>
                  <a:cubicBezTo>
                    <a:pt x="1170" y="288"/>
                    <a:pt x="1163" y="298"/>
                    <a:pt x="1153" y="306"/>
                  </a:cubicBezTo>
                  <a:cubicBezTo>
                    <a:pt x="1143" y="314"/>
                    <a:pt x="1131" y="320"/>
                    <a:pt x="1118" y="324"/>
                  </a:cubicBezTo>
                  <a:cubicBezTo>
                    <a:pt x="1105" y="328"/>
                    <a:pt x="1090" y="331"/>
                    <a:pt x="1075" y="331"/>
                  </a:cubicBezTo>
                  <a:cubicBezTo>
                    <a:pt x="1064" y="331"/>
                    <a:pt x="1054" y="330"/>
                    <a:pt x="1045" y="328"/>
                  </a:cubicBezTo>
                  <a:cubicBezTo>
                    <a:pt x="1036" y="326"/>
                    <a:pt x="1028" y="324"/>
                    <a:pt x="1020" y="321"/>
                  </a:cubicBezTo>
                  <a:cubicBezTo>
                    <a:pt x="1013" y="318"/>
                    <a:pt x="1007" y="316"/>
                    <a:pt x="1002" y="313"/>
                  </a:cubicBezTo>
                  <a:cubicBezTo>
                    <a:pt x="997" y="310"/>
                    <a:pt x="994" y="308"/>
                    <a:pt x="992" y="306"/>
                  </a:cubicBezTo>
                  <a:cubicBezTo>
                    <a:pt x="990" y="304"/>
                    <a:pt x="989" y="301"/>
                    <a:pt x="988" y="298"/>
                  </a:cubicBezTo>
                  <a:cubicBezTo>
                    <a:pt x="987" y="295"/>
                    <a:pt x="986" y="291"/>
                    <a:pt x="986" y="286"/>
                  </a:cubicBezTo>
                  <a:cubicBezTo>
                    <a:pt x="986" y="282"/>
                    <a:pt x="987" y="279"/>
                    <a:pt x="987" y="277"/>
                  </a:cubicBezTo>
                  <a:cubicBezTo>
                    <a:pt x="987" y="274"/>
                    <a:pt x="988" y="272"/>
                    <a:pt x="988" y="271"/>
                  </a:cubicBezTo>
                  <a:cubicBezTo>
                    <a:pt x="989" y="269"/>
                    <a:pt x="990" y="268"/>
                    <a:pt x="991" y="268"/>
                  </a:cubicBezTo>
                  <a:cubicBezTo>
                    <a:pt x="992" y="267"/>
                    <a:pt x="993" y="267"/>
                    <a:pt x="994" y="267"/>
                  </a:cubicBezTo>
                  <a:cubicBezTo>
                    <a:pt x="997" y="267"/>
                    <a:pt x="1000" y="268"/>
                    <a:pt x="1004" y="271"/>
                  </a:cubicBezTo>
                  <a:cubicBezTo>
                    <a:pt x="1008" y="274"/>
                    <a:pt x="1014" y="277"/>
                    <a:pt x="1020" y="280"/>
                  </a:cubicBezTo>
                  <a:cubicBezTo>
                    <a:pt x="1027" y="284"/>
                    <a:pt x="1035" y="287"/>
                    <a:pt x="1044" y="290"/>
                  </a:cubicBezTo>
                  <a:cubicBezTo>
                    <a:pt x="1054" y="293"/>
                    <a:pt x="1065" y="294"/>
                    <a:pt x="1077" y="294"/>
                  </a:cubicBezTo>
                  <a:cubicBezTo>
                    <a:pt x="1086" y="294"/>
                    <a:pt x="1095" y="293"/>
                    <a:pt x="1102" y="290"/>
                  </a:cubicBezTo>
                  <a:cubicBezTo>
                    <a:pt x="1110" y="288"/>
                    <a:pt x="1117" y="284"/>
                    <a:pt x="1122" y="280"/>
                  </a:cubicBezTo>
                  <a:cubicBezTo>
                    <a:pt x="1128" y="275"/>
                    <a:pt x="1132" y="270"/>
                    <a:pt x="1135" y="263"/>
                  </a:cubicBezTo>
                  <a:cubicBezTo>
                    <a:pt x="1138" y="256"/>
                    <a:pt x="1139" y="249"/>
                    <a:pt x="1139" y="240"/>
                  </a:cubicBezTo>
                  <a:cubicBezTo>
                    <a:pt x="1139" y="231"/>
                    <a:pt x="1137" y="223"/>
                    <a:pt x="1133" y="217"/>
                  </a:cubicBezTo>
                  <a:cubicBezTo>
                    <a:pt x="1129" y="211"/>
                    <a:pt x="1124" y="205"/>
                    <a:pt x="1117" y="200"/>
                  </a:cubicBezTo>
                  <a:cubicBezTo>
                    <a:pt x="1110" y="195"/>
                    <a:pt x="1102" y="191"/>
                    <a:pt x="1094" y="187"/>
                  </a:cubicBezTo>
                  <a:cubicBezTo>
                    <a:pt x="1085" y="182"/>
                    <a:pt x="1076" y="178"/>
                    <a:pt x="1067" y="174"/>
                  </a:cubicBezTo>
                  <a:cubicBezTo>
                    <a:pt x="1058" y="170"/>
                    <a:pt x="1049" y="165"/>
                    <a:pt x="1040" y="160"/>
                  </a:cubicBezTo>
                  <a:cubicBezTo>
                    <a:pt x="1032" y="155"/>
                    <a:pt x="1024" y="149"/>
                    <a:pt x="1017" y="142"/>
                  </a:cubicBezTo>
                  <a:cubicBezTo>
                    <a:pt x="1010" y="135"/>
                    <a:pt x="1005" y="127"/>
                    <a:pt x="1001" y="117"/>
                  </a:cubicBezTo>
                  <a:cubicBezTo>
                    <a:pt x="997" y="108"/>
                    <a:pt x="994" y="97"/>
                    <a:pt x="994" y="84"/>
                  </a:cubicBezTo>
                  <a:cubicBezTo>
                    <a:pt x="994" y="70"/>
                    <a:pt x="997" y="58"/>
                    <a:pt x="1002" y="48"/>
                  </a:cubicBezTo>
                  <a:cubicBezTo>
                    <a:pt x="1007" y="37"/>
                    <a:pt x="1013" y="29"/>
                    <a:pt x="1022" y="21"/>
                  </a:cubicBezTo>
                  <a:cubicBezTo>
                    <a:pt x="1031" y="14"/>
                    <a:pt x="1041" y="9"/>
                    <a:pt x="1053" y="5"/>
                  </a:cubicBezTo>
                  <a:cubicBezTo>
                    <a:pt x="1065" y="1"/>
                    <a:pt x="1078" y="0"/>
                    <a:pt x="1092" y="0"/>
                  </a:cubicBezTo>
                  <a:cubicBezTo>
                    <a:pt x="1099" y="0"/>
                    <a:pt x="1106" y="0"/>
                    <a:pt x="1114" y="1"/>
                  </a:cubicBezTo>
                  <a:cubicBezTo>
                    <a:pt x="1121" y="3"/>
                    <a:pt x="1128" y="4"/>
                    <a:pt x="1134" y="6"/>
                  </a:cubicBezTo>
                  <a:cubicBezTo>
                    <a:pt x="1140" y="8"/>
                    <a:pt x="1146" y="11"/>
                    <a:pt x="1151" y="13"/>
                  </a:cubicBezTo>
                  <a:cubicBezTo>
                    <a:pt x="1156" y="16"/>
                    <a:pt x="1159" y="18"/>
                    <a:pt x="1161" y="20"/>
                  </a:cubicBezTo>
                  <a:cubicBezTo>
                    <a:pt x="1162" y="21"/>
                    <a:pt x="1163" y="22"/>
                    <a:pt x="1164" y="23"/>
                  </a:cubicBezTo>
                  <a:cubicBezTo>
                    <a:pt x="1164" y="24"/>
                    <a:pt x="1165" y="25"/>
                    <a:pt x="1165" y="27"/>
                  </a:cubicBezTo>
                  <a:cubicBezTo>
                    <a:pt x="1165" y="28"/>
                    <a:pt x="1166" y="30"/>
                    <a:pt x="1166" y="32"/>
                  </a:cubicBezTo>
                  <a:cubicBezTo>
                    <a:pt x="1166" y="34"/>
                    <a:pt x="1166" y="36"/>
                    <a:pt x="1166" y="40"/>
                  </a:cubicBezTo>
                  <a:cubicBezTo>
                    <a:pt x="1166" y="43"/>
                    <a:pt x="1166" y="45"/>
                    <a:pt x="1166" y="48"/>
                  </a:cubicBezTo>
                  <a:cubicBezTo>
                    <a:pt x="1165" y="50"/>
                    <a:pt x="1165" y="52"/>
                    <a:pt x="1165" y="53"/>
                  </a:cubicBezTo>
                  <a:cubicBezTo>
                    <a:pt x="1164" y="55"/>
                    <a:pt x="1163" y="56"/>
                    <a:pt x="1162" y="57"/>
                  </a:cubicBezTo>
                  <a:cubicBezTo>
                    <a:pt x="1162" y="58"/>
                    <a:pt x="1161" y="58"/>
                    <a:pt x="1159" y="58"/>
                  </a:cubicBezTo>
                  <a:cubicBezTo>
                    <a:pt x="1158" y="58"/>
                    <a:pt x="1155" y="57"/>
                    <a:pt x="1151" y="55"/>
                  </a:cubicBezTo>
                  <a:cubicBezTo>
                    <a:pt x="1147" y="52"/>
                    <a:pt x="1142" y="50"/>
                    <a:pt x="1137" y="47"/>
                  </a:cubicBezTo>
                  <a:cubicBezTo>
                    <a:pt x="1131" y="44"/>
                    <a:pt x="1124" y="41"/>
                    <a:pt x="1116" y="39"/>
                  </a:cubicBezTo>
                  <a:cubicBezTo>
                    <a:pt x="1109" y="36"/>
                    <a:pt x="1100" y="35"/>
                    <a:pt x="1091" y="35"/>
                  </a:cubicBezTo>
                  <a:cubicBezTo>
                    <a:pt x="1082" y="35"/>
                    <a:pt x="1074" y="36"/>
                    <a:pt x="1067" y="39"/>
                  </a:cubicBezTo>
                  <a:cubicBezTo>
                    <a:pt x="1061" y="41"/>
                    <a:pt x="1055" y="44"/>
                    <a:pt x="1051" y="48"/>
                  </a:cubicBezTo>
                  <a:cubicBezTo>
                    <a:pt x="1046" y="52"/>
                    <a:pt x="1043" y="57"/>
                    <a:pt x="1041" y="62"/>
                  </a:cubicBezTo>
                  <a:cubicBezTo>
                    <a:pt x="1039" y="68"/>
                    <a:pt x="1038" y="74"/>
                    <a:pt x="1038" y="80"/>
                  </a:cubicBezTo>
                  <a:cubicBezTo>
                    <a:pt x="1038" y="89"/>
                    <a:pt x="1040" y="96"/>
                    <a:pt x="1044" y="103"/>
                  </a:cubicBezTo>
                  <a:cubicBezTo>
                    <a:pt x="1048" y="109"/>
                    <a:pt x="1054" y="115"/>
                    <a:pt x="1061" y="120"/>
                  </a:cubicBezTo>
                  <a:cubicBezTo>
                    <a:pt x="1067" y="125"/>
                    <a:pt x="1075" y="130"/>
                    <a:pt x="1084" y="134"/>
                  </a:cubicBezTo>
                  <a:cubicBezTo>
                    <a:pt x="1093" y="138"/>
                    <a:pt x="1102" y="142"/>
                    <a:pt x="1111" y="146"/>
                  </a:cubicBezTo>
                  <a:cubicBezTo>
                    <a:pt x="1120" y="151"/>
                    <a:pt x="1129" y="155"/>
                    <a:pt x="1138" y="160"/>
                  </a:cubicBezTo>
                  <a:cubicBezTo>
                    <a:pt x="1147" y="165"/>
                    <a:pt x="1154" y="171"/>
                    <a:pt x="1161" y="178"/>
                  </a:cubicBezTo>
                  <a:cubicBezTo>
                    <a:pt x="1168" y="185"/>
                    <a:pt x="1174" y="193"/>
                    <a:pt x="1178" y="202"/>
                  </a:cubicBezTo>
                  <a:cubicBezTo>
                    <a:pt x="1182" y="212"/>
                    <a:pt x="1184" y="223"/>
                    <a:pt x="1184" y="236"/>
                  </a:cubicBezTo>
                  <a:close/>
                  <a:moveTo>
                    <a:pt x="1482" y="311"/>
                  </a:moveTo>
                  <a:cubicBezTo>
                    <a:pt x="1484" y="314"/>
                    <a:pt x="1484" y="317"/>
                    <a:pt x="1484" y="319"/>
                  </a:cubicBezTo>
                  <a:cubicBezTo>
                    <a:pt x="1485" y="322"/>
                    <a:pt x="1484" y="323"/>
                    <a:pt x="1483" y="325"/>
                  </a:cubicBezTo>
                  <a:cubicBezTo>
                    <a:pt x="1481" y="326"/>
                    <a:pt x="1479" y="326"/>
                    <a:pt x="1476" y="327"/>
                  </a:cubicBezTo>
                  <a:cubicBezTo>
                    <a:pt x="1473" y="327"/>
                    <a:pt x="1469" y="327"/>
                    <a:pt x="1464" y="327"/>
                  </a:cubicBezTo>
                  <a:cubicBezTo>
                    <a:pt x="1459" y="327"/>
                    <a:pt x="1454" y="327"/>
                    <a:pt x="1451" y="327"/>
                  </a:cubicBezTo>
                  <a:cubicBezTo>
                    <a:pt x="1448" y="327"/>
                    <a:pt x="1446" y="326"/>
                    <a:pt x="1444" y="326"/>
                  </a:cubicBezTo>
                  <a:cubicBezTo>
                    <a:pt x="1443" y="325"/>
                    <a:pt x="1442" y="324"/>
                    <a:pt x="1441" y="323"/>
                  </a:cubicBezTo>
                  <a:cubicBezTo>
                    <a:pt x="1440" y="322"/>
                    <a:pt x="1439" y="321"/>
                    <a:pt x="1439" y="320"/>
                  </a:cubicBezTo>
                  <a:lnTo>
                    <a:pt x="1411" y="241"/>
                  </a:lnTo>
                  <a:lnTo>
                    <a:pt x="1278" y="241"/>
                  </a:lnTo>
                  <a:lnTo>
                    <a:pt x="1251" y="319"/>
                  </a:lnTo>
                  <a:cubicBezTo>
                    <a:pt x="1251" y="320"/>
                    <a:pt x="1250" y="321"/>
                    <a:pt x="1249" y="322"/>
                  </a:cubicBezTo>
                  <a:cubicBezTo>
                    <a:pt x="1248" y="323"/>
                    <a:pt x="1247" y="324"/>
                    <a:pt x="1246" y="325"/>
                  </a:cubicBezTo>
                  <a:cubicBezTo>
                    <a:pt x="1244" y="326"/>
                    <a:pt x="1242" y="326"/>
                    <a:pt x="1239" y="327"/>
                  </a:cubicBezTo>
                  <a:cubicBezTo>
                    <a:pt x="1236" y="327"/>
                    <a:pt x="1232" y="327"/>
                    <a:pt x="1228" y="327"/>
                  </a:cubicBezTo>
                  <a:cubicBezTo>
                    <a:pt x="1223" y="327"/>
                    <a:pt x="1219" y="327"/>
                    <a:pt x="1216" y="327"/>
                  </a:cubicBezTo>
                  <a:cubicBezTo>
                    <a:pt x="1213" y="326"/>
                    <a:pt x="1211" y="325"/>
                    <a:pt x="1209" y="324"/>
                  </a:cubicBezTo>
                  <a:cubicBezTo>
                    <a:pt x="1208" y="323"/>
                    <a:pt x="1208" y="321"/>
                    <a:pt x="1208" y="319"/>
                  </a:cubicBezTo>
                  <a:cubicBezTo>
                    <a:pt x="1208" y="317"/>
                    <a:pt x="1208" y="314"/>
                    <a:pt x="1210" y="310"/>
                  </a:cubicBezTo>
                  <a:lnTo>
                    <a:pt x="1318" y="12"/>
                  </a:lnTo>
                  <a:cubicBezTo>
                    <a:pt x="1318" y="10"/>
                    <a:pt x="1319" y="8"/>
                    <a:pt x="1320" y="7"/>
                  </a:cubicBezTo>
                  <a:cubicBezTo>
                    <a:pt x="1321" y="6"/>
                    <a:pt x="1323" y="5"/>
                    <a:pt x="1325" y="5"/>
                  </a:cubicBezTo>
                  <a:cubicBezTo>
                    <a:pt x="1327" y="4"/>
                    <a:pt x="1330" y="3"/>
                    <a:pt x="1333" y="3"/>
                  </a:cubicBezTo>
                  <a:cubicBezTo>
                    <a:pt x="1336" y="3"/>
                    <a:pt x="1340" y="3"/>
                    <a:pt x="1345" y="3"/>
                  </a:cubicBezTo>
                  <a:cubicBezTo>
                    <a:pt x="1350" y="3"/>
                    <a:pt x="1355" y="3"/>
                    <a:pt x="1358" y="3"/>
                  </a:cubicBezTo>
                  <a:cubicBezTo>
                    <a:pt x="1362" y="3"/>
                    <a:pt x="1365" y="4"/>
                    <a:pt x="1367" y="5"/>
                  </a:cubicBezTo>
                  <a:cubicBezTo>
                    <a:pt x="1369" y="5"/>
                    <a:pt x="1371" y="6"/>
                    <a:pt x="1372" y="7"/>
                  </a:cubicBezTo>
                  <a:cubicBezTo>
                    <a:pt x="1373" y="9"/>
                    <a:pt x="1374" y="10"/>
                    <a:pt x="1374" y="12"/>
                  </a:cubicBezTo>
                  <a:lnTo>
                    <a:pt x="1482" y="311"/>
                  </a:lnTo>
                  <a:close/>
                  <a:moveTo>
                    <a:pt x="1344" y="47"/>
                  </a:moveTo>
                  <a:lnTo>
                    <a:pt x="1344" y="47"/>
                  </a:lnTo>
                  <a:lnTo>
                    <a:pt x="1288" y="207"/>
                  </a:lnTo>
                  <a:lnTo>
                    <a:pt x="1400" y="207"/>
                  </a:lnTo>
                  <a:lnTo>
                    <a:pt x="1344" y="47"/>
                  </a:lnTo>
                  <a:close/>
                  <a:moveTo>
                    <a:pt x="1585" y="290"/>
                  </a:moveTo>
                  <a:cubicBezTo>
                    <a:pt x="1585" y="295"/>
                    <a:pt x="1585" y="300"/>
                    <a:pt x="1585" y="304"/>
                  </a:cubicBezTo>
                  <a:cubicBezTo>
                    <a:pt x="1584" y="309"/>
                    <a:pt x="1583" y="313"/>
                    <a:pt x="1582" y="317"/>
                  </a:cubicBezTo>
                  <a:cubicBezTo>
                    <a:pt x="1581" y="320"/>
                    <a:pt x="1579" y="324"/>
                    <a:pt x="1578" y="328"/>
                  </a:cubicBezTo>
                  <a:cubicBezTo>
                    <a:pt x="1576" y="332"/>
                    <a:pt x="1573" y="336"/>
                    <a:pt x="1571" y="340"/>
                  </a:cubicBezTo>
                  <a:lnTo>
                    <a:pt x="1537" y="391"/>
                  </a:lnTo>
                  <a:cubicBezTo>
                    <a:pt x="1536" y="392"/>
                    <a:pt x="1535" y="393"/>
                    <a:pt x="1534" y="394"/>
                  </a:cubicBezTo>
                  <a:cubicBezTo>
                    <a:pt x="1533" y="395"/>
                    <a:pt x="1531" y="395"/>
                    <a:pt x="1530" y="396"/>
                  </a:cubicBezTo>
                  <a:cubicBezTo>
                    <a:pt x="1528" y="397"/>
                    <a:pt x="1526" y="397"/>
                    <a:pt x="1524" y="397"/>
                  </a:cubicBezTo>
                  <a:cubicBezTo>
                    <a:pt x="1522" y="398"/>
                    <a:pt x="1520" y="398"/>
                    <a:pt x="1516" y="398"/>
                  </a:cubicBezTo>
                  <a:cubicBezTo>
                    <a:pt x="1514" y="398"/>
                    <a:pt x="1511" y="398"/>
                    <a:pt x="1509" y="397"/>
                  </a:cubicBezTo>
                  <a:cubicBezTo>
                    <a:pt x="1507" y="397"/>
                    <a:pt x="1506" y="397"/>
                    <a:pt x="1505" y="396"/>
                  </a:cubicBezTo>
                  <a:cubicBezTo>
                    <a:pt x="1504" y="396"/>
                    <a:pt x="1504" y="395"/>
                    <a:pt x="1504" y="394"/>
                  </a:cubicBezTo>
                  <a:cubicBezTo>
                    <a:pt x="1504" y="393"/>
                    <a:pt x="1504" y="392"/>
                    <a:pt x="1505" y="390"/>
                  </a:cubicBezTo>
                  <a:lnTo>
                    <a:pt x="1538" y="322"/>
                  </a:lnTo>
                  <a:lnTo>
                    <a:pt x="1538" y="290"/>
                  </a:lnTo>
                  <a:cubicBezTo>
                    <a:pt x="1538" y="286"/>
                    <a:pt x="1538" y="282"/>
                    <a:pt x="1539" y="280"/>
                  </a:cubicBezTo>
                  <a:cubicBezTo>
                    <a:pt x="1540" y="277"/>
                    <a:pt x="1541" y="275"/>
                    <a:pt x="1543" y="274"/>
                  </a:cubicBezTo>
                  <a:cubicBezTo>
                    <a:pt x="1545" y="272"/>
                    <a:pt x="1548" y="271"/>
                    <a:pt x="1551" y="271"/>
                  </a:cubicBezTo>
                  <a:cubicBezTo>
                    <a:pt x="1554" y="270"/>
                    <a:pt x="1558" y="270"/>
                    <a:pt x="1562" y="270"/>
                  </a:cubicBezTo>
                  <a:cubicBezTo>
                    <a:pt x="1566" y="270"/>
                    <a:pt x="1569" y="270"/>
                    <a:pt x="1573" y="271"/>
                  </a:cubicBezTo>
                  <a:cubicBezTo>
                    <a:pt x="1576" y="271"/>
                    <a:pt x="1578" y="272"/>
                    <a:pt x="1580" y="274"/>
                  </a:cubicBezTo>
                  <a:cubicBezTo>
                    <a:pt x="1582" y="275"/>
                    <a:pt x="1583" y="277"/>
                    <a:pt x="1584" y="280"/>
                  </a:cubicBezTo>
                  <a:cubicBezTo>
                    <a:pt x="1585" y="282"/>
                    <a:pt x="1585" y="286"/>
                    <a:pt x="1585" y="290"/>
                  </a:cubicBezTo>
                  <a:close/>
                  <a:moveTo>
                    <a:pt x="370" y="701"/>
                  </a:moveTo>
                  <a:cubicBezTo>
                    <a:pt x="370" y="721"/>
                    <a:pt x="368" y="738"/>
                    <a:pt x="364" y="754"/>
                  </a:cubicBezTo>
                  <a:cubicBezTo>
                    <a:pt x="360" y="769"/>
                    <a:pt x="354" y="783"/>
                    <a:pt x="346" y="793"/>
                  </a:cubicBezTo>
                  <a:cubicBezTo>
                    <a:pt x="337" y="804"/>
                    <a:pt x="327" y="813"/>
                    <a:pt x="315" y="819"/>
                  </a:cubicBezTo>
                  <a:cubicBezTo>
                    <a:pt x="303" y="824"/>
                    <a:pt x="289" y="827"/>
                    <a:pt x="274" y="827"/>
                  </a:cubicBezTo>
                  <a:cubicBezTo>
                    <a:pt x="267" y="827"/>
                    <a:pt x="261" y="827"/>
                    <a:pt x="255" y="825"/>
                  </a:cubicBezTo>
                  <a:cubicBezTo>
                    <a:pt x="250" y="824"/>
                    <a:pt x="244" y="822"/>
                    <a:pt x="239" y="819"/>
                  </a:cubicBezTo>
                  <a:cubicBezTo>
                    <a:pt x="233" y="816"/>
                    <a:pt x="228" y="813"/>
                    <a:pt x="223" y="808"/>
                  </a:cubicBezTo>
                  <a:cubicBezTo>
                    <a:pt x="217" y="804"/>
                    <a:pt x="212" y="799"/>
                    <a:pt x="206" y="793"/>
                  </a:cubicBezTo>
                  <a:lnTo>
                    <a:pt x="206" y="905"/>
                  </a:lnTo>
                  <a:cubicBezTo>
                    <a:pt x="206" y="906"/>
                    <a:pt x="205" y="908"/>
                    <a:pt x="205" y="909"/>
                  </a:cubicBezTo>
                  <a:cubicBezTo>
                    <a:pt x="204" y="910"/>
                    <a:pt x="203" y="910"/>
                    <a:pt x="202" y="911"/>
                  </a:cubicBezTo>
                  <a:cubicBezTo>
                    <a:pt x="200" y="912"/>
                    <a:pt x="198" y="912"/>
                    <a:pt x="195" y="913"/>
                  </a:cubicBezTo>
                  <a:cubicBezTo>
                    <a:pt x="193" y="913"/>
                    <a:pt x="189" y="913"/>
                    <a:pt x="185" y="913"/>
                  </a:cubicBezTo>
                  <a:cubicBezTo>
                    <a:pt x="181" y="913"/>
                    <a:pt x="178" y="913"/>
                    <a:pt x="175" y="913"/>
                  </a:cubicBezTo>
                  <a:cubicBezTo>
                    <a:pt x="173" y="912"/>
                    <a:pt x="170" y="912"/>
                    <a:pt x="169" y="911"/>
                  </a:cubicBezTo>
                  <a:cubicBezTo>
                    <a:pt x="167" y="910"/>
                    <a:pt x="166" y="910"/>
                    <a:pt x="166" y="909"/>
                  </a:cubicBezTo>
                  <a:cubicBezTo>
                    <a:pt x="165" y="908"/>
                    <a:pt x="165" y="906"/>
                    <a:pt x="165" y="905"/>
                  </a:cubicBezTo>
                  <a:lnTo>
                    <a:pt x="165" y="593"/>
                  </a:lnTo>
                  <a:cubicBezTo>
                    <a:pt x="165" y="591"/>
                    <a:pt x="165" y="590"/>
                    <a:pt x="165" y="589"/>
                  </a:cubicBezTo>
                  <a:cubicBezTo>
                    <a:pt x="166" y="588"/>
                    <a:pt x="167" y="588"/>
                    <a:pt x="168" y="587"/>
                  </a:cubicBezTo>
                  <a:cubicBezTo>
                    <a:pt x="170" y="586"/>
                    <a:pt x="172" y="586"/>
                    <a:pt x="174" y="586"/>
                  </a:cubicBezTo>
                  <a:cubicBezTo>
                    <a:pt x="177" y="585"/>
                    <a:pt x="179" y="585"/>
                    <a:pt x="183" y="585"/>
                  </a:cubicBezTo>
                  <a:cubicBezTo>
                    <a:pt x="186" y="585"/>
                    <a:pt x="189" y="585"/>
                    <a:pt x="191" y="586"/>
                  </a:cubicBezTo>
                  <a:cubicBezTo>
                    <a:pt x="193" y="586"/>
                    <a:pt x="195" y="586"/>
                    <a:pt x="197" y="587"/>
                  </a:cubicBezTo>
                  <a:cubicBezTo>
                    <a:pt x="198" y="588"/>
                    <a:pt x="199" y="588"/>
                    <a:pt x="200" y="589"/>
                  </a:cubicBezTo>
                  <a:cubicBezTo>
                    <a:pt x="201" y="590"/>
                    <a:pt x="201" y="591"/>
                    <a:pt x="201" y="593"/>
                  </a:cubicBezTo>
                  <a:lnTo>
                    <a:pt x="201" y="623"/>
                  </a:lnTo>
                  <a:cubicBezTo>
                    <a:pt x="208" y="616"/>
                    <a:pt x="214" y="610"/>
                    <a:pt x="220" y="605"/>
                  </a:cubicBezTo>
                  <a:cubicBezTo>
                    <a:pt x="227" y="600"/>
                    <a:pt x="233" y="595"/>
                    <a:pt x="239" y="592"/>
                  </a:cubicBezTo>
                  <a:cubicBezTo>
                    <a:pt x="246" y="589"/>
                    <a:pt x="252" y="586"/>
                    <a:pt x="259" y="584"/>
                  </a:cubicBezTo>
                  <a:cubicBezTo>
                    <a:pt x="266" y="583"/>
                    <a:pt x="273" y="582"/>
                    <a:pt x="280" y="582"/>
                  </a:cubicBezTo>
                  <a:cubicBezTo>
                    <a:pt x="297" y="582"/>
                    <a:pt x="310" y="585"/>
                    <a:pt x="322" y="591"/>
                  </a:cubicBezTo>
                  <a:cubicBezTo>
                    <a:pt x="333" y="597"/>
                    <a:pt x="342" y="606"/>
                    <a:pt x="350" y="617"/>
                  </a:cubicBezTo>
                  <a:cubicBezTo>
                    <a:pt x="357" y="628"/>
                    <a:pt x="362" y="641"/>
                    <a:pt x="365" y="655"/>
                  </a:cubicBezTo>
                  <a:cubicBezTo>
                    <a:pt x="369" y="670"/>
                    <a:pt x="370" y="685"/>
                    <a:pt x="370" y="701"/>
                  </a:cubicBezTo>
                  <a:close/>
                  <a:moveTo>
                    <a:pt x="327" y="706"/>
                  </a:moveTo>
                  <a:cubicBezTo>
                    <a:pt x="327" y="694"/>
                    <a:pt x="326" y="683"/>
                    <a:pt x="325" y="673"/>
                  </a:cubicBezTo>
                  <a:cubicBezTo>
                    <a:pt x="323" y="662"/>
                    <a:pt x="320" y="653"/>
                    <a:pt x="316" y="644"/>
                  </a:cubicBezTo>
                  <a:cubicBezTo>
                    <a:pt x="311" y="636"/>
                    <a:pt x="306" y="629"/>
                    <a:pt x="299" y="624"/>
                  </a:cubicBezTo>
                  <a:cubicBezTo>
                    <a:pt x="292" y="619"/>
                    <a:pt x="283" y="617"/>
                    <a:pt x="272" y="617"/>
                  </a:cubicBezTo>
                  <a:cubicBezTo>
                    <a:pt x="267" y="617"/>
                    <a:pt x="262" y="618"/>
                    <a:pt x="256" y="619"/>
                  </a:cubicBezTo>
                  <a:cubicBezTo>
                    <a:pt x="251" y="621"/>
                    <a:pt x="246" y="623"/>
                    <a:pt x="241" y="627"/>
                  </a:cubicBezTo>
                  <a:cubicBezTo>
                    <a:pt x="235" y="630"/>
                    <a:pt x="230" y="635"/>
                    <a:pt x="224" y="640"/>
                  </a:cubicBezTo>
                  <a:cubicBezTo>
                    <a:pt x="218" y="646"/>
                    <a:pt x="212" y="653"/>
                    <a:pt x="206" y="661"/>
                  </a:cubicBezTo>
                  <a:lnTo>
                    <a:pt x="206" y="750"/>
                  </a:lnTo>
                  <a:cubicBezTo>
                    <a:pt x="217" y="763"/>
                    <a:pt x="228" y="774"/>
                    <a:pt x="238" y="781"/>
                  </a:cubicBezTo>
                  <a:cubicBezTo>
                    <a:pt x="248" y="788"/>
                    <a:pt x="259" y="792"/>
                    <a:pt x="270" y="792"/>
                  </a:cubicBezTo>
                  <a:cubicBezTo>
                    <a:pt x="280" y="792"/>
                    <a:pt x="289" y="790"/>
                    <a:pt x="296" y="785"/>
                  </a:cubicBezTo>
                  <a:cubicBezTo>
                    <a:pt x="303" y="780"/>
                    <a:pt x="309" y="773"/>
                    <a:pt x="314" y="765"/>
                  </a:cubicBezTo>
                  <a:cubicBezTo>
                    <a:pt x="318" y="757"/>
                    <a:pt x="322" y="747"/>
                    <a:pt x="324" y="737"/>
                  </a:cubicBezTo>
                  <a:cubicBezTo>
                    <a:pt x="326" y="727"/>
                    <a:pt x="327" y="716"/>
                    <a:pt x="327" y="706"/>
                  </a:cubicBezTo>
                  <a:close/>
                  <a:moveTo>
                    <a:pt x="623" y="695"/>
                  </a:moveTo>
                  <a:cubicBezTo>
                    <a:pt x="623" y="701"/>
                    <a:pt x="621" y="706"/>
                    <a:pt x="618" y="709"/>
                  </a:cubicBezTo>
                  <a:cubicBezTo>
                    <a:pt x="615" y="711"/>
                    <a:pt x="611" y="713"/>
                    <a:pt x="607" y="713"/>
                  </a:cubicBezTo>
                  <a:lnTo>
                    <a:pt x="460" y="713"/>
                  </a:lnTo>
                  <a:cubicBezTo>
                    <a:pt x="460" y="725"/>
                    <a:pt x="462" y="736"/>
                    <a:pt x="464" y="746"/>
                  </a:cubicBezTo>
                  <a:cubicBezTo>
                    <a:pt x="467" y="756"/>
                    <a:pt x="471" y="765"/>
                    <a:pt x="477" y="772"/>
                  </a:cubicBezTo>
                  <a:cubicBezTo>
                    <a:pt x="482" y="779"/>
                    <a:pt x="490" y="785"/>
                    <a:pt x="499" y="788"/>
                  </a:cubicBezTo>
                  <a:cubicBezTo>
                    <a:pt x="508" y="792"/>
                    <a:pt x="520" y="794"/>
                    <a:pt x="533" y="794"/>
                  </a:cubicBezTo>
                  <a:cubicBezTo>
                    <a:pt x="544" y="794"/>
                    <a:pt x="553" y="793"/>
                    <a:pt x="562" y="791"/>
                  </a:cubicBezTo>
                  <a:cubicBezTo>
                    <a:pt x="570" y="790"/>
                    <a:pt x="577" y="788"/>
                    <a:pt x="583" y="786"/>
                  </a:cubicBezTo>
                  <a:cubicBezTo>
                    <a:pt x="589" y="783"/>
                    <a:pt x="594" y="782"/>
                    <a:pt x="598" y="780"/>
                  </a:cubicBezTo>
                  <a:cubicBezTo>
                    <a:pt x="602" y="778"/>
                    <a:pt x="605" y="777"/>
                    <a:pt x="607" y="777"/>
                  </a:cubicBezTo>
                  <a:cubicBezTo>
                    <a:pt x="608" y="777"/>
                    <a:pt x="609" y="777"/>
                    <a:pt x="610" y="778"/>
                  </a:cubicBezTo>
                  <a:cubicBezTo>
                    <a:pt x="611" y="779"/>
                    <a:pt x="611" y="779"/>
                    <a:pt x="612" y="781"/>
                  </a:cubicBezTo>
                  <a:cubicBezTo>
                    <a:pt x="612" y="782"/>
                    <a:pt x="613" y="783"/>
                    <a:pt x="613" y="786"/>
                  </a:cubicBezTo>
                  <a:cubicBezTo>
                    <a:pt x="613" y="788"/>
                    <a:pt x="613" y="790"/>
                    <a:pt x="613" y="793"/>
                  </a:cubicBezTo>
                  <a:cubicBezTo>
                    <a:pt x="613" y="795"/>
                    <a:pt x="613" y="797"/>
                    <a:pt x="613" y="799"/>
                  </a:cubicBezTo>
                  <a:cubicBezTo>
                    <a:pt x="613" y="800"/>
                    <a:pt x="613" y="802"/>
                    <a:pt x="613" y="803"/>
                  </a:cubicBezTo>
                  <a:cubicBezTo>
                    <a:pt x="612" y="804"/>
                    <a:pt x="612" y="805"/>
                    <a:pt x="611" y="806"/>
                  </a:cubicBezTo>
                  <a:cubicBezTo>
                    <a:pt x="611" y="807"/>
                    <a:pt x="610" y="808"/>
                    <a:pt x="609" y="809"/>
                  </a:cubicBezTo>
                  <a:cubicBezTo>
                    <a:pt x="608" y="810"/>
                    <a:pt x="605" y="812"/>
                    <a:pt x="601" y="814"/>
                  </a:cubicBezTo>
                  <a:cubicBezTo>
                    <a:pt x="597" y="816"/>
                    <a:pt x="591" y="818"/>
                    <a:pt x="584" y="820"/>
                  </a:cubicBezTo>
                  <a:cubicBezTo>
                    <a:pt x="576" y="822"/>
                    <a:pt x="568" y="823"/>
                    <a:pt x="559" y="825"/>
                  </a:cubicBezTo>
                  <a:cubicBezTo>
                    <a:pt x="550" y="827"/>
                    <a:pt x="540" y="827"/>
                    <a:pt x="529" y="827"/>
                  </a:cubicBezTo>
                  <a:cubicBezTo>
                    <a:pt x="511" y="827"/>
                    <a:pt x="494" y="825"/>
                    <a:pt x="481" y="820"/>
                  </a:cubicBezTo>
                  <a:cubicBezTo>
                    <a:pt x="467" y="815"/>
                    <a:pt x="455" y="807"/>
                    <a:pt x="446" y="797"/>
                  </a:cubicBezTo>
                  <a:cubicBezTo>
                    <a:pt x="436" y="787"/>
                    <a:pt x="429" y="774"/>
                    <a:pt x="424" y="759"/>
                  </a:cubicBezTo>
                  <a:cubicBezTo>
                    <a:pt x="420" y="744"/>
                    <a:pt x="417" y="726"/>
                    <a:pt x="417" y="706"/>
                  </a:cubicBezTo>
                  <a:cubicBezTo>
                    <a:pt x="417" y="686"/>
                    <a:pt x="420" y="669"/>
                    <a:pt x="425" y="654"/>
                  </a:cubicBezTo>
                  <a:cubicBezTo>
                    <a:pt x="430" y="639"/>
                    <a:pt x="437" y="625"/>
                    <a:pt x="446" y="615"/>
                  </a:cubicBezTo>
                  <a:cubicBezTo>
                    <a:pt x="455" y="604"/>
                    <a:pt x="467" y="596"/>
                    <a:pt x="480" y="590"/>
                  </a:cubicBezTo>
                  <a:cubicBezTo>
                    <a:pt x="493" y="585"/>
                    <a:pt x="508" y="582"/>
                    <a:pt x="524" y="582"/>
                  </a:cubicBezTo>
                  <a:cubicBezTo>
                    <a:pt x="542" y="582"/>
                    <a:pt x="557" y="584"/>
                    <a:pt x="569" y="590"/>
                  </a:cubicBezTo>
                  <a:cubicBezTo>
                    <a:pt x="582" y="596"/>
                    <a:pt x="592" y="603"/>
                    <a:pt x="600" y="613"/>
                  </a:cubicBezTo>
                  <a:cubicBezTo>
                    <a:pt x="608" y="622"/>
                    <a:pt x="613" y="634"/>
                    <a:pt x="617" y="646"/>
                  </a:cubicBezTo>
                  <a:cubicBezTo>
                    <a:pt x="621" y="659"/>
                    <a:pt x="623" y="673"/>
                    <a:pt x="623" y="687"/>
                  </a:cubicBezTo>
                  <a:lnTo>
                    <a:pt x="623" y="695"/>
                  </a:lnTo>
                  <a:close/>
                  <a:moveTo>
                    <a:pt x="582" y="683"/>
                  </a:moveTo>
                  <a:cubicBezTo>
                    <a:pt x="582" y="661"/>
                    <a:pt x="577" y="644"/>
                    <a:pt x="567" y="632"/>
                  </a:cubicBezTo>
                  <a:cubicBezTo>
                    <a:pt x="557" y="620"/>
                    <a:pt x="542" y="614"/>
                    <a:pt x="523" y="614"/>
                  </a:cubicBezTo>
                  <a:cubicBezTo>
                    <a:pt x="513" y="614"/>
                    <a:pt x="504" y="616"/>
                    <a:pt x="496" y="619"/>
                  </a:cubicBezTo>
                  <a:cubicBezTo>
                    <a:pt x="489" y="623"/>
                    <a:pt x="482" y="628"/>
                    <a:pt x="477" y="635"/>
                  </a:cubicBezTo>
                  <a:cubicBezTo>
                    <a:pt x="472" y="641"/>
                    <a:pt x="468" y="648"/>
                    <a:pt x="465" y="657"/>
                  </a:cubicBezTo>
                  <a:cubicBezTo>
                    <a:pt x="462" y="665"/>
                    <a:pt x="461" y="674"/>
                    <a:pt x="460" y="683"/>
                  </a:cubicBezTo>
                  <a:lnTo>
                    <a:pt x="582" y="683"/>
                  </a:lnTo>
                  <a:close/>
                  <a:moveTo>
                    <a:pt x="980" y="808"/>
                  </a:moveTo>
                  <a:cubicBezTo>
                    <a:pt x="980" y="813"/>
                    <a:pt x="979" y="817"/>
                    <a:pt x="976" y="819"/>
                  </a:cubicBezTo>
                  <a:cubicBezTo>
                    <a:pt x="974" y="821"/>
                    <a:pt x="971" y="823"/>
                    <a:pt x="967" y="823"/>
                  </a:cubicBezTo>
                  <a:lnTo>
                    <a:pt x="698" y="823"/>
                  </a:lnTo>
                  <a:cubicBezTo>
                    <a:pt x="694" y="823"/>
                    <a:pt x="691" y="821"/>
                    <a:pt x="689" y="819"/>
                  </a:cubicBezTo>
                  <a:cubicBezTo>
                    <a:pt x="686" y="817"/>
                    <a:pt x="685" y="813"/>
                    <a:pt x="685" y="808"/>
                  </a:cubicBezTo>
                  <a:lnTo>
                    <a:pt x="685" y="593"/>
                  </a:lnTo>
                  <a:cubicBezTo>
                    <a:pt x="685" y="591"/>
                    <a:pt x="685" y="590"/>
                    <a:pt x="686" y="589"/>
                  </a:cubicBezTo>
                  <a:cubicBezTo>
                    <a:pt x="687" y="589"/>
                    <a:pt x="688" y="588"/>
                    <a:pt x="689" y="587"/>
                  </a:cubicBezTo>
                  <a:cubicBezTo>
                    <a:pt x="691" y="586"/>
                    <a:pt x="693" y="586"/>
                    <a:pt x="696" y="586"/>
                  </a:cubicBezTo>
                  <a:cubicBezTo>
                    <a:pt x="698" y="585"/>
                    <a:pt x="702" y="585"/>
                    <a:pt x="706" y="585"/>
                  </a:cubicBezTo>
                  <a:cubicBezTo>
                    <a:pt x="710" y="585"/>
                    <a:pt x="713" y="585"/>
                    <a:pt x="716" y="586"/>
                  </a:cubicBezTo>
                  <a:cubicBezTo>
                    <a:pt x="718" y="586"/>
                    <a:pt x="720" y="586"/>
                    <a:pt x="722" y="587"/>
                  </a:cubicBezTo>
                  <a:cubicBezTo>
                    <a:pt x="723" y="588"/>
                    <a:pt x="725" y="589"/>
                    <a:pt x="725" y="589"/>
                  </a:cubicBezTo>
                  <a:cubicBezTo>
                    <a:pt x="726" y="590"/>
                    <a:pt x="726" y="591"/>
                    <a:pt x="726" y="593"/>
                  </a:cubicBezTo>
                  <a:lnTo>
                    <a:pt x="726" y="787"/>
                  </a:lnTo>
                  <a:lnTo>
                    <a:pt x="812" y="787"/>
                  </a:lnTo>
                  <a:lnTo>
                    <a:pt x="812" y="593"/>
                  </a:lnTo>
                  <a:cubicBezTo>
                    <a:pt x="812" y="591"/>
                    <a:pt x="813" y="590"/>
                    <a:pt x="813" y="589"/>
                  </a:cubicBezTo>
                  <a:cubicBezTo>
                    <a:pt x="814" y="589"/>
                    <a:pt x="815" y="588"/>
                    <a:pt x="816" y="587"/>
                  </a:cubicBezTo>
                  <a:cubicBezTo>
                    <a:pt x="818" y="586"/>
                    <a:pt x="820" y="586"/>
                    <a:pt x="822" y="586"/>
                  </a:cubicBezTo>
                  <a:cubicBezTo>
                    <a:pt x="825" y="585"/>
                    <a:pt x="828" y="585"/>
                    <a:pt x="832" y="585"/>
                  </a:cubicBezTo>
                  <a:cubicBezTo>
                    <a:pt x="836" y="585"/>
                    <a:pt x="839" y="585"/>
                    <a:pt x="842" y="586"/>
                  </a:cubicBezTo>
                  <a:cubicBezTo>
                    <a:pt x="845" y="586"/>
                    <a:pt x="847" y="586"/>
                    <a:pt x="848" y="587"/>
                  </a:cubicBezTo>
                  <a:cubicBezTo>
                    <a:pt x="850" y="588"/>
                    <a:pt x="851" y="589"/>
                    <a:pt x="851" y="589"/>
                  </a:cubicBezTo>
                  <a:cubicBezTo>
                    <a:pt x="852" y="590"/>
                    <a:pt x="852" y="591"/>
                    <a:pt x="852" y="593"/>
                  </a:cubicBezTo>
                  <a:lnTo>
                    <a:pt x="852" y="787"/>
                  </a:lnTo>
                  <a:lnTo>
                    <a:pt x="939" y="787"/>
                  </a:lnTo>
                  <a:lnTo>
                    <a:pt x="939" y="593"/>
                  </a:lnTo>
                  <a:cubicBezTo>
                    <a:pt x="939" y="591"/>
                    <a:pt x="939" y="590"/>
                    <a:pt x="940" y="589"/>
                  </a:cubicBezTo>
                  <a:cubicBezTo>
                    <a:pt x="940" y="589"/>
                    <a:pt x="941" y="588"/>
                    <a:pt x="943" y="587"/>
                  </a:cubicBezTo>
                  <a:cubicBezTo>
                    <a:pt x="944" y="586"/>
                    <a:pt x="947" y="586"/>
                    <a:pt x="949" y="586"/>
                  </a:cubicBezTo>
                  <a:cubicBezTo>
                    <a:pt x="952" y="585"/>
                    <a:pt x="955" y="585"/>
                    <a:pt x="959" y="585"/>
                  </a:cubicBezTo>
                  <a:cubicBezTo>
                    <a:pt x="963" y="585"/>
                    <a:pt x="967" y="585"/>
                    <a:pt x="969" y="586"/>
                  </a:cubicBezTo>
                  <a:cubicBezTo>
                    <a:pt x="972" y="586"/>
                    <a:pt x="974" y="586"/>
                    <a:pt x="976" y="587"/>
                  </a:cubicBezTo>
                  <a:cubicBezTo>
                    <a:pt x="977" y="588"/>
                    <a:pt x="978" y="589"/>
                    <a:pt x="979" y="589"/>
                  </a:cubicBezTo>
                  <a:cubicBezTo>
                    <a:pt x="979" y="590"/>
                    <a:pt x="980" y="591"/>
                    <a:pt x="980" y="593"/>
                  </a:cubicBezTo>
                  <a:lnTo>
                    <a:pt x="980" y="808"/>
                  </a:lnTo>
                  <a:close/>
                  <a:moveTo>
                    <a:pt x="1247" y="695"/>
                  </a:moveTo>
                  <a:cubicBezTo>
                    <a:pt x="1247" y="701"/>
                    <a:pt x="1245" y="706"/>
                    <a:pt x="1242" y="709"/>
                  </a:cubicBezTo>
                  <a:cubicBezTo>
                    <a:pt x="1239" y="711"/>
                    <a:pt x="1235" y="713"/>
                    <a:pt x="1231" y="713"/>
                  </a:cubicBezTo>
                  <a:lnTo>
                    <a:pt x="1084" y="713"/>
                  </a:lnTo>
                  <a:cubicBezTo>
                    <a:pt x="1084" y="725"/>
                    <a:pt x="1085" y="736"/>
                    <a:pt x="1088" y="746"/>
                  </a:cubicBezTo>
                  <a:cubicBezTo>
                    <a:pt x="1090" y="756"/>
                    <a:pt x="1094" y="765"/>
                    <a:pt x="1100" y="772"/>
                  </a:cubicBezTo>
                  <a:cubicBezTo>
                    <a:pt x="1106" y="779"/>
                    <a:pt x="1114" y="785"/>
                    <a:pt x="1123" y="788"/>
                  </a:cubicBezTo>
                  <a:cubicBezTo>
                    <a:pt x="1132" y="792"/>
                    <a:pt x="1143" y="794"/>
                    <a:pt x="1157" y="794"/>
                  </a:cubicBezTo>
                  <a:cubicBezTo>
                    <a:pt x="1168" y="794"/>
                    <a:pt x="1177" y="793"/>
                    <a:pt x="1185" y="791"/>
                  </a:cubicBezTo>
                  <a:cubicBezTo>
                    <a:pt x="1194" y="790"/>
                    <a:pt x="1201" y="788"/>
                    <a:pt x="1207" y="786"/>
                  </a:cubicBezTo>
                  <a:cubicBezTo>
                    <a:pt x="1213" y="783"/>
                    <a:pt x="1218" y="782"/>
                    <a:pt x="1222" y="780"/>
                  </a:cubicBezTo>
                  <a:cubicBezTo>
                    <a:pt x="1226" y="778"/>
                    <a:pt x="1228" y="777"/>
                    <a:pt x="1231" y="777"/>
                  </a:cubicBezTo>
                  <a:cubicBezTo>
                    <a:pt x="1232" y="777"/>
                    <a:pt x="1233" y="777"/>
                    <a:pt x="1234" y="778"/>
                  </a:cubicBezTo>
                  <a:cubicBezTo>
                    <a:pt x="1234" y="779"/>
                    <a:pt x="1235" y="779"/>
                    <a:pt x="1236" y="781"/>
                  </a:cubicBezTo>
                  <a:cubicBezTo>
                    <a:pt x="1236" y="782"/>
                    <a:pt x="1237" y="783"/>
                    <a:pt x="1237" y="786"/>
                  </a:cubicBezTo>
                  <a:cubicBezTo>
                    <a:pt x="1237" y="788"/>
                    <a:pt x="1237" y="790"/>
                    <a:pt x="1237" y="793"/>
                  </a:cubicBezTo>
                  <a:cubicBezTo>
                    <a:pt x="1237" y="795"/>
                    <a:pt x="1237" y="797"/>
                    <a:pt x="1237" y="799"/>
                  </a:cubicBezTo>
                  <a:cubicBezTo>
                    <a:pt x="1237" y="800"/>
                    <a:pt x="1237" y="802"/>
                    <a:pt x="1236" y="803"/>
                  </a:cubicBezTo>
                  <a:cubicBezTo>
                    <a:pt x="1236" y="804"/>
                    <a:pt x="1236" y="805"/>
                    <a:pt x="1235" y="806"/>
                  </a:cubicBezTo>
                  <a:cubicBezTo>
                    <a:pt x="1234" y="807"/>
                    <a:pt x="1234" y="808"/>
                    <a:pt x="1233" y="809"/>
                  </a:cubicBezTo>
                  <a:cubicBezTo>
                    <a:pt x="1232" y="810"/>
                    <a:pt x="1229" y="812"/>
                    <a:pt x="1225" y="814"/>
                  </a:cubicBezTo>
                  <a:cubicBezTo>
                    <a:pt x="1220" y="816"/>
                    <a:pt x="1214" y="818"/>
                    <a:pt x="1207" y="820"/>
                  </a:cubicBezTo>
                  <a:cubicBezTo>
                    <a:pt x="1200" y="822"/>
                    <a:pt x="1192" y="823"/>
                    <a:pt x="1183" y="825"/>
                  </a:cubicBezTo>
                  <a:cubicBezTo>
                    <a:pt x="1173" y="827"/>
                    <a:pt x="1163" y="827"/>
                    <a:pt x="1153" y="827"/>
                  </a:cubicBezTo>
                  <a:cubicBezTo>
                    <a:pt x="1134" y="827"/>
                    <a:pt x="1118" y="825"/>
                    <a:pt x="1104" y="820"/>
                  </a:cubicBezTo>
                  <a:cubicBezTo>
                    <a:pt x="1091" y="815"/>
                    <a:pt x="1079" y="807"/>
                    <a:pt x="1069" y="797"/>
                  </a:cubicBezTo>
                  <a:cubicBezTo>
                    <a:pt x="1060" y="787"/>
                    <a:pt x="1053" y="774"/>
                    <a:pt x="1048" y="759"/>
                  </a:cubicBezTo>
                  <a:cubicBezTo>
                    <a:pt x="1043" y="744"/>
                    <a:pt x="1041" y="726"/>
                    <a:pt x="1041" y="706"/>
                  </a:cubicBezTo>
                  <a:cubicBezTo>
                    <a:pt x="1041" y="686"/>
                    <a:pt x="1043" y="669"/>
                    <a:pt x="1048" y="654"/>
                  </a:cubicBezTo>
                  <a:cubicBezTo>
                    <a:pt x="1053" y="639"/>
                    <a:pt x="1060" y="625"/>
                    <a:pt x="1070" y="615"/>
                  </a:cubicBezTo>
                  <a:cubicBezTo>
                    <a:pt x="1079" y="604"/>
                    <a:pt x="1090" y="596"/>
                    <a:pt x="1104" y="590"/>
                  </a:cubicBezTo>
                  <a:cubicBezTo>
                    <a:pt x="1117" y="585"/>
                    <a:pt x="1132" y="582"/>
                    <a:pt x="1148" y="582"/>
                  </a:cubicBezTo>
                  <a:cubicBezTo>
                    <a:pt x="1166" y="582"/>
                    <a:pt x="1181" y="584"/>
                    <a:pt x="1193" y="590"/>
                  </a:cubicBezTo>
                  <a:cubicBezTo>
                    <a:pt x="1205" y="596"/>
                    <a:pt x="1216" y="603"/>
                    <a:pt x="1224" y="613"/>
                  </a:cubicBezTo>
                  <a:cubicBezTo>
                    <a:pt x="1232" y="622"/>
                    <a:pt x="1237" y="634"/>
                    <a:pt x="1241" y="646"/>
                  </a:cubicBezTo>
                  <a:cubicBezTo>
                    <a:pt x="1245" y="659"/>
                    <a:pt x="1247" y="673"/>
                    <a:pt x="1247" y="687"/>
                  </a:cubicBezTo>
                  <a:lnTo>
                    <a:pt x="1247" y="695"/>
                  </a:lnTo>
                  <a:close/>
                  <a:moveTo>
                    <a:pt x="1205" y="683"/>
                  </a:moveTo>
                  <a:cubicBezTo>
                    <a:pt x="1206" y="661"/>
                    <a:pt x="1201" y="644"/>
                    <a:pt x="1191" y="632"/>
                  </a:cubicBezTo>
                  <a:cubicBezTo>
                    <a:pt x="1181" y="620"/>
                    <a:pt x="1166" y="614"/>
                    <a:pt x="1147" y="614"/>
                  </a:cubicBezTo>
                  <a:cubicBezTo>
                    <a:pt x="1136" y="614"/>
                    <a:pt x="1128" y="616"/>
                    <a:pt x="1120" y="619"/>
                  </a:cubicBezTo>
                  <a:cubicBezTo>
                    <a:pt x="1112" y="623"/>
                    <a:pt x="1106" y="628"/>
                    <a:pt x="1101" y="635"/>
                  </a:cubicBezTo>
                  <a:cubicBezTo>
                    <a:pt x="1096" y="641"/>
                    <a:pt x="1092" y="648"/>
                    <a:pt x="1089" y="657"/>
                  </a:cubicBezTo>
                  <a:cubicBezTo>
                    <a:pt x="1086" y="665"/>
                    <a:pt x="1084" y="674"/>
                    <a:pt x="1084" y="683"/>
                  </a:cubicBezTo>
                  <a:lnTo>
                    <a:pt x="1205" y="683"/>
                  </a:lnTo>
                  <a:close/>
                  <a:moveTo>
                    <a:pt x="1505" y="816"/>
                  </a:moveTo>
                  <a:cubicBezTo>
                    <a:pt x="1505" y="818"/>
                    <a:pt x="1505" y="819"/>
                    <a:pt x="1504" y="820"/>
                  </a:cubicBezTo>
                  <a:cubicBezTo>
                    <a:pt x="1503" y="821"/>
                    <a:pt x="1502" y="821"/>
                    <a:pt x="1501" y="822"/>
                  </a:cubicBezTo>
                  <a:cubicBezTo>
                    <a:pt x="1499" y="823"/>
                    <a:pt x="1497" y="823"/>
                    <a:pt x="1495" y="824"/>
                  </a:cubicBezTo>
                  <a:cubicBezTo>
                    <a:pt x="1492" y="824"/>
                    <a:pt x="1489" y="824"/>
                    <a:pt x="1485" y="824"/>
                  </a:cubicBezTo>
                  <a:cubicBezTo>
                    <a:pt x="1480" y="824"/>
                    <a:pt x="1477" y="824"/>
                    <a:pt x="1474" y="824"/>
                  </a:cubicBezTo>
                  <a:cubicBezTo>
                    <a:pt x="1472" y="823"/>
                    <a:pt x="1470" y="823"/>
                    <a:pt x="1468" y="822"/>
                  </a:cubicBezTo>
                  <a:cubicBezTo>
                    <a:pt x="1467" y="821"/>
                    <a:pt x="1466" y="821"/>
                    <a:pt x="1465" y="820"/>
                  </a:cubicBezTo>
                  <a:cubicBezTo>
                    <a:pt x="1464" y="819"/>
                    <a:pt x="1464" y="818"/>
                    <a:pt x="1464" y="816"/>
                  </a:cubicBezTo>
                  <a:lnTo>
                    <a:pt x="1464" y="718"/>
                  </a:lnTo>
                  <a:lnTo>
                    <a:pt x="1350" y="718"/>
                  </a:lnTo>
                  <a:lnTo>
                    <a:pt x="1350" y="816"/>
                  </a:lnTo>
                  <a:cubicBezTo>
                    <a:pt x="1350" y="818"/>
                    <a:pt x="1350" y="819"/>
                    <a:pt x="1349" y="820"/>
                  </a:cubicBezTo>
                  <a:cubicBezTo>
                    <a:pt x="1348" y="821"/>
                    <a:pt x="1347" y="821"/>
                    <a:pt x="1346" y="822"/>
                  </a:cubicBezTo>
                  <a:cubicBezTo>
                    <a:pt x="1344" y="823"/>
                    <a:pt x="1342" y="823"/>
                    <a:pt x="1340" y="824"/>
                  </a:cubicBezTo>
                  <a:cubicBezTo>
                    <a:pt x="1337" y="824"/>
                    <a:pt x="1333" y="824"/>
                    <a:pt x="1329" y="824"/>
                  </a:cubicBezTo>
                  <a:cubicBezTo>
                    <a:pt x="1325" y="824"/>
                    <a:pt x="1322" y="824"/>
                    <a:pt x="1319" y="824"/>
                  </a:cubicBezTo>
                  <a:cubicBezTo>
                    <a:pt x="1317" y="823"/>
                    <a:pt x="1315" y="823"/>
                    <a:pt x="1313" y="822"/>
                  </a:cubicBezTo>
                  <a:cubicBezTo>
                    <a:pt x="1311" y="821"/>
                    <a:pt x="1310" y="821"/>
                    <a:pt x="1310" y="820"/>
                  </a:cubicBezTo>
                  <a:cubicBezTo>
                    <a:pt x="1309" y="819"/>
                    <a:pt x="1309" y="818"/>
                    <a:pt x="1309" y="816"/>
                  </a:cubicBezTo>
                  <a:lnTo>
                    <a:pt x="1309" y="593"/>
                  </a:lnTo>
                  <a:cubicBezTo>
                    <a:pt x="1309" y="591"/>
                    <a:pt x="1309" y="590"/>
                    <a:pt x="1310" y="589"/>
                  </a:cubicBezTo>
                  <a:cubicBezTo>
                    <a:pt x="1310" y="589"/>
                    <a:pt x="1311" y="588"/>
                    <a:pt x="1313" y="587"/>
                  </a:cubicBezTo>
                  <a:cubicBezTo>
                    <a:pt x="1315" y="586"/>
                    <a:pt x="1317" y="586"/>
                    <a:pt x="1319" y="586"/>
                  </a:cubicBezTo>
                  <a:cubicBezTo>
                    <a:pt x="1322" y="585"/>
                    <a:pt x="1325" y="585"/>
                    <a:pt x="1329" y="585"/>
                  </a:cubicBezTo>
                  <a:cubicBezTo>
                    <a:pt x="1333" y="585"/>
                    <a:pt x="1337" y="585"/>
                    <a:pt x="1340" y="586"/>
                  </a:cubicBezTo>
                  <a:cubicBezTo>
                    <a:pt x="1342" y="586"/>
                    <a:pt x="1344" y="586"/>
                    <a:pt x="1346" y="587"/>
                  </a:cubicBezTo>
                  <a:cubicBezTo>
                    <a:pt x="1347" y="588"/>
                    <a:pt x="1348" y="589"/>
                    <a:pt x="1349" y="589"/>
                  </a:cubicBezTo>
                  <a:cubicBezTo>
                    <a:pt x="1350" y="590"/>
                    <a:pt x="1350" y="591"/>
                    <a:pt x="1350" y="593"/>
                  </a:cubicBezTo>
                  <a:lnTo>
                    <a:pt x="1350" y="684"/>
                  </a:lnTo>
                  <a:lnTo>
                    <a:pt x="1464" y="684"/>
                  </a:lnTo>
                  <a:lnTo>
                    <a:pt x="1464" y="593"/>
                  </a:lnTo>
                  <a:cubicBezTo>
                    <a:pt x="1464" y="591"/>
                    <a:pt x="1464" y="590"/>
                    <a:pt x="1465" y="589"/>
                  </a:cubicBezTo>
                  <a:cubicBezTo>
                    <a:pt x="1466" y="589"/>
                    <a:pt x="1467" y="588"/>
                    <a:pt x="1468" y="587"/>
                  </a:cubicBezTo>
                  <a:cubicBezTo>
                    <a:pt x="1470" y="586"/>
                    <a:pt x="1472" y="586"/>
                    <a:pt x="1474" y="586"/>
                  </a:cubicBezTo>
                  <a:cubicBezTo>
                    <a:pt x="1477" y="585"/>
                    <a:pt x="1480" y="585"/>
                    <a:pt x="1485" y="585"/>
                  </a:cubicBezTo>
                  <a:cubicBezTo>
                    <a:pt x="1489" y="585"/>
                    <a:pt x="1492" y="585"/>
                    <a:pt x="1495" y="586"/>
                  </a:cubicBezTo>
                  <a:cubicBezTo>
                    <a:pt x="1497" y="586"/>
                    <a:pt x="1499" y="586"/>
                    <a:pt x="1501" y="587"/>
                  </a:cubicBezTo>
                  <a:cubicBezTo>
                    <a:pt x="1502" y="588"/>
                    <a:pt x="1503" y="589"/>
                    <a:pt x="1504" y="589"/>
                  </a:cubicBezTo>
                  <a:cubicBezTo>
                    <a:pt x="1505" y="590"/>
                    <a:pt x="1505" y="591"/>
                    <a:pt x="1505" y="593"/>
                  </a:cubicBezTo>
                  <a:lnTo>
                    <a:pt x="1505" y="816"/>
                  </a:lnTo>
                  <a:close/>
                  <a:moveTo>
                    <a:pt x="1780" y="817"/>
                  </a:moveTo>
                  <a:cubicBezTo>
                    <a:pt x="1780" y="818"/>
                    <a:pt x="1780" y="819"/>
                    <a:pt x="1779" y="820"/>
                  </a:cubicBezTo>
                  <a:cubicBezTo>
                    <a:pt x="1778" y="821"/>
                    <a:pt x="1777" y="822"/>
                    <a:pt x="1776" y="822"/>
                  </a:cubicBezTo>
                  <a:cubicBezTo>
                    <a:pt x="1774" y="823"/>
                    <a:pt x="1772" y="823"/>
                    <a:pt x="1770" y="824"/>
                  </a:cubicBezTo>
                  <a:cubicBezTo>
                    <a:pt x="1767" y="824"/>
                    <a:pt x="1764" y="824"/>
                    <a:pt x="1760" y="824"/>
                  </a:cubicBezTo>
                  <a:cubicBezTo>
                    <a:pt x="1756" y="824"/>
                    <a:pt x="1752" y="824"/>
                    <a:pt x="1750" y="824"/>
                  </a:cubicBezTo>
                  <a:cubicBezTo>
                    <a:pt x="1747" y="823"/>
                    <a:pt x="1745" y="823"/>
                    <a:pt x="1743" y="822"/>
                  </a:cubicBezTo>
                  <a:cubicBezTo>
                    <a:pt x="1742" y="822"/>
                    <a:pt x="1740" y="821"/>
                    <a:pt x="1740" y="820"/>
                  </a:cubicBezTo>
                  <a:cubicBezTo>
                    <a:pt x="1739" y="819"/>
                    <a:pt x="1739" y="818"/>
                    <a:pt x="1739" y="817"/>
                  </a:cubicBezTo>
                  <a:lnTo>
                    <a:pt x="1739" y="688"/>
                  </a:lnTo>
                  <a:cubicBezTo>
                    <a:pt x="1739" y="682"/>
                    <a:pt x="1739" y="675"/>
                    <a:pt x="1739" y="668"/>
                  </a:cubicBezTo>
                  <a:cubicBezTo>
                    <a:pt x="1740" y="662"/>
                    <a:pt x="1740" y="655"/>
                    <a:pt x="1740" y="648"/>
                  </a:cubicBezTo>
                  <a:cubicBezTo>
                    <a:pt x="1737" y="655"/>
                    <a:pt x="1733" y="662"/>
                    <a:pt x="1728" y="668"/>
                  </a:cubicBezTo>
                  <a:cubicBezTo>
                    <a:pt x="1723" y="674"/>
                    <a:pt x="1719" y="681"/>
                    <a:pt x="1714" y="687"/>
                  </a:cubicBezTo>
                  <a:lnTo>
                    <a:pt x="1619" y="817"/>
                  </a:lnTo>
                  <a:cubicBezTo>
                    <a:pt x="1618" y="818"/>
                    <a:pt x="1617" y="819"/>
                    <a:pt x="1616" y="820"/>
                  </a:cubicBezTo>
                  <a:cubicBezTo>
                    <a:pt x="1615" y="821"/>
                    <a:pt x="1614" y="822"/>
                    <a:pt x="1613" y="823"/>
                  </a:cubicBezTo>
                  <a:cubicBezTo>
                    <a:pt x="1611" y="823"/>
                    <a:pt x="1609" y="823"/>
                    <a:pt x="1607" y="824"/>
                  </a:cubicBezTo>
                  <a:cubicBezTo>
                    <a:pt x="1605" y="824"/>
                    <a:pt x="1603" y="824"/>
                    <a:pt x="1599" y="824"/>
                  </a:cubicBezTo>
                  <a:cubicBezTo>
                    <a:pt x="1596" y="824"/>
                    <a:pt x="1593" y="824"/>
                    <a:pt x="1590" y="824"/>
                  </a:cubicBezTo>
                  <a:cubicBezTo>
                    <a:pt x="1588" y="823"/>
                    <a:pt x="1586" y="823"/>
                    <a:pt x="1585" y="822"/>
                  </a:cubicBezTo>
                  <a:cubicBezTo>
                    <a:pt x="1583" y="822"/>
                    <a:pt x="1582" y="821"/>
                    <a:pt x="1582" y="820"/>
                  </a:cubicBezTo>
                  <a:cubicBezTo>
                    <a:pt x="1581" y="819"/>
                    <a:pt x="1581" y="818"/>
                    <a:pt x="1581" y="817"/>
                  </a:cubicBezTo>
                  <a:lnTo>
                    <a:pt x="1581" y="593"/>
                  </a:lnTo>
                  <a:cubicBezTo>
                    <a:pt x="1581" y="591"/>
                    <a:pt x="1581" y="590"/>
                    <a:pt x="1582" y="589"/>
                  </a:cubicBezTo>
                  <a:cubicBezTo>
                    <a:pt x="1582" y="588"/>
                    <a:pt x="1584" y="588"/>
                    <a:pt x="1585" y="587"/>
                  </a:cubicBezTo>
                  <a:cubicBezTo>
                    <a:pt x="1587" y="586"/>
                    <a:pt x="1589" y="586"/>
                    <a:pt x="1591" y="586"/>
                  </a:cubicBezTo>
                  <a:cubicBezTo>
                    <a:pt x="1594" y="585"/>
                    <a:pt x="1597" y="585"/>
                    <a:pt x="1601" y="585"/>
                  </a:cubicBezTo>
                  <a:cubicBezTo>
                    <a:pt x="1609" y="585"/>
                    <a:pt x="1615" y="586"/>
                    <a:pt x="1618" y="587"/>
                  </a:cubicBezTo>
                  <a:cubicBezTo>
                    <a:pt x="1621" y="588"/>
                    <a:pt x="1622" y="590"/>
                    <a:pt x="1622" y="593"/>
                  </a:cubicBezTo>
                  <a:lnTo>
                    <a:pt x="1622" y="722"/>
                  </a:lnTo>
                  <a:cubicBezTo>
                    <a:pt x="1622" y="729"/>
                    <a:pt x="1622" y="735"/>
                    <a:pt x="1622" y="741"/>
                  </a:cubicBezTo>
                  <a:cubicBezTo>
                    <a:pt x="1621" y="748"/>
                    <a:pt x="1621" y="754"/>
                    <a:pt x="1620" y="760"/>
                  </a:cubicBezTo>
                  <a:cubicBezTo>
                    <a:pt x="1624" y="754"/>
                    <a:pt x="1628" y="748"/>
                    <a:pt x="1632" y="742"/>
                  </a:cubicBezTo>
                  <a:cubicBezTo>
                    <a:pt x="1636" y="736"/>
                    <a:pt x="1640" y="730"/>
                    <a:pt x="1644" y="724"/>
                  </a:cubicBezTo>
                  <a:lnTo>
                    <a:pt x="1740" y="593"/>
                  </a:lnTo>
                  <a:cubicBezTo>
                    <a:pt x="1742" y="591"/>
                    <a:pt x="1743" y="590"/>
                    <a:pt x="1744" y="589"/>
                  </a:cubicBezTo>
                  <a:cubicBezTo>
                    <a:pt x="1745" y="588"/>
                    <a:pt x="1746" y="587"/>
                    <a:pt x="1748" y="587"/>
                  </a:cubicBezTo>
                  <a:cubicBezTo>
                    <a:pt x="1749" y="586"/>
                    <a:pt x="1751" y="586"/>
                    <a:pt x="1753" y="586"/>
                  </a:cubicBezTo>
                  <a:cubicBezTo>
                    <a:pt x="1755" y="585"/>
                    <a:pt x="1758" y="585"/>
                    <a:pt x="1762" y="585"/>
                  </a:cubicBezTo>
                  <a:cubicBezTo>
                    <a:pt x="1765" y="585"/>
                    <a:pt x="1768" y="585"/>
                    <a:pt x="1770" y="586"/>
                  </a:cubicBezTo>
                  <a:cubicBezTo>
                    <a:pt x="1773" y="586"/>
                    <a:pt x="1775" y="586"/>
                    <a:pt x="1776" y="587"/>
                  </a:cubicBezTo>
                  <a:cubicBezTo>
                    <a:pt x="1778" y="588"/>
                    <a:pt x="1779" y="588"/>
                    <a:pt x="1779" y="589"/>
                  </a:cubicBezTo>
                  <a:cubicBezTo>
                    <a:pt x="1780" y="590"/>
                    <a:pt x="1780" y="591"/>
                    <a:pt x="1780" y="593"/>
                  </a:cubicBezTo>
                  <a:lnTo>
                    <a:pt x="1780" y="817"/>
                  </a:lnTo>
                  <a:close/>
                  <a:moveTo>
                    <a:pt x="2047" y="695"/>
                  </a:moveTo>
                  <a:cubicBezTo>
                    <a:pt x="2047" y="701"/>
                    <a:pt x="2045" y="706"/>
                    <a:pt x="2042" y="709"/>
                  </a:cubicBezTo>
                  <a:cubicBezTo>
                    <a:pt x="2039" y="711"/>
                    <a:pt x="2035" y="713"/>
                    <a:pt x="2031" y="713"/>
                  </a:cubicBezTo>
                  <a:lnTo>
                    <a:pt x="1884" y="713"/>
                  </a:lnTo>
                  <a:cubicBezTo>
                    <a:pt x="1884" y="725"/>
                    <a:pt x="1886" y="736"/>
                    <a:pt x="1888" y="746"/>
                  </a:cubicBezTo>
                  <a:cubicBezTo>
                    <a:pt x="1891" y="756"/>
                    <a:pt x="1895" y="765"/>
                    <a:pt x="1901" y="772"/>
                  </a:cubicBezTo>
                  <a:cubicBezTo>
                    <a:pt x="1906" y="779"/>
                    <a:pt x="1914" y="785"/>
                    <a:pt x="1923" y="788"/>
                  </a:cubicBezTo>
                  <a:cubicBezTo>
                    <a:pt x="1932" y="792"/>
                    <a:pt x="1944" y="794"/>
                    <a:pt x="1957" y="794"/>
                  </a:cubicBezTo>
                  <a:cubicBezTo>
                    <a:pt x="1968" y="794"/>
                    <a:pt x="1977" y="793"/>
                    <a:pt x="1985" y="791"/>
                  </a:cubicBezTo>
                  <a:cubicBezTo>
                    <a:pt x="1994" y="790"/>
                    <a:pt x="2001" y="788"/>
                    <a:pt x="2007" y="786"/>
                  </a:cubicBezTo>
                  <a:cubicBezTo>
                    <a:pt x="2013" y="783"/>
                    <a:pt x="2018" y="782"/>
                    <a:pt x="2022" y="780"/>
                  </a:cubicBezTo>
                  <a:cubicBezTo>
                    <a:pt x="2026" y="778"/>
                    <a:pt x="2029" y="777"/>
                    <a:pt x="2031" y="777"/>
                  </a:cubicBezTo>
                  <a:cubicBezTo>
                    <a:pt x="2032" y="777"/>
                    <a:pt x="2033" y="777"/>
                    <a:pt x="2034" y="778"/>
                  </a:cubicBezTo>
                  <a:cubicBezTo>
                    <a:pt x="2035" y="779"/>
                    <a:pt x="2035" y="779"/>
                    <a:pt x="2036" y="781"/>
                  </a:cubicBezTo>
                  <a:cubicBezTo>
                    <a:pt x="2036" y="782"/>
                    <a:pt x="2037" y="783"/>
                    <a:pt x="2037" y="786"/>
                  </a:cubicBezTo>
                  <a:cubicBezTo>
                    <a:pt x="2037" y="788"/>
                    <a:pt x="2037" y="790"/>
                    <a:pt x="2037" y="793"/>
                  </a:cubicBezTo>
                  <a:cubicBezTo>
                    <a:pt x="2037" y="795"/>
                    <a:pt x="2037" y="797"/>
                    <a:pt x="2037" y="799"/>
                  </a:cubicBezTo>
                  <a:cubicBezTo>
                    <a:pt x="2037" y="800"/>
                    <a:pt x="2037" y="802"/>
                    <a:pt x="2037" y="803"/>
                  </a:cubicBezTo>
                  <a:cubicBezTo>
                    <a:pt x="2036" y="804"/>
                    <a:pt x="2036" y="805"/>
                    <a:pt x="2035" y="806"/>
                  </a:cubicBezTo>
                  <a:cubicBezTo>
                    <a:pt x="2035" y="807"/>
                    <a:pt x="2034" y="808"/>
                    <a:pt x="2033" y="809"/>
                  </a:cubicBezTo>
                  <a:cubicBezTo>
                    <a:pt x="2032" y="810"/>
                    <a:pt x="2029" y="812"/>
                    <a:pt x="2025" y="814"/>
                  </a:cubicBezTo>
                  <a:cubicBezTo>
                    <a:pt x="2021" y="816"/>
                    <a:pt x="2015" y="818"/>
                    <a:pt x="2008" y="820"/>
                  </a:cubicBezTo>
                  <a:cubicBezTo>
                    <a:pt x="2000" y="822"/>
                    <a:pt x="1992" y="823"/>
                    <a:pt x="1983" y="825"/>
                  </a:cubicBezTo>
                  <a:cubicBezTo>
                    <a:pt x="1974" y="827"/>
                    <a:pt x="1964" y="827"/>
                    <a:pt x="1953" y="827"/>
                  </a:cubicBezTo>
                  <a:cubicBezTo>
                    <a:pt x="1935" y="827"/>
                    <a:pt x="1918" y="825"/>
                    <a:pt x="1905" y="820"/>
                  </a:cubicBezTo>
                  <a:cubicBezTo>
                    <a:pt x="1891" y="815"/>
                    <a:pt x="1879" y="807"/>
                    <a:pt x="1870" y="797"/>
                  </a:cubicBezTo>
                  <a:cubicBezTo>
                    <a:pt x="1860" y="787"/>
                    <a:pt x="1853" y="774"/>
                    <a:pt x="1848" y="759"/>
                  </a:cubicBezTo>
                  <a:cubicBezTo>
                    <a:pt x="1844" y="744"/>
                    <a:pt x="1841" y="726"/>
                    <a:pt x="1841" y="706"/>
                  </a:cubicBezTo>
                  <a:cubicBezTo>
                    <a:pt x="1841" y="686"/>
                    <a:pt x="1844" y="669"/>
                    <a:pt x="1849" y="654"/>
                  </a:cubicBezTo>
                  <a:cubicBezTo>
                    <a:pt x="1854" y="639"/>
                    <a:pt x="1861" y="625"/>
                    <a:pt x="1870" y="615"/>
                  </a:cubicBezTo>
                  <a:cubicBezTo>
                    <a:pt x="1879" y="604"/>
                    <a:pt x="1891" y="596"/>
                    <a:pt x="1904" y="590"/>
                  </a:cubicBezTo>
                  <a:cubicBezTo>
                    <a:pt x="1917" y="585"/>
                    <a:pt x="1932" y="582"/>
                    <a:pt x="1948" y="582"/>
                  </a:cubicBezTo>
                  <a:cubicBezTo>
                    <a:pt x="1966" y="582"/>
                    <a:pt x="1981" y="584"/>
                    <a:pt x="1993" y="590"/>
                  </a:cubicBezTo>
                  <a:cubicBezTo>
                    <a:pt x="2006" y="596"/>
                    <a:pt x="2016" y="603"/>
                    <a:pt x="2024" y="613"/>
                  </a:cubicBezTo>
                  <a:cubicBezTo>
                    <a:pt x="2032" y="622"/>
                    <a:pt x="2037" y="634"/>
                    <a:pt x="2041" y="646"/>
                  </a:cubicBezTo>
                  <a:cubicBezTo>
                    <a:pt x="2045" y="659"/>
                    <a:pt x="2047" y="673"/>
                    <a:pt x="2047" y="687"/>
                  </a:cubicBezTo>
                  <a:lnTo>
                    <a:pt x="2047" y="695"/>
                  </a:lnTo>
                  <a:close/>
                  <a:moveTo>
                    <a:pt x="2006" y="683"/>
                  </a:moveTo>
                  <a:cubicBezTo>
                    <a:pt x="2006" y="661"/>
                    <a:pt x="2001" y="644"/>
                    <a:pt x="1991" y="632"/>
                  </a:cubicBezTo>
                  <a:cubicBezTo>
                    <a:pt x="1981" y="620"/>
                    <a:pt x="1966" y="614"/>
                    <a:pt x="1947" y="614"/>
                  </a:cubicBezTo>
                  <a:cubicBezTo>
                    <a:pt x="1937" y="614"/>
                    <a:pt x="1928" y="616"/>
                    <a:pt x="1920" y="619"/>
                  </a:cubicBezTo>
                  <a:cubicBezTo>
                    <a:pt x="1912" y="623"/>
                    <a:pt x="1906" y="628"/>
                    <a:pt x="1901" y="635"/>
                  </a:cubicBezTo>
                  <a:cubicBezTo>
                    <a:pt x="1896" y="641"/>
                    <a:pt x="1892" y="648"/>
                    <a:pt x="1889" y="657"/>
                  </a:cubicBezTo>
                  <a:cubicBezTo>
                    <a:pt x="1886" y="665"/>
                    <a:pt x="1885" y="674"/>
                    <a:pt x="1884" y="683"/>
                  </a:cubicBezTo>
                  <a:lnTo>
                    <a:pt x="2006" y="683"/>
                  </a:lnTo>
                  <a:close/>
                  <a:moveTo>
                    <a:pt x="188" y="1313"/>
                  </a:moveTo>
                  <a:cubicBezTo>
                    <a:pt x="188" y="1315"/>
                    <a:pt x="188" y="1316"/>
                    <a:pt x="187" y="1317"/>
                  </a:cubicBezTo>
                  <a:cubicBezTo>
                    <a:pt x="187" y="1318"/>
                    <a:pt x="186" y="1318"/>
                    <a:pt x="184" y="1319"/>
                  </a:cubicBezTo>
                  <a:cubicBezTo>
                    <a:pt x="183" y="1320"/>
                    <a:pt x="181" y="1320"/>
                    <a:pt x="178" y="1321"/>
                  </a:cubicBezTo>
                  <a:cubicBezTo>
                    <a:pt x="175" y="1321"/>
                    <a:pt x="172" y="1321"/>
                    <a:pt x="168" y="1321"/>
                  </a:cubicBezTo>
                  <a:cubicBezTo>
                    <a:pt x="164" y="1321"/>
                    <a:pt x="161" y="1321"/>
                    <a:pt x="158" y="1321"/>
                  </a:cubicBezTo>
                  <a:cubicBezTo>
                    <a:pt x="155" y="1320"/>
                    <a:pt x="153" y="1320"/>
                    <a:pt x="152" y="1319"/>
                  </a:cubicBezTo>
                  <a:cubicBezTo>
                    <a:pt x="150" y="1318"/>
                    <a:pt x="149" y="1318"/>
                    <a:pt x="148" y="1317"/>
                  </a:cubicBezTo>
                  <a:cubicBezTo>
                    <a:pt x="147" y="1316"/>
                    <a:pt x="147" y="1315"/>
                    <a:pt x="147" y="1313"/>
                  </a:cubicBezTo>
                  <a:lnTo>
                    <a:pt x="147" y="1118"/>
                  </a:lnTo>
                  <a:lnTo>
                    <a:pt x="41" y="1118"/>
                  </a:lnTo>
                  <a:lnTo>
                    <a:pt x="41" y="1313"/>
                  </a:lnTo>
                  <a:cubicBezTo>
                    <a:pt x="41" y="1315"/>
                    <a:pt x="40" y="1316"/>
                    <a:pt x="40" y="1317"/>
                  </a:cubicBezTo>
                  <a:cubicBezTo>
                    <a:pt x="39" y="1318"/>
                    <a:pt x="38" y="1318"/>
                    <a:pt x="36" y="1319"/>
                  </a:cubicBezTo>
                  <a:cubicBezTo>
                    <a:pt x="35" y="1320"/>
                    <a:pt x="33" y="1320"/>
                    <a:pt x="30" y="1321"/>
                  </a:cubicBezTo>
                  <a:cubicBezTo>
                    <a:pt x="27" y="1321"/>
                    <a:pt x="24" y="1321"/>
                    <a:pt x="20" y="1321"/>
                  </a:cubicBezTo>
                  <a:cubicBezTo>
                    <a:pt x="16" y="1321"/>
                    <a:pt x="13" y="1321"/>
                    <a:pt x="10" y="1321"/>
                  </a:cubicBezTo>
                  <a:cubicBezTo>
                    <a:pt x="7" y="1320"/>
                    <a:pt x="5" y="1320"/>
                    <a:pt x="4" y="1319"/>
                  </a:cubicBezTo>
                  <a:cubicBezTo>
                    <a:pt x="2" y="1318"/>
                    <a:pt x="1" y="1318"/>
                    <a:pt x="1" y="1317"/>
                  </a:cubicBezTo>
                  <a:cubicBezTo>
                    <a:pt x="0" y="1316"/>
                    <a:pt x="0" y="1315"/>
                    <a:pt x="0" y="1313"/>
                  </a:cubicBezTo>
                  <a:lnTo>
                    <a:pt x="0" y="1098"/>
                  </a:lnTo>
                  <a:cubicBezTo>
                    <a:pt x="0" y="1093"/>
                    <a:pt x="1" y="1089"/>
                    <a:pt x="3" y="1087"/>
                  </a:cubicBezTo>
                  <a:cubicBezTo>
                    <a:pt x="5" y="1084"/>
                    <a:pt x="8" y="1083"/>
                    <a:pt x="12" y="1083"/>
                  </a:cubicBezTo>
                  <a:lnTo>
                    <a:pt x="176" y="1083"/>
                  </a:lnTo>
                  <a:cubicBezTo>
                    <a:pt x="180" y="1083"/>
                    <a:pt x="183" y="1084"/>
                    <a:pt x="185" y="1087"/>
                  </a:cubicBezTo>
                  <a:cubicBezTo>
                    <a:pt x="187" y="1089"/>
                    <a:pt x="188" y="1093"/>
                    <a:pt x="188" y="1098"/>
                  </a:cubicBezTo>
                  <a:lnTo>
                    <a:pt x="188" y="1313"/>
                  </a:lnTo>
                  <a:close/>
                  <a:moveTo>
                    <a:pt x="470" y="1198"/>
                  </a:moveTo>
                  <a:cubicBezTo>
                    <a:pt x="470" y="1218"/>
                    <a:pt x="468" y="1235"/>
                    <a:pt x="464" y="1251"/>
                  </a:cubicBezTo>
                  <a:cubicBezTo>
                    <a:pt x="460" y="1266"/>
                    <a:pt x="453" y="1279"/>
                    <a:pt x="445" y="1290"/>
                  </a:cubicBezTo>
                  <a:cubicBezTo>
                    <a:pt x="437" y="1301"/>
                    <a:pt x="427" y="1309"/>
                    <a:pt x="415" y="1315"/>
                  </a:cubicBezTo>
                  <a:cubicBezTo>
                    <a:pt x="403" y="1321"/>
                    <a:pt x="389" y="1324"/>
                    <a:pt x="373" y="1324"/>
                  </a:cubicBezTo>
                  <a:cubicBezTo>
                    <a:pt x="367" y="1324"/>
                    <a:pt x="360" y="1324"/>
                    <a:pt x="355" y="1322"/>
                  </a:cubicBezTo>
                  <a:cubicBezTo>
                    <a:pt x="349" y="1321"/>
                    <a:pt x="344" y="1319"/>
                    <a:pt x="338" y="1316"/>
                  </a:cubicBezTo>
                  <a:cubicBezTo>
                    <a:pt x="333" y="1313"/>
                    <a:pt x="328" y="1310"/>
                    <a:pt x="322" y="1305"/>
                  </a:cubicBezTo>
                  <a:cubicBezTo>
                    <a:pt x="317" y="1301"/>
                    <a:pt x="311" y="1296"/>
                    <a:pt x="305" y="1290"/>
                  </a:cubicBezTo>
                  <a:lnTo>
                    <a:pt x="305" y="1402"/>
                  </a:lnTo>
                  <a:cubicBezTo>
                    <a:pt x="305" y="1403"/>
                    <a:pt x="305" y="1404"/>
                    <a:pt x="304" y="1405"/>
                  </a:cubicBezTo>
                  <a:cubicBezTo>
                    <a:pt x="304" y="1406"/>
                    <a:pt x="303" y="1407"/>
                    <a:pt x="301" y="1408"/>
                  </a:cubicBezTo>
                  <a:cubicBezTo>
                    <a:pt x="300" y="1409"/>
                    <a:pt x="298" y="1409"/>
                    <a:pt x="295" y="1409"/>
                  </a:cubicBezTo>
                  <a:cubicBezTo>
                    <a:pt x="292" y="1410"/>
                    <a:pt x="289" y="1410"/>
                    <a:pt x="285" y="1410"/>
                  </a:cubicBezTo>
                  <a:cubicBezTo>
                    <a:pt x="281" y="1410"/>
                    <a:pt x="278" y="1410"/>
                    <a:pt x="275" y="1409"/>
                  </a:cubicBezTo>
                  <a:cubicBezTo>
                    <a:pt x="272" y="1409"/>
                    <a:pt x="270" y="1409"/>
                    <a:pt x="269" y="1408"/>
                  </a:cubicBezTo>
                  <a:cubicBezTo>
                    <a:pt x="267" y="1407"/>
                    <a:pt x="266" y="1406"/>
                    <a:pt x="265" y="1405"/>
                  </a:cubicBezTo>
                  <a:cubicBezTo>
                    <a:pt x="265" y="1404"/>
                    <a:pt x="264" y="1403"/>
                    <a:pt x="264" y="1402"/>
                  </a:cubicBezTo>
                  <a:lnTo>
                    <a:pt x="264" y="1090"/>
                  </a:lnTo>
                  <a:cubicBezTo>
                    <a:pt x="264" y="1088"/>
                    <a:pt x="265" y="1087"/>
                    <a:pt x="265" y="1086"/>
                  </a:cubicBezTo>
                  <a:cubicBezTo>
                    <a:pt x="266" y="1085"/>
                    <a:pt x="267" y="1084"/>
                    <a:pt x="268" y="1084"/>
                  </a:cubicBezTo>
                  <a:cubicBezTo>
                    <a:pt x="270" y="1083"/>
                    <a:pt x="272" y="1083"/>
                    <a:pt x="274" y="1082"/>
                  </a:cubicBezTo>
                  <a:cubicBezTo>
                    <a:pt x="276" y="1082"/>
                    <a:pt x="279" y="1082"/>
                    <a:pt x="282" y="1082"/>
                  </a:cubicBezTo>
                  <a:cubicBezTo>
                    <a:pt x="286" y="1082"/>
                    <a:pt x="289" y="1082"/>
                    <a:pt x="291" y="1082"/>
                  </a:cubicBezTo>
                  <a:cubicBezTo>
                    <a:pt x="293" y="1083"/>
                    <a:pt x="295" y="1083"/>
                    <a:pt x="296" y="1084"/>
                  </a:cubicBezTo>
                  <a:cubicBezTo>
                    <a:pt x="298" y="1084"/>
                    <a:pt x="299" y="1085"/>
                    <a:pt x="300" y="1086"/>
                  </a:cubicBezTo>
                  <a:cubicBezTo>
                    <a:pt x="300" y="1087"/>
                    <a:pt x="300" y="1088"/>
                    <a:pt x="300" y="1090"/>
                  </a:cubicBezTo>
                  <a:lnTo>
                    <a:pt x="300" y="1120"/>
                  </a:lnTo>
                  <a:cubicBezTo>
                    <a:pt x="307" y="1113"/>
                    <a:pt x="314" y="1107"/>
                    <a:pt x="320" y="1102"/>
                  </a:cubicBezTo>
                  <a:cubicBezTo>
                    <a:pt x="326" y="1096"/>
                    <a:pt x="333" y="1092"/>
                    <a:pt x="339" y="1089"/>
                  </a:cubicBezTo>
                  <a:cubicBezTo>
                    <a:pt x="345" y="1085"/>
                    <a:pt x="352" y="1083"/>
                    <a:pt x="359" y="1081"/>
                  </a:cubicBezTo>
                  <a:cubicBezTo>
                    <a:pt x="365" y="1079"/>
                    <a:pt x="373" y="1079"/>
                    <a:pt x="380" y="1079"/>
                  </a:cubicBezTo>
                  <a:cubicBezTo>
                    <a:pt x="396" y="1079"/>
                    <a:pt x="410" y="1082"/>
                    <a:pt x="421" y="1088"/>
                  </a:cubicBezTo>
                  <a:cubicBezTo>
                    <a:pt x="433" y="1094"/>
                    <a:pt x="442" y="1103"/>
                    <a:pt x="449" y="1114"/>
                  </a:cubicBezTo>
                  <a:cubicBezTo>
                    <a:pt x="457" y="1125"/>
                    <a:pt x="462" y="1137"/>
                    <a:pt x="465" y="1152"/>
                  </a:cubicBezTo>
                  <a:cubicBezTo>
                    <a:pt x="469" y="1166"/>
                    <a:pt x="470" y="1182"/>
                    <a:pt x="470" y="1198"/>
                  </a:cubicBezTo>
                  <a:close/>
                  <a:moveTo>
                    <a:pt x="427" y="1203"/>
                  </a:moveTo>
                  <a:cubicBezTo>
                    <a:pt x="427" y="1191"/>
                    <a:pt x="426" y="1180"/>
                    <a:pt x="424" y="1170"/>
                  </a:cubicBezTo>
                  <a:cubicBezTo>
                    <a:pt x="423" y="1159"/>
                    <a:pt x="420" y="1149"/>
                    <a:pt x="415" y="1141"/>
                  </a:cubicBezTo>
                  <a:cubicBezTo>
                    <a:pt x="411" y="1133"/>
                    <a:pt x="405" y="1126"/>
                    <a:pt x="398" y="1121"/>
                  </a:cubicBezTo>
                  <a:cubicBezTo>
                    <a:pt x="391" y="1116"/>
                    <a:pt x="382" y="1114"/>
                    <a:pt x="372" y="1114"/>
                  </a:cubicBezTo>
                  <a:cubicBezTo>
                    <a:pt x="366" y="1114"/>
                    <a:pt x="361" y="1115"/>
                    <a:pt x="356" y="1116"/>
                  </a:cubicBezTo>
                  <a:cubicBezTo>
                    <a:pt x="351" y="1118"/>
                    <a:pt x="346" y="1120"/>
                    <a:pt x="340" y="1124"/>
                  </a:cubicBezTo>
                  <a:cubicBezTo>
                    <a:pt x="335" y="1127"/>
                    <a:pt x="330" y="1132"/>
                    <a:pt x="324" y="1137"/>
                  </a:cubicBezTo>
                  <a:cubicBezTo>
                    <a:pt x="318" y="1143"/>
                    <a:pt x="312" y="1149"/>
                    <a:pt x="305" y="1158"/>
                  </a:cubicBezTo>
                  <a:lnTo>
                    <a:pt x="305" y="1247"/>
                  </a:lnTo>
                  <a:cubicBezTo>
                    <a:pt x="317" y="1260"/>
                    <a:pt x="327" y="1271"/>
                    <a:pt x="338" y="1278"/>
                  </a:cubicBezTo>
                  <a:cubicBezTo>
                    <a:pt x="348" y="1285"/>
                    <a:pt x="358" y="1289"/>
                    <a:pt x="369" y="1289"/>
                  </a:cubicBezTo>
                  <a:cubicBezTo>
                    <a:pt x="380" y="1289"/>
                    <a:pt x="388" y="1286"/>
                    <a:pt x="396" y="1282"/>
                  </a:cubicBezTo>
                  <a:cubicBezTo>
                    <a:pt x="403" y="1277"/>
                    <a:pt x="409" y="1270"/>
                    <a:pt x="414" y="1262"/>
                  </a:cubicBezTo>
                  <a:cubicBezTo>
                    <a:pt x="418" y="1253"/>
                    <a:pt x="422" y="1244"/>
                    <a:pt x="424" y="1234"/>
                  </a:cubicBezTo>
                  <a:cubicBezTo>
                    <a:pt x="426" y="1224"/>
                    <a:pt x="427" y="1213"/>
                    <a:pt x="427" y="1203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19" name="Freeform 1771"/>
            <p:cNvSpPr>
              <a:spLocks noEditPoints="1"/>
            </p:cNvSpPr>
            <p:nvPr/>
          </p:nvSpPr>
          <p:spPr bwMode="auto">
            <a:xfrm>
              <a:off x="9841419" y="3794505"/>
              <a:ext cx="1269122" cy="428354"/>
            </a:xfrm>
            <a:custGeom>
              <a:avLst/>
              <a:gdLst/>
              <a:ahLst/>
              <a:cxnLst>
                <a:cxn ang="0">
                  <a:pos x="1086" y="232"/>
                </a:cxn>
                <a:cxn ang="0">
                  <a:pos x="1266" y="231"/>
                </a:cxn>
                <a:cxn ang="0">
                  <a:pos x="1132" y="264"/>
                </a:cxn>
                <a:cxn ang="0">
                  <a:pos x="1571" y="278"/>
                </a:cxn>
                <a:cxn ang="0">
                  <a:pos x="1371" y="108"/>
                </a:cxn>
                <a:cxn ang="0">
                  <a:pos x="1566" y="2"/>
                </a:cxn>
                <a:cxn ang="0">
                  <a:pos x="1447" y="61"/>
                </a:cxn>
                <a:cxn ang="0">
                  <a:pos x="1459" y="117"/>
                </a:cxn>
                <a:cxn ang="0">
                  <a:pos x="1505" y="155"/>
                </a:cxn>
                <a:cxn ang="0">
                  <a:pos x="1417" y="291"/>
                </a:cxn>
                <a:cxn ang="0">
                  <a:pos x="1811" y="348"/>
                </a:cxn>
                <a:cxn ang="0">
                  <a:pos x="1703" y="217"/>
                </a:cxn>
                <a:cxn ang="0">
                  <a:pos x="1599" y="334"/>
                </a:cxn>
                <a:cxn ang="0">
                  <a:pos x="1667" y="191"/>
                </a:cxn>
                <a:cxn ang="0">
                  <a:pos x="2077" y="235"/>
                </a:cxn>
                <a:cxn ang="0">
                  <a:pos x="2057" y="306"/>
                </a:cxn>
                <a:cxn ang="0">
                  <a:pos x="2068" y="335"/>
                </a:cxn>
                <a:cxn ang="0">
                  <a:pos x="1884" y="180"/>
                </a:cxn>
                <a:cxn ang="0">
                  <a:pos x="2041" y="209"/>
                </a:cxn>
                <a:cxn ang="0">
                  <a:pos x="2420" y="348"/>
                </a:cxn>
                <a:cxn ang="0">
                  <a:pos x="2364" y="165"/>
                </a:cxn>
                <a:cxn ang="0">
                  <a:pos x="2289" y="348"/>
                </a:cxn>
                <a:cxn ang="0">
                  <a:pos x="2198" y="176"/>
                </a:cxn>
                <a:cxn ang="0">
                  <a:pos x="2165" y="346"/>
                </a:cxn>
                <a:cxn ang="0">
                  <a:pos x="2158" y="116"/>
                </a:cxn>
                <a:cxn ang="0">
                  <a:pos x="2267" y="266"/>
                </a:cxn>
                <a:cxn ang="0">
                  <a:pos x="2335" y="125"/>
                </a:cxn>
                <a:cxn ang="0">
                  <a:pos x="2777" y="309"/>
                </a:cxn>
                <a:cxn ang="0">
                  <a:pos x="2601" y="326"/>
                </a:cxn>
                <a:cxn ang="0">
                  <a:pos x="2752" y="124"/>
                </a:cxn>
                <a:cxn ang="0">
                  <a:pos x="2722" y="149"/>
                </a:cxn>
                <a:cxn ang="0">
                  <a:pos x="2742" y="279"/>
                </a:cxn>
                <a:cxn ang="0">
                  <a:pos x="2671" y="320"/>
                </a:cxn>
                <a:cxn ang="0">
                  <a:pos x="174" y="821"/>
                </a:cxn>
                <a:cxn ang="0">
                  <a:pos x="0" y="730"/>
                </a:cxn>
                <a:cxn ang="0">
                  <a:pos x="172" y="631"/>
                </a:cxn>
                <a:cxn ang="0">
                  <a:pos x="104" y="639"/>
                </a:cxn>
                <a:cxn ang="0">
                  <a:pos x="161" y="791"/>
                </a:cxn>
                <a:cxn ang="0">
                  <a:pos x="374" y="841"/>
                </a:cxn>
                <a:cxn ang="0">
                  <a:pos x="329" y="604"/>
                </a:cxn>
                <a:cxn ang="0">
                  <a:pos x="327" y="639"/>
                </a:cxn>
                <a:cxn ang="0">
                  <a:pos x="357" y="809"/>
                </a:cxn>
                <a:cxn ang="0">
                  <a:pos x="576" y="646"/>
                </a:cxn>
                <a:cxn ang="0">
                  <a:pos x="535" y="839"/>
                </a:cxn>
                <a:cxn ang="0">
                  <a:pos x="465" y="610"/>
                </a:cxn>
                <a:cxn ang="0">
                  <a:pos x="873" y="816"/>
                </a:cxn>
                <a:cxn ang="0">
                  <a:pos x="729" y="934"/>
                </a:cxn>
                <a:cxn ang="0">
                  <a:pos x="696" y="610"/>
                </a:cxn>
                <a:cxn ang="0">
                  <a:pos x="767" y="615"/>
                </a:cxn>
                <a:cxn ang="0">
                  <a:pos x="843" y="667"/>
                </a:cxn>
                <a:cxn ang="0">
                  <a:pos x="797" y="815"/>
                </a:cxn>
                <a:cxn ang="0">
                  <a:pos x="991" y="935"/>
                </a:cxn>
                <a:cxn ang="0">
                  <a:pos x="928" y="611"/>
                </a:cxn>
                <a:cxn ang="0">
                  <a:pos x="1097" y="617"/>
                </a:cxn>
                <a:cxn ang="0">
                  <a:pos x="1169" y="920"/>
                </a:cxn>
                <a:cxn ang="0">
                  <a:pos x="1134" y="821"/>
                </a:cxn>
                <a:cxn ang="0">
                  <a:pos x="1219" y="613"/>
                </a:cxn>
                <a:cxn ang="0">
                  <a:pos x="1405" y="821"/>
                </a:cxn>
                <a:cxn ang="0">
                  <a:pos x="1371" y="920"/>
                </a:cxn>
                <a:cxn ang="0">
                  <a:pos x="1202" y="811"/>
                </a:cxn>
              </a:cxnLst>
              <a:rect l="0" t="0" r="r" b="b"/>
              <a:pathLst>
                <a:path w="2784" h="936">
                  <a:moveTo>
                    <a:pt x="1310" y="228"/>
                  </a:moveTo>
                  <a:cubicBezTo>
                    <a:pt x="1310" y="246"/>
                    <a:pt x="1307" y="263"/>
                    <a:pt x="1302" y="278"/>
                  </a:cubicBezTo>
                  <a:cubicBezTo>
                    <a:pt x="1298" y="294"/>
                    <a:pt x="1290" y="307"/>
                    <a:pt x="1281" y="318"/>
                  </a:cubicBezTo>
                  <a:cubicBezTo>
                    <a:pt x="1271" y="329"/>
                    <a:pt x="1260" y="338"/>
                    <a:pt x="1245" y="344"/>
                  </a:cubicBezTo>
                  <a:cubicBezTo>
                    <a:pt x="1231" y="350"/>
                    <a:pt x="1214" y="353"/>
                    <a:pt x="1195" y="353"/>
                  </a:cubicBezTo>
                  <a:cubicBezTo>
                    <a:pt x="1177" y="353"/>
                    <a:pt x="1161" y="350"/>
                    <a:pt x="1147" y="345"/>
                  </a:cubicBezTo>
                  <a:cubicBezTo>
                    <a:pt x="1134" y="340"/>
                    <a:pt x="1122" y="332"/>
                    <a:pt x="1113" y="321"/>
                  </a:cubicBezTo>
                  <a:cubicBezTo>
                    <a:pt x="1104" y="311"/>
                    <a:pt x="1097" y="298"/>
                    <a:pt x="1093" y="283"/>
                  </a:cubicBezTo>
                  <a:cubicBezTo>
                    <a:pt x="1088" y="268"/>
                    <a:pt x="1086" y="251"/>
                    <a:pt x="1086" y="232"/>
                  </a:cubicBezTo>
                  <a:cubicBezTo>
                    <a:pt x="1086" y="214"/>
                    <a:pt x="1088" y="197"/>
                    <a:pt x="1093" y="182"/>
                  </a:cubicBezTo>
                  <a:cubicBezTo>
                    <a:pt x="1098" y="167"/>
                    <a:pt x="1105" y="154"/>
                    <a:pt x="1115" y="143"/>
                  </a:cubicBezTo>
                  <a:cubicBezTo>
                    <a:pt x="1124" y="131"/>
                    <a:pt x="1136" y="123"/>
                    <a:pt x="1150" y="117"/>
                  </a:cubicBezTo>
                  <a:cubicBezTo>
                    <a:pt x="1164" y="111"/>
                    <a:pt x="1181" y="108"/>
                    <a:pt x="1200" y="108"/>
                  </a:cubicBezTo>
                  <a:cubicBezTo>
                    <a:pt x="1218" y="108"/>
                    <a:pt x="1235" y="110"/>
                    <a:pt x="1248" y="116"/>
                  </a:cubicBezTo>
                  <a:cubicBezTo>
                    <a:pt x="1262" y="121"/>
                    <a:pt x="1273" y="129"/>
                    <a:pt x="1282" y="140"/>
                  </a:cubicBezTo>
                  <a:cubicBezTo>
                    <a:pt x="1291" y="150"/>
                    <a:pt x="1298" y="163"/>
                    <a:pt x="1303" y="178"/>
                  </a:cubicBezTo>
                  <a:cubicBezTo>
                    <a:pt x="1307" y="192"/>
                    <a:pt x="1310" y="209"/>
                    <a:pt x="1310" y="228"/>
                  </a:cubicBezTo>
                  <a:close/>
                  <a:moveTo>
                    <a:pt x="1266" y="231"/>
                  </a:moveTo>
                  <a:cubicBezTo>
                    <a:pt x="1266" y="219"/>
                    <a:pt x="1265" y="207"/>
                    <a:pt x="1263" y="196"/>
                  </a:cubicBezTo>
                  <a:cubicBezTo>
                    <a:pt x="1261" y="186"/>
                    <a:pt x="1257" y="176"/>
                    <a:pt x="1252" y="168"/>
                  </a:cubicBezTo>
                  <a:cubicBezTo>
                    <a:pt x="1247" y="160"/>
                    <a:pt x="1240" y="154"/>
                    <a:pt x="1231" y="149"/>
                  </a:cubicBezTo>
                  <a:cubicBezTo>
                    <a:pt x="1222" y="144"/>
                    <a:pt x="1211" y="142"/>
                    <a:pt x="1198" y="142"/>
                  </a:cubicBezTo>
                  <a:cubicBezTo>
                    <a:pt x="1186" y="142"/>
                    <a:pt x="1176" y="144"/>
                    <a:pt x="1167" y="148"/>
                  </a:cubicBezTo>
                  <a:cubicBezTo>
                    <a:pt x="1159" y="153"/>
                    <a:pt x="1151" y="159"/>
                    <a:pt x="1146" y="167"/>
                  </a:cubicBezTo>
                  <a:cubicBezTo>
                    <a:pt x="1140" y="174"/>
                    <a:pt x="1136" y="184"/>
                    <a:pt x="1133" y="195"/>
                  </a:cubicBezTo>
                  <a:cubicBezTo>
                    <a:pt x="1130" y="205"/>
                    <a:pt x="1129" y="217"/>
                    <a:pt x="1129" y="230"/>
                  </a:cubicBezTo>
                  <a:cubicBezTo>
                    <a:pt x="1129" y="242"/>
                    <a:pt x="1130" y="254"/>
                    <a:pt x="1132" y="264"/>
                  </a:cubicBezTo>
                  <a:cubicBezTo>
                    <a:pt x="1135" y="275"/>
                    <a:pt x="1138" y="284"/>
                    <a:pt x="1144" y="292"/>
                  </a:cubicBezTo>
                  <a:cubicBezTo>
                    <a:pt x="1149" y="301"/>
                    <a:pt x="1156" y="307"/>
                    <a:pt x="1165" y="312"/>
                  </a:cubicBezTo>
                  <a:cubicBezTo>
                    <a:pt x="1173" y="316"/>
                    <a:pt x="1184" y="319"/>
                    <a:pt x="1197" y="319"/>
                  </a:cubicBezTo>
                  <a:cubicBezTo>
                    <a:pt x="1209" y="319"/>
                    <a:pt x="1220" y="317"/>
                    <a:pt x="1228" y="312"/>
                  </a:cubicBezTo>
                  <a:cubicBezTo>
                    <a:pt x="1237" y="308"/>
                    <a:pt x="1244" y="302"/>
                    <a:pt x="1250" y="294"/>
                  </a:cubicBezTo>
                  <a:cubicBezTo>
                    <a:pt x="1256" y="286"/>
                    <a:pt x="1260" y="277"/>
                    <a:pt x="1262" y="266"/>
                  </a:cubicBezTo>
                  <a:cubicBezTo>
                    <a:pt x="1265" y="255"/>
                    <a:pt x="1266" y="244"/>
                    <a:pt x="1266" y="231"/>
                  </a:cubicBezTo>
                  <a:close/>
                  <a:moveTo>
                    <a:pt x="1578" y="227"/>
                  </a:moveTo>
                  <a:cubicBezTo>
                    <a:pt x="1578" y="246"/>
                    <a:pt x="1576" y="263"/>
                    <a:pt x="1571" y="278"/>
                  </a:cubicBezTo>
                  <a:cubicBezTo>
                    <a:pt x="1566" y="294"/>
                    <a:pt x="1558" y="307"/>
                    <a:pt x="1548" y="318"/>
                  </a:cubicBezTo>
                  <a:cubicBezTo>
                    <a:pt x="1539" y="329"/>
                    <a:pt x="1527" y="338"/>
                    <a:pt x="1513" y="344"/>
                  </a:cubicBezTo>
                  <a:cubicBezTo>
                    <a:pt x="1499" y="350"/>
                    <a:pt x="1483" y="353"/>
                    <a:pt x="1465" y="353"/>
                  </a:cubicBezTo>
                  <a:cubicBezTo>
                    <a:pt x="1447" y="353"/>
                    <a:pt x="1431" y="350"/>
                    <a:pt x="1418" y="344"/>
                  </a:cubicBezTo>
                  <a:cubicBezTo>
                    <a:pt x="1405" y="338"/>
                    <a:pt x="1394" y="330"/>
                    <a:pt x="1385" y="318"/>
                  </a:cubicBezTo>
                  <a:cubicBezTo>
                    <a:pt x="1376" y="306"/>
                    <a:pt x="1370" y="291"/>
                    <a:pt x="1366" y="273"/>
                  </a:cubicBezTo>
                  <a:cubicBezTo>
                    <a:pt x="1362" y="256"/>
                    <a:pt x="1360" y="235"/>
                    <a:pt x="1360" y="211"/>
                  </a:cubicBezTo>
                  <a:cubicBezTo>
                    <a:pt x="1360" y="190"/>
                    <a:pt x="1361" y="172"/>
                    <a:pt x="1362" y="154"/>
                  </a:cubicBezTo>
                  <a:cubicBezTo>
                    <a:pt x="1364" y="137"/>
                    <a:pt x="1367" y="122"/>
                    <a:pt x="1371" y="108"/>
                  </a:cubicBezTo>
                  <a:cubicBezTo>
                    <a:pt x="1374" y="94"/>
                    <a:pt x="1378" y="83"/>
                    <a:pt x="1383" y="73"/>
                  </a:cubicBezTo>
                  <a:cubicBezTo>
                    <a:pt x="1388" y="64"/>
                    <a:pt x="1393" y="56"/>
                    <a:pt x="1398" y="50"/>
                  </a:cubicBezTo>
                  <a:cubicBezTo>
                    <a:pt x="1403" y="45"/>
                    <a:pt x="1408" y="40"/>
                    <a:pt x="1413" y="37"/>
                  </a:cubicBezTo>
                  <a:cubicBezTo>
                    <a:pt x="1417" y="33"/>
                    <a:pt x="1423" y="30"/>
                    <a:pt x="1429" y="27"/>
                  </a:cubicBezTo>
                  <a:cubicBezTo>
                    <a:pt x="1435" y="24"/>
                    <a:pt x="1442" y="22"/>
                    <a:pt x="1449" y="20"/>
                  </a:cubicBezTo>
                  <a:cubicBezTo>
                    <a:pt x="1457" y="18"/>
                    <a:pt x="1465" y="16"/>
                    <a:pt x="1475" y="14"/>
                  </a:cubicBezTo>
                  <a:lnTo>
                    <a:pt x="1554" y="1"/>
                  </a:lnTo>
                  <a:cubicBezTo>
                    <a:pt x="1557" y="0"/>
                    <a:pt x="1560" y="0"/>
                    <a:pt x="1561" y="0"/>
                  </a:cubicBezTo>
                  <a:cubicBezTo>
                    <a:pt x="1563" y="0"/>
                    <a:pt x="1565" y="1"/>
                    <a:pt x="1566" y="2"/>
                  </a:cubicBezTo>
                  <a:cubicBezTo>
                    <a:pt x="1567" y="4"/>
                    <a:pt x="1567" y="6"/>
                    <a:pt x="1568" y="8"/>
                  </a:cubicBezTo>
                  <a:cubicBezTo>
                    <a:pt x="1568" y="11"/>
                    <a:pt x="1568" y="15"/>
                    <a:pt x="1568" y="20"/>
                  </a:cubicBezTo>
                  <a:cubicBezTo>
                    <a:pt x="1568" y="23"/>
                    <a:pt x="1568" y="26"/>
                    <a:pt x="1568" y="29"/>
                  </a:cubicBezTo>
                  <a:cubicBezTo>
                    <a:pt x="1567" y="31"/>
                    <a:pt x="1567" y="33"/>
                    <a:pt x="1566" y="34"/>
                  </a:cubicBezTo>
                  <a:cubicBezTo>
                    <a:pt x="1565" y="36"/>
                    <a:pt x="1564" y="37"/>
                    <a:pt x="1562" y="38"/>
                  </a:cubicBezTo>
                  <a:cubicBezTo>
                    <a:pt x="1560" y="39"/>
                    <a:pt x="1558" y="39"/>
                    <a:pt x="1556" y="40"/>
                  </a:cubicBezTo>
                  <a:lnTo>
                    <a:pt x="1481" y="52"/>
                  </a:lnTo>
                  <a:cubicBezTo>
                    <a:pt x="1474" y="53"/>
                    <a:pt x="1467" y="55"/>
                    <a:pt x="1462" y="56"/>
                  </a:cubicBezTo>
                  <a:cubicBezTo>
                    <a:pt x="1456" y="58"/>
                    <a:pt x="1451" y="59"/>
                    <a:pt x="1447" y="61"/>
                  </a:cubicBezTo>
                  <a:cubicBezTo>
                    <a:pt x="1442" y="63"/>
                    <a:pt x="1438" y="65"/>
                    <a:pt x="1435" y="67"/>
                  </a:cubicBezTo>
                  <a:cubicBezTo>
                    <a:pt x="1432" y="69"/>
                    <a:pt x="1429" y="72"/>
                    <a:pt x="1425" y="76"/>
                  </a:cubicBezTo>
                  <a:cubicBezTo>
                    <a:pt x="1422" y="79"/>
                    <a:pt x="1419" y="84"/>
                    <a:pt x="1416" y="89"/>
                  </a:cubicBezTo>
                  <a:cubicBezTo>
                    <a:pt x="1413" y="94"/>
                    <a:pt x="1411" y="100"/>
                    <a:pt x="1409" y="106"/>
                  </a:cubicBezTo>
                  <a:cubicBezTo>
                    <a:pt x="1407" y="113"/>
                    <a:pt x="1406" y="120"/>
                    <a:pt x="1404" y="128"/>
                  </a:cubicBezTo>
                  <a:cubicBezTo>
                    <a:pt x="1403" y="135"/>
                    <a:pt x="1402" y="143"/>
                    <a:pt x="1401" y="152"/>
                  </a:cubicBezTo>
                  <a:cubicBezTo>
                    <a:pt x="1406" y="146"/>
                    <a:pt x="1412" y="141"/>
                    <a:pt x="1418" y="137"/>
                  </a:cubicBezTo>
                  <a:cubicBezTo>
                    <a:pt x="1424" y="132"/>
                    <a:pt x="1431" y="128"/>
                    <a:pt x="1438" y="124"/>
                  </a:cubicBezTo>
                  <a:cubicBezTo>
                    <a:pt x="1444" y="121"/>
                    <a:pt x="1452" y="119"/>
                    <a:pt x="1459" y="117"/>
                  </a:cubicBezTo>
                  <a:cubicBezTo>
                    <a:pt x="1467" y="115"/>
                    <a:pt x="1475" y="114"/>
                    <a:pt x="1483" y="114"/>
                  </a:cubicBezTo>
                  <a:cubicBezTo>
                    <a:pt x="1499" y="114"/>
                    <a:pt x="1513" y="117"/>
                    <a:pt x="1525" y="122"/>
                  </a:cubicBezTo>
                  <a:cubicBezTo>
                    <a:pt x="1537" y="128"/>
                    <a:pt x="1547" y="135"/>
                    <a:pt x="1555" y="145"/>
                  </a:cubicBezTo>
                  <a:cubicBezTo>
                    <a:pt x="1563" y="155"/>
                    <a:pt x="1569" y="167"/>
                    <a:pt x="1573" y="181"/>
                  </a:cubicBezTo>
                  <a:cubicBezTo>
                    <a:pt x="1577" y="195"/>
                    <a:pt x="1578" y="210"/>
                    <a:pt x="1578" y="227"/>
                  </a:cubicBezTo>
                  <a:close/>
                  <a:moveTo>
                    <a:pt x="1536" y="230"/>
                  </a:moveTo>
                  <a:cubicBezTo>
                    <a:pt x="1536" y="220"/>
                    <a:pt x="1535" y="209"/>
                    <a:pt x="1533" y="199"/>
                  </a:cubicBezTo>
                  <a:cubicBezTo>
                    <a:pt x="1531" y="189"/>
                    <a:pt x="1527" y="181"/>
                    <a:pt x="1523" y="173"/>
                  </a:cubicBezTo>
                  <a:cubicBezTo>
                    <a:pt x="1518" y="165"/>
                    <a:pt x="1512" y="159"/>
                    <a:pt x="1505" y="155"/>
                  </a:cubicBezTo>
                  <a:cubicBezTo>
                    <a:pt x="1497" y="150"/>
                    <a:pt x="1487" y="148"/>
                    <a:pt x="1476" y="148"/>
                  </a:cubicBezTo>
                  <a:cubicBezTo>
                    <a:pt x="1469" y="148"/>
                    <a:pt x="1463" y="149"/>
                    <a:pt x="1457" y="151"/>
                  </a:cubicBezTo>
                  <a:cubicBezTo>
                    <a:pt x="1451" y="152"/>
                    <a:pt x="1445" y="155"/>
                    <a:pt x="1439" y="159"/>
                  </a:cubicBezTo>
                  <a:cubicBezTo>
                    <a:pt x="1433" y="162"/>
                    <a:pt x="1427" y="167"/>
                    <a:pt x="1421" y="172"/>
                  </a:cubicBezTo>
                  <a:cubicBezTo>
                    <a:pt x="1416" y="177"/>
                    <a:pt x="1409" y="183"/>
                    <a:pt x="1403" y="190"/>
                  </a:cubicBezTo>
                  <a:cubicBezTo>
                    <a:pt x="1403" y="193"/>
                    <a:pt x="1403" y="196"/>
                    <a:pt x="1403" y="199"/>
                  </a:cubicBezTo>
                  <a:cubicBezTo>
                    <a:pt x="1403" y="203"/>
                    <a:pt x="1403" y="206"/>
                    <a:pt x="1403" y="210"/>
                  </a:cubicBezTo>
                  <a:cubicBezTo>
                    <a:pt x="1403" y="228"/>
                    <a:pt x="1404" y="244"/>
                    <a:pt x="1406" y="257"/>
                  </a:cubicBezTo>
                  <a:cubicBezTo>
                    <a:pt x="1408" y="271"/>
                    <a:pt x="1412" y="282"/>
                    <a:pt x="1417" y="291"/>
                  </a:cubicBezTo>
                  <a:cubicBezTo>
                    <a:pt x="1422" y="301"/>
                    <a:pt x="1429" y="307"/>
                    <a:pt x="1437" y="312"/>
                  </a:cubicBezTo>
                  <a:cubicBezTo>
                    <a:pt x="1446" y="317"/>
                    <a:pt x="1456" y="319"/>
                    <a:pt x="1468" y="319"/>
                  </a:cubicBezTo>
                  <a:cubicBezTo>
                    <a:pt x="1479" y="319"/>
                    <a:pt x="1489" y="317"/>
                    <a:pt x="1497" y="313"/>
                  </a:cubicBezTo>
                  <a:cubicBezTo>
                    <a:pt x="1506" y="308"/>
                    <a:pt x="1513" y="302"/>
                    <a:pt x="1519" y="295"/>
                  </a:cubicBezTo>
                  <a:cubicBezTo>
                    <a:pt x="1524" y="287"/>
                    <a:pt x="1529" y="278"/>
                    <a:pt x="1532" y="267"/>
                  </a:cubicBezTo>
                  <a:cubicBezTo>
                    <a:pt x="1535" y="256"/>
                    <a:pt x="1536" y="244"/>
                    <a:pt x="1536" y="230"/>
                  </a:cubicBezTo>
                  <a:close/>
                  <a:moveTo>
                    <a:pt x="1815" y="342"/>
                  </a:moveTo>
                  <a:cubicBezTo>
                    <a:pt x="1815" y="344"/>
                    <a:pt x="1815" y="345"/>
                    <a:pt x="1814" y="346"/>
                  </a:cubicBezTo>
                  <a:cubicBezTo>
                    <a:pt x="1814" y="347"/>
                    <a:pt x="1813" y="347"/>
                    <a:pt x="1811" y="348"/>
                  </a:cubicBezTo>
                  <a:cubicBezTo>
                    <a:pt x="1810" y="349"/>
                    <a:pt x="1807" y="349"/>
                    <a:pt x="1805" y="350"/>
                  </a:cubicBezTo>
                  <a:cubicBezTo>
                    <a:pt x="1802" y="350"/>
                    <a:pt x="1799" y="350"/>
                    <a:pt x="1795" y="350"/>
                  </a:cubicBezTo>
                  <a:cubicBezTo>
                    <a:pt x="1791" y="350"/>
                    <a:pt x="1787" y="350"/>
                    <a:pt x="1785" y="350"/>
                  </a:cubicBezTo>
                  <a:cubicBezTo>
                    <a:pt x="1782" y="349"/>
                    <a:pt x="1780" y="349"/>
                    <a:pt x="1778" y="348"/>
                  </a:cubicBezTo>
                  <a:cubicBezTo>
                    <a:pt x="1777" y="347"/>
                    <a:pt x="1776" y="347"/>
                    <a:pt x="1775" y="346"/>
                  </a:cubicBezTo>
                  <a:cubicBezTo>
                    <a:pt x="1774" y="345"/>
                    <a:pt x="1774" y="344"/>
                    <a:pt x="1774" y="342"/>
                  </a:cubicBezTo>
                  <a:lnTo>
                    <a:pt x="1774" y="147"/>
                  </a:lnTo>
                  <a:lnTo>
                    <a:pt x="1712" y="147"/>
                  </a:lnTo>
                  <a:cubicBezTo>
                    <a:pt x="1710" y="173"/>
                    <a:pt x="1707" y="197"/>
                    <a:pt x="1703" y="217"/>
                  </a:cubicBezTo>
                  <a:cubicBezTo>
                    <a:pt x="1699" y="238"/>
                    <a:pt x="1695" y="256"/>
                    <a:pt x="1690" y="271"/>
                  </a:cubicBezTo>
                  <a:cubicBezTo>
                    <a:pt x="1686" y="286"/>
                    <a:pt x="1680" y="299"/>
                    <a:pt x="1675" y="310"/>
                  </a:cubicBezTo>
                  <a:cubicBezTo>
                    <a:pt x="1669" y="320"/>
                    <a:pt x="1662" y="328"/>
                    <a:pt x="1656" y="335"/>
                  </a:cubicBezTo>
                  <a:cubicBezTo>
                    <a:pt x="1649" y="341"/>
                    <a:pt x="1641" y="346"/>
                    <a:pt x="1633" y="349"/>
                  </a:cubicBezTo>
                  <a:cubicBezTo>
                    <a:pt x="1625" y="351"/>
                    <a:pt x="1617" y="353"/>
                    <a:pt x="1608" y="353"/>
                  </a:cubicBezTo>
                  <a:cubicBezTo>
                    <a:pt x="1606" y="353"/>
                    <a:pt x="1605" y="352"/>
                    <a:pt x="1604" y="352"/>
                  </a:cubicBezTo>
                  <a:cubicBezTo>
                    <a:pt x="1603" y="351"/>
                    <a:pt x="1602" y="351"/>
                    <a:pt x="1601" y="349"/>
                  </a:cubicBezTo>
                  <a:cubicBezTo>
                    <a:pt x="1600" y="348"/>
                    <a:pt x="1600" y="346"/>
                    <a:pt x="1600" y="344"/>
                  </a:cubicBezTo>
                  <a:cubicBezTo>
                    <a:pt x="1599" y="341"/>
                    <a:pt x="1599" y="338"/>
                    <a:pt x="1599" y="334"/>
                  </a:cubicBezTo>
                  <a:cubicBezTo>
                    <a:pt x="1599" y="330"/>
                    <a:pt x="1599" y="327"/>
                    <a:pt x="1599" y="325"/>
                  </a:cubicBezTo>
                  <a:cubicBezTo>
                    <a:pt x="1600" y="322"/>
                    <a:pt x="1600" y="320"/>
                    <a:pt x="1601" y="319"/>
                  </a:cubicBezTo>
                  <a:cubicBezTo>
                    <a:pt x="1601" y="317"/>
                    <a:pt x="1602" y="316"/>
                    <a:pt x="1603" y="316"/>
                  </a:cubicBezTo>
                  <a:cubicBezTo>
                    <a:pt x="1604" y="315"/>
                    <a:pt x="1605" y="315"/>
                    <a:pt x="1606" y="315"/>
                  </a:cubicBezTo>
                  <a:cubicBezTo>
                    <a:pt x="1612" y="315"/>
                    <a:pt x="1617" y="314"/>
                    <a:pt x="1622" y="311"/>
                  </a:cubicBezTo>
                  <a:cubicBezTo>
                    <a:pt x="1627" y="309"/>
                    <a:pt x="1632" y="304"/>
                    <a:pt x="1636" y="298"/>
                  </a:cubicBezTo>
                  <a:cubicBezTo>
                    <a:pt x="1640" y="293"/>
                    <a:pt x="1644" y="285"/>
                    <a:pt x="1648" y="275"/>
                  </a:cubicBezTo>
                  <a:cubicBezTo>
                    <a:pt x="1652" y="266"/>
                    <a:pt x="1655" y="254"/>
                    <a:pt x="1659" y="240"/>
                  </a:cubicBezTo>
                  <a:cubicBezTo>
                    <a:pt x="1662" y="226"/>
                    <a:pt x="1665" y="210"/>
                    <a:pt x="1667" y="191"/>
                  </a:cubicBezTo>
                  <a:cubicBezTo>
                    <a:pt x="1670" y="173"/>
                    <a:pt x="1673" y="151"/>
                    <a:pt x="1675" y="127"/>
                  </a:cubicBezTo>
                  <a:cubicBezTo>
                    <a:pt x="1676" y="122"/>
                    <a:pt x="1677" y="119"/>
                    <a:pt x="1679" y="116"/>
                  </a:cubicBezTo>
                  <a:cubicBezTo>
                    <a:pt x="1681" y="114"/>
                    <a:pt x="1684" y="113"/>
                    <a:pt x="1688" y="113"/>
                  </a:cubicBezTo>
                  <a:lnTo>
                    <a:pt x="1803" y="113"/>
                  </a:lnTo>
                  <a:cubicBezTo>
                    <a:pt x="1807" y="113"/>
                    <a:pt x="1810" y="114"/>
                    <a:pt x="1812" y="116"/>
                  </a:cubicBezTo>
                  <a:cubicBezTo>
                    <a:pt x="1814" y="119"/>
                    <a:pt x="1815" y="122"/>
                    <a:pt x="1815" y="127"/>
                  </a:cubicBezTo>
                  <a:lnTo>
                    <a:pt x="1815" y="342"/>
                  </a:lnTo>
                  <a:close/>
                  <a:moveTo>
                    <a:pt x="2082" y="221"/>
                  </a:moveTo>
                  <a:cubicBezTo>
                    <a:pt x="2082" y="227"/>
                    <a:pt x="2080" y="232"/>
                    <a:pt x="2077" y="235"/>
                  </a:cubicBezTo>
                  <a:cubicBezTo>
                    <a:pt x="2074" y="237"/>
                    <a:pt x="2070" y="239"/>
                    <a:pt x="2066" y="239"/>
                  </a:cubicBezTo>
                  <a:lnTo>
                    <a:pt x="1920" y="239"/>
                  </a:lnTo>
                  <a:cubicBezTo>
                    <a:pt x="1920" y="251"/>
                    <a:pt x="1921" y="262"/>
                    <a:pt x="1923" y="272"/>
                  </a:cubicBezTo>
                  <a:cubicBezTo>
                    <a:pt x="1926" y="282"/>
                    <a:pt x="1930" y="291"/>
                    <a:pt x="1936" y="298"/>
                  </a:cubicBezTo>
                  <a:cubicBezTo>
                    <a:pt x="1942" y="305"/>
                    <a:pt x="1949" y="310"/>
                    <a:pt x="1958" y="314"/>
                  </a:cubicBezTo>
                  <a:cubicBezTo>
                    <a:pt x="1968" y="318"/>
                    <a:pt x="1979" y="320"/>
                    <a:pt x="1992" y="320"/>
                  </a:cubicBezTo>
                  <a:cubicBezTo>
                    <a:pt x="2003" y="320"/>
                    <a:pt x="2012" y="319"/>
                    <a:pt x="2021" y="317"/>
                  </a:cubicBezTo>
                  <a:cubicBezTo>
                    <a:pt x="2029" y="316"/>
                    <a:pt x="2036" y="314"/>
                    <a:pt x="2042" y="311"/>
                  </a:cubicBezTo>
                  <a:cubicBezTo>
                    <a:pt x="2048" y="309"/>
                    <a:pt x="2053" y="307"/>
                    <a:pt x="2057" y="306"/>
                  </a:cubicBezTo>
                  <a:cubicBezTo>
                    <a:pt x="2061" y="304"/>
                    <a:pt x="2064" y="303"/>
                    <a:pt x="2066" y="303"/>
                  </a:cubicBezTo>
                  <a:cubicBezTo>
                    <a:pt x="2067" y="303"/>
                    <a:pt x="2068" y="303"/>
                    <a:pt x="2069" y="304"/>
                  </a:cubicBezTo>
                  <a:cubicBezTo>
                    <a:pt x="2070" y="304"/>
                    <a:pt x="2071" y="305"/>
                    <a:pt x="2071" y="307"/>
                  </a:cubicBezTo>
                  <a:cubicBezTo>
                    <a:pt x="2072" y="308"/>
                    <a:pt x="2072" y="309"/>
                    <a:pt x="2072" y="311"/>
                  </a:cubicBezTo>
                  <a:cubicBezTo>
                    <a:pt x="2073" y="313"/>
                    <a:pt x="2073" y="316"/>
                    <a:pt x="2073" y="319"/>
                  </a:cubicBezTo>
                  <a:cubicBezTo>
                    <a:pt x="2073" y="321"/>
                    <a:pt x="2073" y="323"/>
                    <a:pt x="2072" y="325"/>
                  </a:cubicBezTo>
                  <a:cubicBezTo>
                    <a:pt x="2072" y="326"/>
                    <a:pt x="2072" y="327"/>
                    <a:pt x="2072" y="329"/>
                  </a:cubicBezTo>
                  <a:cubicBezTo>
                    <a:pt x="2072" y="330"/>
                    <a:pt x="2071" y="331"/>
                    <a:pt x="2071" y="332"/>
                  </a:cubicBezTo>
                  <a:cubicBezTo>
                    <a:pt x="2070" y="333"/>
                    <a:pt x="2069" y="334"/>
                    <a:pt x="2068" y="335"/>
                  </a:cubicBezTo>
                  <a:cubicBezTo>
                    <a:pt x="2067" y="336"/>
                    <a:pt x="2065" y="337"/>
                    <a:pt x="2060" y="339"/>
                  </a:cubicBezTo>
                  <a:cubicBezTo>
                    <a:pt x="2056" y="341"/>
                    <a:pt x="2050" y="344"/>
                    <a:pt x="2043" y="346"/>
                  </a:cubicBezTo>
                  <a:cubicBezTo>
                    <a:pt x="2036" y="347"/>
                    <a:pt x="2027" y="349"/>
                    <a:pt x="2018" y="351"/>
                  </a:cubicBezTo>
                  <a:cubicBezTo>
                    <a:pt x="2009" y="352"/>
                    <a:pt x="1999" y="353"/>
                    <a:pt x="1988" y="353"/>
                  </a:cubicBezTo>
                  <a:cubicBezTo>
                    <a:pt x="1970" y="353"/>
                    <a:pt x="1954" y="351"/>
                    <a:pt x="1940" y="346"/>
                  </a:cubicBezTo>
                  <a:cubicBezTo>
                    <a:pt x="1926" y="340"/>
                    <a:pt x="1914" y="333"/>
                    <a:pt x="1905" y="323"/>
                  </a:cubicBezTo>
                  <a:cubicBezTo>
                    <a:pt x="1896" y="313"/>
                    <a:pt x="1888" y="300"/>
                    <a:pt x="1884" y="285"/>
                  </a:cubicBezTo>
                  <a:cubicBezTo>
                    <a:pt x="1879" y="269"/>
                    <a:pt x="1876" y="252"/>
                    <a:pt x="1876" y="231"/>
                  </a:cubicBezTo>
                  <a:cubicBezTo>
                    <a:pt x="1876" y="212"/>
                    <a:pt x="1879" y="195"/>
                    <a:pt x="1884" y="180"/>
                  </a:cubicBezTo>
                  <a:cubicBezTo>
                    <a:pt x="1889" y="164"/>
                    <a:pt x="1896" y="151"/>
                    <a:pt x="1905" y="141"/>
                  </a:cubicBezTo>
                  <a:cubicBezTo>
                    <a:pt x="1915" y="130"/>
                    <a:pt x="1926" y="122"/>
                    <a:pt x="1939" y="116"/>
                  </a:cubicBezTo>
                  <a:cubicBezTo>
                    <a:pt x="1953" y="110"/>
                    <a:pt x="1967" y="108"/>
                    <a:pt x="1984" y="108"/>
                  </a:cubicBezTo>
                  <a:cubicBezTo>
                    <a:pt x="2001" y="108"/>
                    <a:pt x="2016" y="110"/>
                    <a:pt x="2029" y="116"/>
                  </a:cubicBezTo>
                  <a:cubicBezTo>
                    <a:pt x="2041" y="122"/>
                    <a:pt x="2051" y="129"/>
                    <a:pt x="2059" y="139"/>
                  </a:cubicBezTo>
                  <a:cubicBezTo>
                    <a:pt x="2067" y="148"/>
                    <a:pt x="2073" y="159"/>
                    <a:pt x="2076" y="172"/>
                  </a:cubicBezTo>
                  <a:cubicBezTo>
                    <a:pt x="2080" y="185"/>
                    <a:pt x="2082" y="199"/>
                    <a:pt x="2082" y="213"/>
                  </a:cubicBezTo>
                  <a:lnTo>
                    <a:pt x="2082" y="221"/>
                  </a:lnTo>
                  <a:close/>
                  <a:moveTo>
                    <a:pt x="2041" y="209"/>
                  </a:moveTo>
                  <a:cubicBezTo>
                    <a:pt x="2041" y="187"/>
                    <a:pt x="2037" y="170"/>
                    <a:pt x="2027" y="158"/>
                  </a:cubicBezTo>
                  <a:cubicBezTo>
                    <a:pt x="2017" y="146"/>
                    <a:pt x="2002" y="140"/>
                    <a:pt x="1982" y="140"/>
                  </a:cubicBezTo>
                  <a:cubicBezTo>
                    <a:pt x="1972" y="140"/>
                    <a:pt x="1963" y="142"/>
                    <a:pt x="1955" y="145"/>
                  </a:cubicBezTo>
                  <a:cubicBezTo>
                    <a:pt x="1948" y="149"/>
                    <a:pt x="1941" y="154"/>
                    <a:pt x="1936" y="160"/>
                  </a:cubicBezTo>
                  <a:cubicBezTo>
                    <a:pt x="1931" y="167"/>
                    <a:pt x="1927" y="174"/>
                    <a:pt x="1924" y="182"/>
                  </a:cubicBezTo>
                  <a:cubicBezTo>
                    <a:pt x="1922" y="191"/>
                    <a:pt x="1920" y="200"/>
                    <a:pt x="1920" y="209"/>
                  </a:cubicBezTo>
                  <a:lnTo>
                    <a:pt x="2041" y="209"/>
                  </a:lnTo>
                  <a:close/>
                  <a:moveTo>
                    <a:pt x="2424" y="340"/>
                  </a:moveTo>
                  <a:cubicBezTo>
                    <a:pt x="2424" y="344"/>
                    <a:pt x="2423" y="346"/>
                    <a:pt x="2420" y="348"/>
                  </a:cubicBezTo>
                  <a:cubicBezTo>
                    <a:pt x="2418" y="349"/>
                    <a:pt x="2413" y="350"/>
                    <a:pt x="2405" y="350"/>
                  </a:cubicBezTo>
                  <a:cubicBezTo>
                    <a:pt x="2401" y="350"/>
                    <a:pt x="2398" y="350"/>
                    <a:pt x="2395" y="350"/>
                  </a:cubicBezTo>
                  <a:cubicBezTo>
                    <a:pt x="2392" y="350"/>
                    <a:pt x="2390" y="349"/>
                    <a:pt x="2389" y="349"/>
                  </a:cubicBezTo>
                  <a:cubicBezTo>
                    <a:pt x="2387" y="348"/>
                    <a:pt x="2386" y="348"/>
                    <a:pt x="2386" y="347"/>
                  </a:cubicBezTo>
                  <a:cubicBezTo>
                    <a:pt x="2385" y="346"/>
                    <a:pt x="2385" y="345"/>
                    <a:pt x="2384" y="343"/>
                  </a:cubicBezTo>
                  <a:lnTo>
                    <a:pt x="2368" y="213"/>
                  </a:lnTo>
                  <a:cubicBezTo>
                    <a:pt x="2368" y="208"/>
                    <a:pt x="2367" y="203"/>
                    <a:pt x="2367" y="198"/>
                  </a:cubicBezTo>
                  <a:cubicBezTo>
                    <a:pt x="2366" y="192"/>
                    <a:pt x="2366" y="187"/>
                    <a:pt x="2365" y="182"/>
                  </a:cubicBezTo>
                  <a:cubicBezTo>
                    <a:pt x="2365" y="176"/>
                    <a:pt x="2364" y="171"/>
                    <a:pt x="2364" y="165"/>
                  </a:cubicBezTo>
                  <a:cubicBezTo>
                    <a:pt x="2364" y="160"/>
                    <a:pt x="2363" y="155"/>
                    <a:pt x="2363" y="150"/>
                  </a:cubicBezTo>
                  <a:lnTo>
                    <a:pt x="2362" y="144"/>
                  </a:lnTo>
                  <a:cubicBezTo>
                    <a:pt x="2361" y="149"/>
                    <a:pt x="2359" y="154"/>
                    <a:pt x="2358" y="159"/>
                  </a:cubicBezTo>
                  <a:cubicBezTo>
                    <a:pt x="2356" y="164"/>
                    <a:pt x="2354" y="170"/>
                    <a:pt x="2352" y="175"/>
                  </a:cubicBezTo>
                  <a:cubicBezTo>
                    <a:pt x="2350" y="181"/>
                    <a:pt x="2349" y="186"/>
                    <a:pt x="2347" y="192"/>
                  </a:cubicBezTo>
                  <a:cubicBezTo>
                    <a:pt x="2345" y="197"/>
                    <a:pt x="2343" y="202"/>
                    <a:pt x="2342" y="207"/>
                  </a:cubicBezTo>
                  <a:lnTo>
                    <a:pt x="2295" y="340"/>
                  </a:lnTo>
                  <a:cubicBezTo>
                    <a:pt x="2294" y="342"/>
                    <a:pt x="2294" y="343"/>
                    <a:pt x="2293" y="345"/>
                  </a:cubicBezTo>
                  <a:cubicBezTo>
                    <a:pt x="2292" y="346"/>
                    <a:pt x="2291" y="347"/>
                    <a:pt x="2289" y="348"/>
                  </a:cubicBezTo>
                  <a:cubicBezTo>
                    <a:pt x="2287" y="349"/>
                    <a:pt x="2285" y="349"/>
                    <a:pt x="2283" y="350"/>
                  </a:cubicBezTo>
                  <a:cubicBezTo>
                    <a:pt x="2281" y="350"/>
                    <a:pt x="2278" y="350"/>
                    <a:pt x="2274" y="350"/>
                  </a:cubicBezTo>
                  <a:cubicBezTo>
                    <a:pt x="2271" y="350"/>
                    <a:pt x="2268" y="350"/>
                    <a:pt x="2265" y="350"/>
                  </a:cubicBezTo>
                  <a:cubicBezTo>
                    <a:pt x="2263" y="349"/>
                    <a:pt x="2261" y="349"/>
                    <a:pt x="2260" y="348"/>
                  </a:cubicBezTo>
                  <a:cubicBezTo>
                    <a:pt x="2258" y="347"/>
                    <a:pt x="2257" y="346"/>
                    <a:pt x="2256" y="345"/>
                  </a:cubicBezTo>
                  <a:cubicBezTo>
                    <a:pt x="2255" y="343"/>
                    <a:pt x="2254" y="342"/>
                    <a:pt x="2253" y="340"/>
                  </a:cubicBezTo>
                  <a:lnTo>
                    <a:pt x="2208" y="207"/>
                  </a:lnTo>
                  <a:cubicBezTo>
                    <a:pt x="2206" y="202"/>
                    <a:pt x="2205" y="198"/>
                    <a:pt x="2203" y="192"/>
                  </a:cubicBezTo>
                  <a:cubicBezTo>
                    <a:pt x="2201" y="187"/>
                    <a:pt x="2199" y="182"/>
                    <a:pt x="2198" y="176"/>
                  </a:cubicBezTo>
                  <a:cubicBezTo>
                    <a:pt x="2196" y="170"/>
                    <a:pt x="2194" y="165"/>
                    <a:pt x="2193" y="159"/>
                  </a:cubicBezTo>
                  <a:cubicBezTo>
                    <a:pt x="2191" y="154"/>
                    <a:pt x="2190" y="149"/>
                    <a:pt x="2188" y="144"/>
                  </a:cubicBezTo>
                  <a:lnTo>
                    <a:pt x="2188" y="150"/>
                  </a:lnTo>
                  <a:cubicBezTo>
                    <a:pt x="2188" y="155"/>
                    <a:pt x="2187" y="160"/>
                    <a:pt x="2187" y="165"/>
                  </a:cubicBezTo>
                  <a:cubicBezTo>
                    <a:pt x="2186" y="171"/>
                    <a:pt x="2186" y="176"/>
                    <a:pt x="2185" y="182"/>
                  </a:cubicBezTo>
                  <a:cubicBezTo>
                    <a:pt x="2185" y="187"/>
                    <a:pt x="2184" y="192"/>
                    <a:pt x="2183" y="198"/>
                  </a:cubicBezTo>
                  <a:cubicBezTo>
                    <a:pt x="2183" y="203"/>
                    <a:pt x="2182" y="208"/>
                    <a:pt x="2182" y="213"/>
                  </a:cubicBezTo>
                  <a:lnTo>
                    <a:pt x="2167" y="341"/>
                  </a:lnTo>
                  <a:cubicBezTo>
                    <a:pt x="2166" y="343"/>
                    <a:pt x="2166" y="344"/>
                    <a:pt x="2165" y="346"/>
                  </a:cubicBezTo>
                  <a:cubicBezTo>
                    <a:pt x="2165" y="347"/>
                    <a:pt x="2164" y="348"/>
                    <a:pt x="2162" y="348"/>
                  </a:cubicBezTo>
                  <a:cubicBezTo>
                    <a:pt x="2160" y="349"/>
                    <a:pt x="2158" y="349"/>
                    <a:pt x="2156" y="350"/>
                  </a:cubicBezTo>
                  <a:cubicBezTo>
                    <a:pt x="2153" y="350"/>
                    <a:pt x="2149" y="350"/>
                    <a:pt x="2145" y="350"/>
                  </a:cubicBezTo>
                  <a:cubicBezTo>
                    <a:pt x="2141" y="350"/>
                    <a:pt x="2138" y="350"/>
                    <a:pt x="2135" y="350"/>
                  </a:cubicBezTo>
                  <a:cubicBezTo>
                    <a:pt x="2133" y="349"/>
                    <a:pt x="2131" y="349"/>
                    <a:pt x="2130" y="348"/>
                  </a:cubicBezTo>
                  <a:cubicBezTo>
                    <a:pt x="2129" y="347"/>
                    <a:pt x="2128" y="346"/>
                    <a:pt x="2128" y="345"/>
                  </a:cubicBezTo>
                  <a:cubicBezTo>
                    <a:pt x="2127" y="343"/>
                    <a:pt x="2127" y="342"/>
                    <a:pt x="2128" y="340"/>
                  </a:cubicBezTo>
                  <a:lnTo>
                    <a:pt x="2152" y="128"/>
                  </a:lnTo>
                  <a:cubicBezTo>
                    <a:pt x="2153" y="123"/>
                    <a:pt x="2155" y="119"/>
                    <a:pt x="2158" y="116"/>
                  </a:cubicBezTo>
                  <a:cubicBezTo>
                    <a:pt x="2161" y="114"/>
                    <a:pt x="2165" y="112"/>
                    <a:pt x="2171" y="112"/>
                  </a:cubicBezTo>
                  <a:lnTo>
                    <a:pt x="2190" y="112"/>
                  </a:lnTo>
                  <a:cubicBezTo>
                    <a:pt x="2195" y="112"/>
                    <a:pt x="2199" y="113"/>
                    <a:pt x="2203" y="113"/>
                  </a:cubicBezTo>
                  <a:cubicBezTo>
                    <a:pt x="2206" y="114"/>
                    <a:pt x="2209" y="115"/>
                    <a:pt x="2211" y="117"/>
                  </a:cubicBezTo>
                  <a:cubicBezTo>
                    <a:pt x="2214" y="119"/>
                    <a:pt x="2216" y="122"/>
                    <a:pt x="2218" y="125"/>
                  </a:cubicBezTo>
                  <a:cubicBezTo>
                    <a:pt x="2219" y="128"/>
                    <a:pt x="2221" y="131"/>
                    <a:pt x="2222" y="136"/>
                  </a:cubicBezTo>
                  <a:lnTo>
                    <a:pt x="2255" y="231"/>
                  </a:lnTo>
                  <a:cubicBezTo>
                    <a:pt x="2257" y="237"/>
                    <a:pt x="2259" y="243"/>
                    <a:pt x="2261" y="249"/>
                  </a:cubicBezTo>
                  <a:cubicBezTo>
                    <a:pt x="2263" y="255"/>
                    <a:pt x="2265" y="260"/>
                    <a:pt x="2267" y="266"/>
                  </a:cubicBezTo>
                  <a:cubicBezTo>
                    <a:pt x="2268" y="272"/>
                    <a:pt x="2270" y="277"/>
                    <a:pt x="2272" y="283"/>
                  </a:cubicBezTo>
                  <a:cubicBezTo>
                    <a:pt x="2273" y="288"/>
                    <a:pt x="2275" y="294"/>
                    <a:pt x="2276" y="299"/>
                  </a:cubicBezTo>
                  <a:lnTo>
                    <a:pt x="2276" y="299"/>
                  </a:lnTo>
                  <a:cubicBezTo>
                    <a:pt x="2278" y="293"/>
                    <a:pt x="2279" y="288"/>
                    <a:pt x="2281" y="282"/>
                  </a:cubicBezTo>
                  <a:cubicBezTo>
                    <a:pt x="2283" y="277"/>
                    <a:pt x="2284" y="271"/>
                    <a:pt x="2286" y="265"/>
                  </a:cubicBezTo>
                  <a:cubicBezTo>
                    <a:pt x="2288" y="259"/>
                    <a:pt x="2290" y="253"/>
                    <a:pt x="2292" y="247"/>
                  </a:cubicBezTo>
                  <a:cubicBezTo>
                    <a:pt x="2294" y="242"/>
                    <a:pt x="2295" y="236"/>
                    <a:pt x="2297" y="231"/>
                  </a:cubicBezTo>
                  <a:lnTo>
                    <a:pt x="2330" y="136"/>
                  </a:lnTo>
                  <a:cubicBezTo>
                    <a:pt x="2332" y="132"/>
                    <a:pt x="2333" y="128"/>
                    <a:pt x="2335" y="125"/>
                  </a:cubicBezTo>
                  <a:cubicBezTo>
                    <a:pt x="2336" y="122"/>
                    <a:pt x="2338" y="120"/>
                    <a:pt x="2340" y="118"/>
                  </a:cubicBezTo>
                  <a:cubicBezTo>
                    <a:pt x="2343" y="116"/>
                    <a:pt x="2346" y="115"/>
                    <a:pt x="2349" y="114"/>
                  </a:cubicBezTo>
                  <a:cubicBezTo>
                    <a:pt x="2352" y="113"/>
                    <a:pt x="2356" y="112"/>
                    <a:pt x="2361" y="112"/>
                  </a:cubicBezTo>
                  <a:lnTo>
                    <a:pt x="2380" y="112"/>
                  </a:lnTo>
                  <a:cubicBezTo>
                    <a:pt x="2386" y="112"/>
                    <a:pt x="2390" y="114"/>
                    <a:pt x="2393" y="116"/>
                  </a:cubicBezTo>
                  <a:cubicBezTo>
                    <a:pt x="2397" y="118"/>
                    <a:pt x="2398" y="122"/>
                    <a:pt x="2399" y="128"/>
                  </a:cubicBezTo>
                  <a:lnTo>
                    <a:pt x="2424" y="340"/>
                  </a:lnTo>
                  <a:close/>
                  <a:moveTo>
                    <a:pt x="2784" y="278"/>
                  </a:moveTo>
                  <a:cubicBezTo>
                    <a:pt x="2784" y="290"/>
                    <a:pt x="2782" y="300"/>
                    <a:pt x="2777" y="309"/>
                  </a:cubicBezTo>
                  <a:cubicBezTo>
                    <a:pt x="2773" y="319"/>
                    <a:pt x="2766" y="326"/>
                    <a:pt x="2758" y="332"/>
                  </a:cubicBezTo>
                  <a:cubicBezTo>
                    <a:pt x="2749" y="339"/>
                    <a:pt x="2738" y="343"/>
                    <a:pt x="2725" y="347"/>
                  </a:cubicBezTo>
                  <a:cubicBezTo>
                    <a:pt x="2712" y="350"/>
                    <a:pt x="2696" y="351"/>
                    <a:pt x="2679" y="351"/>
                  </a:cubicBezTo>
                  <a:cubicBezTo>
                    <a:pt x="2674" y="351"/>
                    <a:pt x="2668" y="351"/>
                    <a:pt x="2663" y="351"/>
                  </a:cubicBezTo>
                  <a:cubicBezTo>
                    <a:pt x="2658" y="351"/>
                    <a:pt x="2653" y="351"/>
                    <a:pt x="2648" y="351"/>
                  </a:cubicBezTo>
                  <a:cubicBezTo>
                    <a:pt x="2643" y="351"/>
                    <a:pt x="2639" y="350"/>
                    <a:pt x="2634" y="350"/>
                  </a:cubicBezTo>
                  <a:cubicBezTo>
                    <a:pt x="2629" y="350"/>
                    <a:pt x="2625" y="349"/>
                    <a:pt x="2620" y="349"/>
                  </a:cubicBezTo>
                  <a:cubicBezTo>
                    <a:pt x="2613" y="348"/>
                    <a:pt x="2608" y="346"/>
                    <a:pt x="2605" y="342"/>
                  </a:cubicBezTo>
                  <a:cubicBezTo>
                    <a:pt x="2602" y="339"/>
                    <a:pt x="2601" y="333"/>
                    <a:pt x="2601" y="326"/>
                  </a:cubicBezTo>
                  <a:lnTo>
                    <a:pt x="2601" y="134"/>
                  </a:lnTo>
                  <a:cubicBezTo>
                    <a:pt x="2601" y="127"/>
                    <a:pt x="2602" y="122"/>
                    <a:pt x="2605" y="118"/>
                  </a:cubicBezTo>
                  <a:cubicBezTo>
                    <a:pt x="2608" y="115"/>
                    <a:pt x="2613" y="112"/>
                    <a:pt x="2619" y="112"/>
                  </a:cubicBezTo>
                  <a:cubicBezTo>
                    <a:pt x="2624" y="111"/>
                    <a:pt x="2628" y="111"/>
                    <a:pt x="2633" y="110"/>
                  </a:cubicBezTo>
                  <a:cubicBezTo>
                    <a:pt x="2638" y="110"/>
                    <a:pt x="2643" y="110"/>
                    <a:pt x="2648" y="110"/>
                  </a:cubicBezTo>
                  <a:cubicBezTo>
                    <a:pt x="2653" y="109"/>
                    <a:pt x="2658" y="109"/>
                    <a:pt x="2664" y="109"/>
                  </a:cubicBezTo>
                  <a:cubicBezTo>
                    <a:pt x="2669" y="109"/>
                    <a:pt x="2675" y="109"/>
                    <a:pt x="2681" y="109"/>
                  </a:cubicBezTo>
                  <a:cubicBezTo>
                    <a:pt x="2697" y="109"/>
                    <a:pt x="2711" y="110"/>
                    <a:pt x="2722" y="113"/>
                  </a:cubicBezTo>
                  <a:cubicBezTo>
                    <a:pt x="2734" y="115"/>
                    <a:pt x="2744" y="119"/>
                    <a:pt x="2752" y="124"/>
                  </a:cubicBezTo>
                  <a:cubicBezTo>
                    <a:pt x="2759" y="130"/>
                    <a:pt x="2765" y="136"/>
                    <a:pt x="2769" y="143"/>
                  </a:cubicBezTo>
                  <a:cubicBezTo>
                    <a:pt x="2773" y="151"/>
                    <a:pt x="2774" y="159"/>
                    <a:pt x="2774" y="169"/>
                  </a:cubicBezTo>
                  <a:cubicBezTo>
                    <a:pt x="2774" y="181"/>
                    <a:pt x="2771" y="192"/>
                    <a:pt x="2764" y="201"/>
                  </a:cubicBezTo>
                  <a:cubicBezTo>
                    <a:pt x="2758" y="210"/>
                    <a:pt x="2748" y="216"/>
                    <a:pt x="2735" y="220"/>
                  </a:cubicBezTo>
                  <a:cubicBezTo>
                    <a:pt x="2751" y="224"/>
                    <a:pt x="2763" y="230"/>
                    <a:pt x="2772" y="240"/>
                  </a:cubicBezTo>
                  <a:cubicBezTo>
                    <a:pt x="2780" y="250"/>
                    <a:pt x="2784" y="263"/>
                    <a:pt x="2784" y="278"/>
                  </a:cubicBezTo>
                  <a:close/>
                  <a:moveTo>
                    <a:pt x="2735" y="174"/>
                  </a:moveTo>
                  <a:cubicBezTo>
                    <a:pt x="2735" y="169"/>
                    <a:pt x="2734" y="164"/>
                    <a:pt x="2732" y="159"/>
                  </a:cubicBezTo>
                  <a:cubicBezTo>
                    <a:pt x="2730" y="155"/>
                    <a:pt x="2726" y="152"/>
                    <a:pt x="2722" y="149"/>
                  </a:cubicBezTo>
                  <a:cubicBezTo>
                    <a:pt x="2717" y="146"/>
                    <a:pt x="2711" y="143"/>
                    <a:pt x="2704" y="142"/>
                  </a:cubicBezTo>
                  <a:cubicBezTo>
                    <a:pt x="2697" y="140"/>
                    <a:pt x="2688" y="140"/>
                    <a:pt x="2678" y="140"/>
                  </a:cubicBezTo>
                  <a:cubicBezTo>
                    <a:pt x="2670" y="140"/>
                    <a:pt x="2663" y="140"/>
                    <a:pt x="2657" y="140"/>
                  </a:cubicBezTo>
                  <a:cubicBezTo>
                    <a:pt x="2650" y="141"/>
                    <a:pt x="2645" y="141"/>
                    <a:pt x="2640" y="142"/>
                  </a:cubicBezTo>
                  <a:lnTo>
                    <a:pt x="2640" y="211"/>
                  </a:lnTo>
                  <a:lnTo>
                    <a:pt x="2682" y="211"/>
                  </a:lnTo>
                  <a:cubicBezTo>
                    <a:pt x="2699" y="211"/>
                    <a:pt x="2712" y="208"/>
                    <a:pt x="2721" y="202"/>
                  </a:cubicBezTo>
                  <a:cubicBezTo>
                    <a:pt x="2730" y="195"/>
                    <a:pt x="2735" y="186"/>
                    <a:pt x="2735" y="174"/>
                  </a:cubicBezTo>
                  <a:close/>
                  <a:moveTo>
                    <a:pt x="2742" y="279"/>
                  </a:moveTo>
                  <a:cubicBezTo>
                    <a:pt x="2742" y="272"/>
                    <a:pt x="2741" y="266"/>
                    <a:pt x="2739" y="261"/>
                  </a:cubicBezTo>
                  <a:cubicBezTo>
                    <a:pt x="2736" y="256"/>
                    <a:pt x="2733" y="252"/>
                    <a:pt x="2728" y="249"/>
                  </a:cubicBezTo>
                  <a:cubicBezTo>
                    <a:pt x="2723" y="245"/>
                    <a:pt x="2716" y="243"/>
                    <a:pt x="2708" y="241"/>
                  </a:cubicBezTo>
                  <a:cubicBezTo>
                    <a:pt x="2700" y="240"/>
                    <a:pt x="2691" y="239"/>
                    <a:pt x="2680" y="239"/>
                  </a:cubicBezTo>
                  <a:lnTo>
                    <a:pt x="2640" y="239"/>
                  </a:lnTo>
                  <a:lnTo>
                    <a:pt x="2640" y="318"/>
                  </a:lnTo>
                  <a:cubicBezTo>
                    <a:pt x="2643" y="318"/>
                    <a:pt x="2647" y="319"/>
                    <a:pt x="2650" y="319"/>
                  </a:cubicBezTo>
                  <a:cubicBezTo>
                    <a:pt x="2654" y="319"/>
                    <a:pt x="2657" y="320"/>
                    <a:pt x="2661" y="320"/>
                  </a:cubicBezTo>
                  <a:cubicBezTo>
                    <a:pt x="2664" y="320"/>
                    <a:pt x="2668" y="320"/>
                    <a:pt x="2671" y="320"/>
                  </a:cubicBezTo>
                  <a:cubicBezTo>
                    <a:pt x="2675" y="321"/>
                    <a:pt x="2678" y="321"/>
                    <a:pt x="2681" y="321"/>
                  </a:cubicBezTo>
                  <a:cubicBezTo>
                    <a:pt x="2692" y="321"/>
                    <a:pt x="2701" y="320"/>
                    <a:pt x="2709" y="318"/>
                  </a:cubicBezTo>
                  <a:cubicBezTo>
                    <a:pt x="2716" y="316"/>
                    <a:pt x="2723" y="313"/>
                    <a:pt x="2728" y="310"/>
                  </a:cubicBezTo>
                  <a:cubicBezTo>
                    <a:pt x="2733" y="306"/>
                    <a:pt x="2736" y="301"/>
                    <a:pt x="2739" y="296"/>
                  </a:cubicBezTo>
                  <a:cubicBezTo>
                    <a:pt x="2741" y="291"/>
                    <a:pt x="2742" y="285"/>
                    <a:pt x="2742" y="279"/>
                  </a:cubicBezTo>
                  <a:close/>
                  <a:moveTo>
                    <a:pt x="176" y="805"/>
                  </a:moveTo>
                  <a:cubicBezTo>
                    <a:pt x="176" y="808"/>
                    <a:pt x="176" y="810"/>
                    <a:pt x="176" y="812"/>
                  </a:cubicBezTo>
                  <a:cubicBezTo>
                    <a:pt x="176" y="814"/>
                    <a:pt x="176" y="816"/>
                    <a:pt x="175" y="818"/>
                  </a:cubicBezTo>
                  <a:cubicBezTo>
                    <a:pt x="175" y="819"/>
                    <a:pt x="174" y="820"/>
                    <a:pt x="174" y="821"/>
                  </a:cubicBezTo>
                  <a:cubicBezTo>
                    <a:pt x="173" y="822"/>
                    <a:pt x="172" y="824"/>
                    <a:pt x="170" y="826"/>
                  </a:cubicBezTo>
                  <a:cubicBezTo>
                    <a:pt x="168" y="828"/>
                    <a:pt x="164" y="831"/>
                    <a:pt x="159" y="834"/>
                  </a:cubicBezTo>
                  <a:cubicBezTo>
                    <a:pt x="154" y="837"/>
                    <a:pt x="149" y="840"/>
                    <a:pt x="142" y="842"/>
                  </a:cubicBezTo>
                  <a:cubicBezTo>
                    <a:pt x="136" y="844"/>
                    <a:pt x="129" y="846"/>
                    <a:pt x="122" y="848"/>
                  </a:cubicBezTo>
                  <a:cubicBezTo>
                    <a:pt x="115" y="849"/>
                    <a:pt x="107" y="850"/>
                    <a:pt x="100" y="850"/>
                  </a:cubicBezTo>
                  <a:cubicBezTo>
                    <a:pt x="84" y="850"/>
                    <a:pt x="69" y="847"/>
                    <a:pt x="57" y="842"/>
                  </a:cubicBezTo>
                  <a:cubicBezTo>
                    <a:pt x="44" y="837"/>
                    <a:pt x="34" y="829"/>
                    <a:pt x="26" y="819"/>
                  </a:cubicBezTo>
                  <a:cubicBezTo>
                    <a:pt x="17" y="809"/>
                    <a:pt x="11" y="796"/>
                    <a:pt x="7" y="781"/>
                  </a:cubicBezTo>
                  <a:cubicBezTo>
                    <a:pt x="2" y="767"/>
                    <a:pt x="0" y="749"/>
                    <a:pt x="0" y="730"/>
                  </a:cubicBezTo>
                  <a:cubicBezTo>
                    <a:pt x="0" y="708"/>
                    <a:pt x="3" y="689"/>
                    <a:pt x="8" y="673"/>
                  </a:cubicBezTo>
                  <a:cubicBezTo>
                    <a:pt x="13" y="658"/>
                    <a:pt x="21" y="645"/>
                    <a:pt x="30" y="634"/>
                  </a:cubicBezTo>
                  <a:cubicBezTo>
                    <a:pt x="39" y="624"/>
                    <a:pt x="51" y="617"/>
                    <a:pt x="63" y="612"/>
                  </a:cubicBezTo>
                  <a:cubicBezTo>
                    <a:pt x="76" y="607"/>
                    <a:pt x="90" y="605"/>
                    <a:pt x="104" y="605"/>
                  </a:cubicBezTo>
                  <a:cubicBezTo>
                    <a:pt x="111" y="605"/>
                    <a:pt x="118" y="605"/>
                    <a:pt x="125" y="607"/>
                  </a:cubicBezTo>
                  <a:cubicBezTo>
                    <a:pt x="132" y="608"/>
                    <a:pt x="138" y="610"/>
                    <a:pt x="144" y="612"/>
                  </a:cubicBezTo>
                  <a:cubicBezTo>
                    <a:pt x="149" y="614"/>
                    <a:pt x="154" y="616"/>
                    <a:pt x="159" y="619"/>
                  </a:cubicBezTo>
                  <a:cubicBezTo>
                    <a:pt x="163" y="622"/>
                    <a:pt x="166" y="624"/>
                    <a:pt x="168" y="626"/>
                  </a:cubicBezTo>
                  <a:cubicBezTo>
                    <a:pt x="170" y="628"/>
                    <a:pt x="172" y="630"/>
                    <a:pt x="172" y="631"/>
                  </a:cubicBezTo>
                  <a:cubicBezTo>
                    <a:pt x="173" y="632"/>
                    <a:pt x="174" y="634"/>
                    <a:pt x="174" y="635"/>
                  </a:cubicBezTo>
                  <a:cubicBezTo>
                    <a:pt x="175" y="637"/>
                    <a:pt x="175" y="639"/>
                    <a:pt x="175" y="641"/>
                  </a:cubicBezTo>
                  <a:cubicBezTo>
                    <a:pt x="175" y="643"/>
                    <a:pt x="175" y="645"/>
                    <a:pt x="175" y="648"/>
                  </a:cubicBezTo>
                  <a:cubicBezTo>
                    <a:pt x="175" y="655"/>
                    <a:pt x="175" y="659"/>
                    <a:pt x="173" y="662"/>
                  </a:cubicBezTo>
                  <a:cubicBezTo>
                    <a:pt x="172" y="664"/>
                    <a:pt x="170" y="666"/>
                    <a:pt x="168" y="666"/>
                  </a:cubicBezTo>
                  <a:cubicBezTo>
                    <a:pt x="165" y="666"/>
                    <a:pt x="162" y="664"/>
                    <a:pt x="159" y="661"/>
                  </a:cubicBezTo>
                  <a:cubicBezTo>
                    <a:pt x="156" y="659"/>
                    <a:pt x="152" y="656"/>
                    <a:pt x="147" y="652"/>
                  </a:cubicBezTo>
                  <a:cubicBezTo>
                    <a:pt x="142" y="649"/>
                    <a:pt x="136" y="646"/>
                    <a:pt x="129" y="643"/>
                  </a:cubicBezTo>
                  <a:cubicBezTo>
                    <a:pt x="122" y="640"/>
                    <a:pt x="113" y="639"/>
                    <a:pt x="104" y="639"/>
                  </a:cubicBezTo>
                  <a:cubicBezTo>
                    <a:pt x="84" y="639"/>
                    <a:pt x="69" y="647"/>
                    <a:pt x="58" y="662"/>
                  </a:cubicBezTo>
                  <a:cubicBezTo>
                    <a:pt x="48" y="677"/>
                    <a:pt x="43" y="699"/>
                    <a:pt x="43" y="728"/>
                  </a:cubicBezTo>
                  <a:cubicBezTo>
                    <a:pt x="43" y="742"/>
                    <a:pt x="44" y="755"/>
                    <a:pt x="47" y="766"/>
                  </a:cubicBezTo>
                  <a:cubicBezTo>
                    <a:pt x="49" y="777"/>
                    <a:pt x="54" y="786"/>
                    <a:pt x="59" y="793"/>
                  </a:cubicBezTo>
                  <a:cubicBezTo>
                    <a:pt x="64" y="800"/>
                    <a:pt x="71" y="806"/>
                    <a:pt x="78" y="809"/>
                  </a:cubicBezTo>
                  <a:cubicBezTo>
                    <a:pt x="86" y="813"/>
                    <a:pt x="95" y="815"/>
                    <a:pt x="105" y="815"/>
                  </a:cubicBezTo>
                  <a:cubicBezTo>
                    <a:pt x="114" y="815"/>
                    <a:pt x="123" y="813"/>
                    <a:pt x="130" y="810"/>
                  </a:cubicBezTo>
                  <a:cubicBezTo>
                    <a:pt x="137" y="807"/>
                    <a:pt x="143" y="804"/>
                    <a:pt x="148" y="800"/>
                  </a:cubicBezTo>
                  <a:cubicBezTo>
                    <a:pt x="153" y="797"/>
                    <a:pt x="158" y="793"/>
                    <a:pt x="161" y="791"/>
                  </a:cubicBezTo>
                  <a:cubicBezTo>
                    <a:pt x="165" y="788"/>
                    <a:pt x="168" y="786"/>
                    <a:pt x="170" y="786"/>
                  </a:cubicBezTo>
                  <a:cubicBezTo>
                    <a:pt x="171" y="786"/>
                    <a:pt x="172" y="787"/>
                    <a:pt x="173" y="787"/>
                  </a:cubicBezTo>
                  <a:cubicBezTo>
                    <a:pt x="173" y="788"/>
                    <a:pt x="174" y="789"/>
                    <a:pt x="175" y="791"/>
                  </a:cubicBezTo>
                  <a:cubicBezTo>
                    <a:pt x="175" y="792"/>
                    <a:pt x="176" y="794"/>
                    <a:pt x="176" y="797"/>
                  </a:cubicBezTo>
                  <a:cubicBezTo>
                    <a:pt x="176" y="799"/>
                    <a:pt x="176" y="802"/>
                    <a:pt x="176" y="805"/>
                  </a:cubicBezTo>
                  <a:close/>
                  <a:moveTo>
                    <a:pt x="439" y="725"/>
                  </a:moveTo>
                  <a:cubicBezTo>
                    <a:pt x="439" y="743"/>
                    <a:pt x="436" y="760"/>
                    <a:pt x="431" y="775"/>
                  </a:cubicBezTo>
                  <a:cubicBezTo>
                    <a:pt x="427" y="790"/>
                    <a:pt x="419" y="804"/>
                    <a:pt x="410" y="815"/>
                  </a:cubicBezTo>
                  <a:cubicBezTo>
                    <a:pt x="400" y="826"/>
                    <a:pt x="389" y="835"/>
                    <a:pt x="374" y="841"/>
                  </a:cubicBezTo>
                  <a:cubicBezTo>
                    <a:pt x="360" y="847"/>
                    <a:pt x="343" y="850"/>
                    <a:pt x="324" y="850"/>
                  </a:cubicBezTo>
                  <a:cubicBezTo>
                    <a:pt x="306" y="850"/>
                    <a:pt x="290" y="847"/>
                    <a:pt x="276" y="842"/>
                  </a:cubicBezTo>
                  <a:cubicBezTo>
                    <a:pt x="263" y="836"/>
                    <a:pt x="251" y="828"/>
                    <a:pt x="242" y="818"/>
                  </a:cubicBezTo>
                  <a:cubicBezTo>
                    <a:pt x="233" y="808"/>
                    <a:pt x="226" y="795"/>
                    <a:pt x="222" y="780"/>
                  </a:cubicBezTo>
                  <a:cubicBezTo>
                    <a:pt x="217" y="765"/>
                    <a:pt x="215" y="748"/>
                    <a:pt x="215" y="729"/>
                  </a:cubicBezTo>
                  <a:cubicBezTo>
                    <a:pt x="215" y="711"/>
                    <a:pt x="217" y="694"/>
                    <a:pt x="222" y="679"/>
                  </a:cubicBezTo>
                  <a:cubicBezTo>
                    <a:pt x="227" y="664"/>
                    <a:pt x="234" y="650"/>
                    <a:pt x="244" y="639"/>
                  </a:cubicBezTo>
                  <a:cubicBezTo>
                    <a:pt x="253" y="628"/>
                    <a:pt x="265" y="620"/>
                    <a:pt x="279" y="614"/>
                  </a:cubicBezTo>
                  <a:cubicBezTo>
                    <a:pt x="293" y="607"/>
                    <a:pt x="310" y="604"/>
                    <a:pt x="329" y="604"/>
                  </a:cubicBezTo>
                  <a:cubicBezTo>
                    <a:pt x="347" y="604"/>
                    <a:pt x="364" y="607"/>
                    <a:pt x="377" y="613"/>
                  </a:cubicBezTo>
                  <a:cubicBezTo>
                    <a:pt x="391" y="618"/>
                    <a:pt x="402" y="626"/>
                    <a:pt x="411" y="636"/>
                  </a:cubicBezTo>
                  <a:cubicBezTo>
                    <a:pt x="421" y="647"/>
                    <a:pt x="427" y="660"/>
                    <a:pt x="432" y="674"/>
                  </a:cubicBezTo>
                  <a:cubicBezTo>
                    <a:pt x="436" y="689"/>
                    <a:pt x="439" y="706"/>
                    <a:pt x="439" y="725"/>
                  </a:cubicBezTo>
                  <a:close/>
                  <a:moveTo>
                    <a:pt x="395" y="728"/>
                  </a:moveTo>
                  <a:cubicBezTo>
                    <a:pt x="395" y="716"/>
                    <a:pt x="394" y="704"/>
                    <a:pt x="392" y="693"/>
                  </a:cubicBezTo>
                  <a:cubicBezTo>
                    <a:pt x="390" y="683"/>
                    <a:pt x="386" y="673"/>
                    <a:pt x="381" y="665"/>
                  </a:cubicBezTo>
                  <a:cubicBezTo>
                    <a:pt x="376" y="657"/>
                    <a:pt x="369" y="650"/>
                    <a:pt x="360" y="646"/>
                  </a:cubicBezTo>
                  <a:cubicBezTo>
                    <a:pt x="351" y="641"/>
                    <a:pt x="340" y="639"/>
                    <a:pt x="327" y="639"/>
                  </a:cubicBezTo>
                  <a:cubicBezTo>
                    <a:pt x="315" y="639"/>
                    <a:pt x="305" y="641"/>
                    <a:pt x="296" y="645"/>
                  </a:cubicBezTo>
                  <a:cubicBezTo>
                    <a:pt x="288" y="649"/>
                    <a:pt x="280" y="656"/>
                    <a:pt x="275" y="663"/>
                  </a:cubicBezTo>
                  <a:cubicBezTo>
                    <a:pt x="269" y="671"/>
                    <a:pt x="265" y="681"/>
                    <a:pt x="262" y="691"/>
                  </a:cubicBezTo>
                  <a:cubicBezTo>
                    <a:pt x="259" y="702"/>
                    <a:pt x="258" y="714"/>
                    <a:pt x="258" y="727"/>
                  </a:cubicBezTo>
                  <a:cubicBezTo>
                    <a:pt x="258" y="739"/>
                    <a:pt x="259" y="750"/>
                    <a:pt x="261" y="761"/>
                  </a:cubicBezTo>
                  <a:cubicBezTo>
                    <a:pt x="264" y="772"/>
                    <a:pt x="267" y="781"/>
                    <a:pt x="273" y="789"/>
                  </a:cubicBezTo>
                  <a:cubicBezTo>
                    <a:pt x="278" y="797"/>
                    <a:pt x="285" y="804"/>
                    <a:pt x="294" y="808"/>
                  </a:cubicBezTo>
                  <a:cubicBezTo>
                    <a:pt x="302" y="813"/>
                    <a:pt x="313" y="816"/>
                    <a:pt x="326" y="816"/>
                  </a:cubicBezTo>
                  <a:cubicBezTo>
                    <a:pt x="338" y="816"/>
                    <a:pt x="349" y="813"/>
                    <a:pt x="357" y="809"/>
                  </a:cubicBezTo>
                  <a:cubicBezTo>
                    <a:pt x="366" y="805"/>
                    <a:pt x="373" y="799"/>
                    <a:pt x="379" y="791"/>
                  </a:cubicBezTo>
                  <a:cubicBezTo>
                    <a:pt x="385" y="783"/>
                    <a:pt x="389" y="774"/>
                    <a:pt x="391" y="763"/>
                  </a:cubicBezTo>
                  <a:cubicBezTo>
                    <a:pt x="394" y="752"/>
                    <a:pt x="395" y="741"/>
                    <a:pt x="395" y="728"/>
                  </a:cubicBezTo>
                  <a:close/>
                  <a:moveTo>
                    <a:pt x="652" y="628"/>
                  </a:moveTo>
                  <a:cubicBezTo>
                    <a:pt x="652" y="631"/>
                    <a:pt x="652" y="634"/>
                    <a:pt x="651" y="636"/>
                  </a:cubicBezTo>
                  <a:cubicBezTo>
                    <a:pt x="651" y="639"/>
                    <a:pt x="650" y="640"/>
                    <a:pt x="650" y="642"/>
                  </a:cubicBezTo>
                  <a:cubicBezTo>
                    <a:pt x="649" y="643"/>
                    <a:pt x="648" y="644"/>
                    <a:pt x="647" y="645"/>
                  </a:cubicBezTo>
                  <a:cubicBezTo>
                    <a:pt x="646" y="646"/>
                    <a:pt x="645" y="646"/>
                    <a:pt x="643" y="646"/>
                  </a:cubicBezTo>
                  <a:lnTo>
                    <a:pt x="576" y="646"/>
                  </a:lnTo>
                  <a:lnTo>
                    <a:pt x="576" y="839"/>
                  </a:lnTo>
                  <a:cubicBezTo>
                    <a:pt x="576" y="840"/>
                    <a:pt x="576" y="842"/>
                    <a:pt x="575" y="842"/>
                  </a:cubicBezTo>
                  <a:cubicBezTo>
                    <a:pt x="575" y="843"/>
                    <a:pt x="574" y="844"/>
                    <a:pt x="572" y="845"/>
                  </a:cubicBezTo>
                  <a:cubicBezTo>
                    <a:pt x="571" y="846"/>
                    <a:pt x="569" y="846"/>
                    <a:pt x="566" y="846"/>
                  </a:cubicBezTo>
                  <a:cubicBezTo>
                    <a:pt x="563" y="847"/>
                    <a:pt x="560" y="847"/>
                    <a:pt x="556" y="847"/>
                  </a:cubicBezTo>
                  <a:cubicBezTo>
                    <a:pt x="552" y="847"/>
                    <a:pt x="548" y="847"/>
                    <a:pt x="546" y="846"/>
                  </a:cubicBezTo>
                  <a:cubicBezTo>
                    <a:pt x="543" y="846"/>
                    <a:pt x="541" y="846"/>
                    <a:pt x="539" y="845"/>
                  </a:cubicBezTo>
                  <a:cubicBezTo>
                    <a:pt x="538" y="844"/>
                    <a:pt x="537" y="843"/>
                    <a:pt x="536" y="842"/>
                  </a:cubicBezTo>
                  <a:cubicBezTo>
                    <a:pt x="536" y="842"/>
                    <a:pt x="535" y="840"/>
                    <a:pt x="535" y="839"/>
                  </a:cubicBezTo>
                  <a:lnTo>
                    <a:pt x="535" y="646"/>
                  </a:lnTo>
                  <a:lnTo>
                    <a:pt x="468" y="646"/>
                  </a:lnTo>
                  <a:cubicBezTo>
                    <a:pt x="467" y="646"/>
                    <a:pt x="466" y="646"/>
                    <a:pt x="465" y="645"/>
                  </a:cubicBezTo>
                  <a:cubicBezTo>
                    <a:pt x="464" y="644"/>
                    <a:pt x="463" y="643"/>
                    <a:pt x="462" y="642"/>
                  </a:cubicBezTo>
                  <a:cubicBezTo>
                    <a:pt x="461" y="640"/>
                    <a:pt x="461" y="638"/>
                    <a:pt x="460" y="636"/>
                  </a:cubicBezTo>
                  <a:cubicBezTo>
                    <a:pt x="460" y="634"/>
                    <a:pt x="460" y="631"/>
                    <a:pt x="460" y="628"/>
                  </a:cubicBezTo>
                  <a:cubicBezTo>
                    <a:pt x="460" y="624"/>
                    <a:pt x="460" y="622"/>
                    <a:pt x="460" y="620"/>
                  </a:cubicBezTo>
                  <a:cubicBezTo>
                    <a:pt x="461" y="617"/>
                    <a:pt x="461" y="615"/>
                    <a:pt x="462" y="614"/>
                  </a:cubicBezTo>
                  <a:cubicBezTo>
                    <a:pt x="463" y="612"/>
                    <a:pt x="464" y="611"/>
                    <a:pt x="465" y="610"/>
                  </a:cubicBezTo>
                  <a:cubicBezTo>
                    <a:pt x="466" y="609"/>
                    <a:pt x="467" y="609"/>
                    <a:pt x="468" y="609"/>
                  </a:cubicBezTo>
                  <a:lnTo>
                    <a:pt x="643" y="609"/>
                  </a:lnTo>
                  <a:cubicBezTo>
                    <a:pt x="645" y="609"/>
                    <a:pt x="646" y="609"/>
                    <a:pt x="647" y="610"/>
                  </a:cubicBezTo>
                  <a:cubicBezTo>
                    <a:pt x="648" y="611"/>
                    <a:pt x="649" y="612"/>
                    <a:pt x="650" y="614"/>
                  </a:cubicBezTo>
                  <a:cubicBezTo>
                    <a:pt x="650" y="615"/>
                    <a:pt x="651" y="617"/>
                    <a:pt x="651" y="620"/>
                  </a:cubicBezTo>
                  <a:cubicBezTo>
                    <a:pt x="652" y="622"/>
                    <a:pt x="652" y="625"/>
                    <a:pt x="652" y="628"/>
                  </a:cubicBezTo>
                  <a:close/>
                  <a:moveTo>
                    <a:pt x="898" y="724"/>
                  </a:moveTo>
                  <a:cubicBezTo>
                    <a:pt x="898" y="743"/>
                    <a:pt x="896" y="761"/>
                    <a:pt x="892" y="777"/>
                  </a:cubicBezTo>
                  <a:cubicBezTo>
                    <a:pt x="887" y="792"/>
                    <a:pt x="881" y="805"/>
                    <a:pt x="873" y="816"/>
                  </a:cubicBezTo>
                  <a:cubicBezTo>
                    <a:pt x="865" y="827"/>
                    <a:pt x="855" y="835"/>
                    <a:pt x="843" y="841"/>
                  </a:cubicBezTo>
                  <a:cubicBezTo>
                    <a:pt x="831" y="847"/>
                    <a:pt x="817" y="850"/>
                    <a:pt x="801" y="850"/>
                  </a:cubicBezTo>
                  <a:cubicBezTo>
                    <a:pt x="794" y="850"/>
                    <a:pt x="788" y="849"/>
                    <a:pt x="783" y="848"/>
                  </a:cubicBezTo>
                  <a:cubicBezTo>
                    <a:pt x="777" y="847"/>
                    <a:pt x="772" y="845"/>
                    <a:pt x="766" y="842"/>
                  </a:cubicBezTo>
                  <a:cubicBezTo>
                    <a:pt x="761" y="839"/>
                    <a:pt x="755" y="836"/>
                    <a:pt x="750" y="831"/>
                  </a:cubicBezTo>
                  <a:cubicBezTo>
                    <a:pt x="745" y="827"/>
                    <a:pt x="739" y="822"/>
                    <a:pt x="733" y="816"/>
                  </a:cubicBezTo>
                  <a:lnTo>
                    <a:pt x="733" y="928"/>
                  </a:lnTo>
                  <a:cubicBezTo>
                    <a:pt x="733" y="929"/>
                    <a:pt x="733" y="930"/>
                    <a:pt x="732" y="931"/>
                  </a:cubicBezTo>
                  <a:cubicBezTo>
                    <a:pt x="732" y="932"/>
                    <a:pt x="731" y="933"/>
                    <a:pt x="729" y="934"/>
                  </a:cubicBezTo>
                  <a:cubicBezTo>
                    <a:pt x="728" y="934"/>
                    <a:pt x="726" y="935"/>
                    <a:pt x="723" y="935"/>
                  </a:cubicBezTo>
                  <a:cubicBezTo>
                    <a:pt x="720" y="936"/>
                    <a:pt x="717" y="936"/>
                    <a:pt x="713" y="936"/>
                  </a:cubicBezTo>
                  <a:cubicBezTo>
                    <a:pt x="709" y="936"/>
                    <a:pt x="705" y="936"/>
                    <a:pt x="703" y="935"/>
                  </a:cubicBezTo>
                  <a:cubicBezTo>
                    <a:pt x="700" y="935"/>
                    <a:pt x="698" y="934"/>
                    <a:pt x="696" y="934"/>
                  </a:cubicBezTo>
                  <a:cubicBezTo>
                    <a:pt x="695" y="933"/>
                    <a:pt x="694" y="932"/>
                    <a:pt x="693" y="931"/>
                  </a:cubicBezTo>
                  <a:cubicBezTo>
                    <a:pt x="693" y="930"/>
                    <a:pt x="692" y="929"/>
                    <a:pt x="692" y="928"/>
                  </a:cubicBezTo>
                  <a:lnTo>
                    <a:pt x="692" y="616"/>
                  </a:lnTo>
                  <a:cubicBezTo>
                    <a:pt x="692" y="614"/>
                    <a:pt x="693" y="613"/>
                    <a:pt x="693" y="612"/>
                  </a:cubicBezTo>
                  <a:cubicBezTo>
                    <a:pt x="694" y="611"/>
                    <a:pt x="695" y="610"/>
                    <a:pt x="696" y="610"/>
                  </a:cubicBezTo>
                  <a:cubicBezTo>
                    <a:pt x="698" y="609"/>
                    <a:pt x="699" y="609"/>
                    <a:pt x="702" y="608"/>
                  </a:cubicBezTo>
                  <a:cubicBezTo>
                    <a:pt x="704" y="608"/>
                    <a:pt x="707" y="608"/>
                    <a:pt x="710" y="608"/>
                  </a:cubicBezTo>
                  <a:cubicBezTo>
                    <a:pt x="714" y="608"/>
                    <a:pt x="717" y="608"/>
                    <a:pt x="719" y="608"/>
                  </a:cubicBezTo>
                  <a:cubicBezTo>
                    <a:pt x="721" y="609"/>
                    <a:pt x="723" y="609"/>
                    <a:pt x="724" y="610"/>
                  </a:cubicBezTo>
                  <a:cubicBezTo>
                    <a:pt x="726" y="610"/>
                    <a:pt x="727" y="611"/>
                    <a:pt x="727" y="612"/>
                  </a:cubicBezTo>
                  <a:cubicBezTo>
                    <a:pt x="728" y="613"/>
                    <a:pt x="728" y="614"/>
                    <a:pt x="728" y="616"/>
                  </a:cubicBezTo>
                  <a:lnTo>
                    <a:pt x="728" y="646"/>
                  </a:lnTo>
                  <a:cubicBezTo>
                    <a:pt x="735" y="639"/>
                    <a:pt x="742" y="633"/>
                    <a:pt x="748" y="628"/>
                  </a:cubicBezTo>
                  <a:cubicBezTo>
                    <a:pt x="754" y="622"/>
                    <a:pt x="761" y="618"/>
                    <a:pt x="767" y="615"/>
                  </a:cubicBezTo>
                  <a:cubicBezTo>
                    <a:pt x="773" y="611"/>
                    <a:pt x="780" y="609"/>
                    <a:pt x="787" y="607"/>
                  </a:cubicBezTo>
                  <a:cubicBezTo>
                    <a:pt x="793" y="605"/>
                    <a:pt x="800" y="604"/>
                    <a:pt x="808" y="604"/>
                  </a:cubicBezTo>
                  <a:cubicBezTo>
                    <a:pt x="824" y="604"/>
                    <a:pt x="838" y="608"/>
                    <a:pt x="849" y="614"/>
                  </a:cubicBezTo>
                  <a:cubicBezTo>
                    <a:pt x="861" y="620"/>
                    <a:pt x="870" y="629"/>
                    <a:pt x="877" y="640"/>
                  </a:cubicBezTo>
                  <a:cubicBezTo>
                    <a:pt x="884" y="651"/>
                    <a:pt x="890" y="663"/>
                    <a:pt x="893" y="678"/>
                  </a:cubicBezTo>
                  <a:cubicBezTo>
                    <a:pt x="896" y="692"/>
                    <a:pt x="898" y="708"/>
                    <a:pt x="898" y="724"/>
                  </a:cubicBezTo>
                  <a:close/>
                  <a:moveTo>
                    <a:pt x="855" y="729"/>
                  </a:moveTo>
                  <a:cubicBezTo>
                    <a:pt x="855" y="717"/>
                    <a:pt x="854" y="706"/>
                    <a:pt x="852" y="695"/>
                  </a:cubicBezTo>
                  <a:cubicBezTo>
                    <a:pt x="850" y="685"/>
                    <a:pt x="847" y="675"/>
                    <a:pt x="843" y="667"/>
                  </a:cubicBezTo>
                  <a:cubicBezTo>
                    <a:pt x="839" y="659"/>
                    <a:pt x="833" y="652"/>
                    <a:pt x="826" y="647"/>
                  </a:cubicBezTo>
                  <a:cubicBezTo>
                    <a:pt x="819" y="642"/>
                    <a:pt x="810" y="640"/>
                    <a:pt x="800" y="640"/>
                  </a:cubicBezTo>
                  <a:cubicBezTo>
                    <a:pt x="794" y="640"/>
                    <a:pt x="789" y="640"/>
                    <a:pt x="784" y="642"/>
                  </a:cubicBezTo>
                  <a:cubicBezTo>
                    <a:pt x="779" y="644"/>
                    <a:pt x="774" y="646"/>
                    <a:pt x="768" y="649"/>
                  </a:cubicBezTo>
                  <a:cubicBezTo>
                    <a:pt x="763" y="653"/>
                    <a:pt x="757" y="657"/>
                    <a:pt x="752" y="663"/>
                  </a:cubicBezTo>
                  <a:cubicBezTo>
                    <a:pt x="746" y="668"/>
                    <a:pt x="740" y="675"/>
                    <a:pt x="733" y="683"/>
                  </a:cubicBezTo>
                  <a:lnTo>
                    <a:pt x="733" y="772"/>
                  </a:lnTo>
                  <a:cubicBezTo>
                    <a:pt x="745" y="786"/>
                    <a:pt x="755" y="797"/>
                    <a:pt x="765" y="804"/>
                  </a:cubicBezTo>
                  <a:cubicBezTo>
                    <a:pt x="775" y="811"/>
                    <a:pt x="786" y="815"/>
                    <a:pt x="797" y="815"/>
                  </a:cubicBezTo>
                  <a:cubicBezTo>
                    <a:pt x="807" y="815"/>
                    <a:pt x="816" y="812"/>
                    <a:pt x="824" y="807"/>
                  </a:cubicBezTo>
                  <a:cubicBezTo>
                    <a:pt x="831" y="802"/>
                    <a:pt x="837" y="796"/>
                    <a:pt x="842" y="787"/>
                  </a:cubicBezTo>
                  <a:cubicBezTo>
                    <a:pt x="846" y="779"/>
                    <a:pt x="849" y="770"/>
                    <a:pt x="852" y="760"/>
                  </a:cubicBezTo>
                  <a:cubicBezTo>
                    <a:pt x="854" y="749"/>
                    <a:pt x="855" y="739"/>
                    <a:pt x="855" y="729"/>
                  </a:cubicBezTo>
                  <a:close/>
                  <a:moveTo>
                    <a:pt x="1058" y="845"/>
                  </a:moveTo>
                  <a:lnTo>
                    <a:pt x="1028" y="928"/>
                  </a:lnTo>
                  <a:cubicBezTo>
                    <a:pt x="1027" y="930"/>
                    <a:pt x="1024" y="932"/>
                    <a:pt x="1020" y="934"/>
                  </a:cubicBezTo>
                  <a:cubicBezTo>
                    <a:pt x="1016" y="935"/>
                    <a:pt x="1010" y="936"/>
                    <a:pt x="1002" y="936"/>
                  </a:cubicBezTo>
                  <a:cubicBezTo>
                    <a:pt x="997" y="936"/>
                    <a:pt x="994" y="936"/>
                    <a:pt x="991" y="935"/>
                  </a:cubicBezTo>
                  <a:cubicBezTo>
                    <a:pt x="989" y="935"/>
                    <a:pt x="987" y="934"/>
                    <a:pt x="985" y="933"/>
                  </a:cubicBezTo>
                  <a:cubicBezTo>
                    <a:pt x="984" y="932"/>
                    <a:pt x="983" y="931"/>
                    <a:pt x="983" y="929"/>
                  </a:cubicBezTo>
                  <a:cubicBezTo>
                    <a:pt x="983" y="927"/>
                    <a:pt x="983" y="925"/>
                    <a:pt x="984" y="923"/>
                  </a:cubicBezTo>
                  <a:lnTo>
                    <a:pt x="1015" y="845"/>
                  </a:lnTo>
                  <a:cubicBezTo>
                    <a:pt x="1014" y="845"/>
                    <a:pt x="1012" y="844"/>
                    <a:pt x="1011" y="842"/>
                  </a:cubicBezTo>
                  <a:cubicBezTo>
                    <a:pt x="1009" y="841"/>
                    <a:pt x="1009" y="839"/>
                    <a:pt x="1008" y="837"/>
                  </a:cubicBezTo>
                  <a:lnTo>
                    <a:pt x="928" y="624"/>
                  </a:lnTo>
                  <a:cubicBezTo>
                    <a:pt x="927" y="620"/>
                    <a:pt x="926" y="618"/>
                    <a:pt x="926" y="616"/>
                  </a:cubicBezTo>
                  <a:cubicBezTo>
                    <a:pt x="926" y="614"/>
                    <a:pt x="927" y="612"/>
                    <a:pt x="928" y="611"/>
                  </a:cubicBezTo>
                  <a:cubicBezTo>
                    <a:pt x="930" y="610"/>
                    <a:pt x="932" y="609"/>
                    <a:pt x="935" y="609"/>
                  </a:cubicBezTo>
                  <a:cubicBezTo>
                    <a:pt x="938" y="608"/>
                    <a:pt x="942" y="608"/>
                    <a:pt x="947" y="608"/>
                  </a:cubicBezTo>
                  <a:cubicBezTo>
                    <a:pt x="952" y="608"/>
                    <a:pt x="956" y="608"/>
                    <a:pt x="958" y="608"/>
                  </a:cubicBezTo>
                  <a:cubicBezTo>
                    <a:pt x="961" y="609"/>
                    <a:pt x="963" y="609"/>
                    <a:pt x="965" y="610"/>
                  </a:cubicBezTo>
                  <a:cubicBezTo>
                    <a:pt x="967" y="610"/>
                    <a:pt x="968" y="611"/>
                    <a:pt x="969" y="612"/>
                  </a:cubicBezTo>
                  <a:cubicBezTo>
                    <a:pt x="969" y="614"/>
                    <a:pt x="970" y="615"/>
                    <a:pt x="971" y="618"/>
                  </a:cubicBezTo>
                  <a:lnTo>
                    <a:pt x="1035" y="797"/>
                  </a:lnTo>
                  <a:lnTo>
                    <a:pt x="1036" y="797"/>
                  </a:lnTo>
                  <a:lnTo>
                    <a:pt x="1097" y="617"/>
                  </a:lnTo>
                  <a:cubicBezTo>
                    <a:pt x="1098" y="613"/>
                    <a:pt x="1099" y="611"/>
                    <a:pt x="1101" y="610"/>
                  </a:cubicBezTo>
                  <a:cubicBezTo>
                    <a:pt x="1102" y="610"/>
                    <a:pt x="1104" y="609"/>
                    <a:pt x="1107" y="609"/>
                  </a:cubicBezTo>
                  <a:cubicBezTo>
                    <a:pt x="1110" y="608"/>
                    <a:pt x="1114" y="608"/>
                    <a:pt x="1119" y="608"/>
                  </a:cubicBezTo>
                  <a:cubicBezTo>
                    <a:pt x="1124" y="608"/>
                    <a:pt x="1128" y="608"/>
                    <a:pt x="1131" y="609"/>
                  </a:cubicBezTo>
                  <a:cubicBezTo>
                    <a:pt x="1134" y="609"/>
                    <a:pt x="1136" y="610"/>
                    <a:pt x="1137" y="611"/>
                  </a:cubicBezTo>
                  <a:cubicBezTo>
                    <a:pt x="1139" y="612"/>
                    <a:pt x="1139" y="614"/>
                    <a:pt x="1139" y="616"/>
                  </a:cubicBezTo>
                  <a:cubicBezTo>
                    <a:pt x="1139" y="618"/>
                    <a:pt x="1139" y="620"/>
                    <a:pt x="1138" y="623"/>
                  </a:cubicBezTo>
                  <a:lnTo>
                    <a:pt x="1058" y="845"/>
                  </a:lnTo>
                  <a:close/>
                  <a:moveTo>
                    <a:pt x="1169" y="920"/>
                  </a:moveTo>
                  <a:cubicBezTo>
                    <a:pt x="1169" y="922"/>
                    <a:pt x="1169" y="923"/>
                    <a:pt x="1168" y="923"/>
                  </a:cubicBezTo>
                  <a:cubicBezTo>
                    <a:pt x="1168" y="924"/>
                    <a:pt x="1167" y="925"/>
                    <a:pt x="1165" y="925"/>
                  </a:cubicBezTo>
                  <a:cubicBezTo>
                    <a:pt x="1164" y="926"/>
                    <a:pt x="1162" y="926"/>
                    <a:pt x="1160" y="926"/>
                  </a:cubicBezTo>
                  <a:cubicBezTo>
                    <a:pt x="1158" y="927"/>
                    <a:pt x="1155" y="927"/>
                    <a:pt x="1152" y="927"/>
                  </a:cubicBezTo>
                  <a:cubicBezTo>
                    <a:pt x="1149" y="927"/>
                    <a:pt x="1146" y="927"/>
                    <a:pt x="1144" y="926"/>
                  </a:cubicBezTo>
                  <a:cubicBezTo>
                    <a:pt x="1141" y="926"/>
                    <a:pt x="1140" y="926"/>
                    <a:pt x="1138" y="925"/>
                  </a:cubicBezTo>
                  <a:cubicBezTo>
                    <a:pt x="1137" y="925"/>
                    <a:pt x="1136" y="924"/>
                    <a:pt x="1135" y="923"/>
                  </a:cubicBezTo>
                  <a:cubicBezTo>
                    <a:pt x="1135" y="923"/>
                    <a:pt x="1134" y="922"/>
                    <a:pt x="1134" y="920"/>
                  </a:cubicBezTo>
                  <a:lnTo>
                    <a:pt x="1134" y="821"/>
                  </a:lnTo>
                  <a:cubicBezTo>
                    <a:pt x="1134" y="817"/>
                    <a:pt x="1135" y="814"/>
                    <a:pt x="1136" y="813"/>
                  </a:cubicBezTo>
                  <a:cubicBezTo>
                    <a:pt x="1138" y="811"/>
                    <a:pt x="1140" y="811"/>
                    <a:pt x="1144" y="811"/>
                  </a:cubicBezTo>
                  <a:lnTo>
                    <a:pt x="1160" y="811"/>
                  </a:lnTo>
                  <a:cubicBezTo>
                    <a:pt x="1166" y="803"/>
                    <a:pt x="1172" y="795"/>
                    <a:pt x="1177" y="785"/>
                  </a:cubicBezTo>
                  <a:cubicBezTo>
                    <a:pt x="1182" y="775"/>
                    <a:pt x="1187" y="763"/>
                    <a:pt x="1192" y="749"/>
                  </a:cubicBezTo>
                  <a:cubicBezTo>
                    <a:pt x="1196" y="734"/>
                    <a:pt x="1201" y="717"/>
                    <a:pt x="1204" y="697"/>
                  </a:cubicBezTo>
                  <a:cubicBezTo>
                    <a:pt x="1208" y="676"/>
                    <a:pt x="1212" y="652"/>
                    <a:pt x="1215" y="624"/>
                  </a:cubicBezTo>
                  <a:cubicBezTo>
                    <a:pt x="1215" y="621"/>
                    <a:pt x="1216" y="619"/>
                    <a:pt x="1216" y="617"/>
                  </a:cubicBezTo>
                  <a:cubicBezTo>
                    <a:pt x="1217" y="615"/>
                    <a:pt x="1218" y="614"/>
                    <a:pt x="1219" y="613"/>
                  </a:cubicBezTo>
                  <a:cubicBezTo>
                    <a:pt x="1220" y="612"/>
                    <a:pt x="1221" y="611"/>
                    <a:pt x="1222" y="610"/>
                  </a:cubicBezTo>
                  <a:cubicBezTo>
                    <a:pt x="1224" y="609"/>
                    <a:pt x="1226" y="609"/>
                    <a:pt x="1228" y="609"/>
                  </a:cubicBezTo>
                  <a:lnTo>
                    <a:pt x="1352" y="609"/>
                  </a:lnTo>
                  <a:cubicBezTo>
                    <a:pt x="1356" y="609"/>
                    <a:pt x="1359" y="610"/>
                    <a:pt x="1361" y="613"/>
                  </a:cubicBezTo>
                  <a:cubicBezTo>
                    <a:pt x="1363" y="615"/>
                    <a:pt x="1365" y="619"/>
                    <a:pt x="1365" y="624"/>
                  </a:cubicBezTo>
                  <a:lnTo>
                    <a:pt x="1365" y="811"/>
                  </a:lnTo>
                  <a:lnTo>
                    <a:pt x="1396" y="811"/>
                  </a:lnTo>
                  <a:cubicBezTo>
                    <a:pt x="1399" y="811"/>
                    <a:pt x="1402" y="811"/>
                    <a:pt x="1403" y="813"/>
                  </a:cubicBezTo>
                  <a:cubicBezTo>
                    <a:pt x="1405" y="814"/>
                    <a:pt x="1405" y="817"/>
                    <a:pt x="1405" y="821"/>
                  </a:cubicBezTo>
                  <a:lnTo>
                    <a:pt x="1405" y="920"/>
                  </a:lnTo>
                  <a:cubicBezTo>
                    <a:pt x="1405" y="922"/>
                    <a:pt x="1405" y="923"/>
                    <a:pt x="1405" y="923"/>
                  </a:cubicBezTo>
                  <a:cubicBezTo>
                    <a:pt x="1404" y="924"/>
                    <a:pt x="1403" y="925"/>
                    <a:pt x="1402" y="925"/>
                  </a:cubicBezTo>
                  <a:cubicBezTo>
                    <a:pt x="1400" y="926"/>
                    <a:pt x="1399" y="926"/>
                    <a:pt x="1396" y="926"/>
                  </a:cubicBezTo>
                  <a:cubicBezTo>
                    <a:pt x="1394" y="927"/>
                    <a:pt x="1391" y="927"/>
                    <a:pt x="1388" y="927"/>
                  </a:cubicBezTo>
                  <a:cubicBezTo>
                    <a:pt x="1385" y="927"/>
                    <a:pt x="1382" y="927"/>
                    <a:pt x="1380" y="926"/>
                  </a:cubicBezTo>
                  <a:cubicBezTo>
                    <a:pt x="1378" y="926"/>
                    <a:pt x="1376" y="926"/>
                    <a:pt x="1374" y="925"/>
                  </a:cubicBezTo>
                  <a:cubicBezTo>
                    <a:pt x="1373" y="925"/>
                    <a:pt x="1372" y="924"/>
                    <a:pt x="1371" y="923"/>
                  </a:cubicBezTo>
                  <a:cubicBezTo>
                    <a:pt x="1371" y="923"/>
                    <a:pt x="1371" y="922"/>
                    <a:pt x="1371" y="920"/>
                  </a:cubicBezTo>
                  <a:lnTo>
                    <a:pt x="1371" y="845"/>
                  </a:lnTo>
                  <a:lnTo>
                    <a:pt x="1169" y="845"/>
                  </a:lnTo>
                  <a:lnTo>
                    <a:pt x="1169" y="920"/>
                  </a:lnTo>
                  <a:close/>
                  <a:moveTo>
                    <a:pt x="1323" y="643"/>
                  </a:moveTo>
                  <a:lnTo>
                    <a:pt x="1253" y="643"/>
                  </a:lnTo>
                  <a:cubicBezTo>
                    <a:pt x="1249" y="670"/>
                    <a:pt x="1245" y="693"/>
                    <a:pt x="1242" y="711"/>
                  </a:cubicBezTo>
                  <a:cubicBezTo>
                    <a:pt x="1238" y="730"/>
                    <a:pt x="1234" y="745"/>
                    <a:pt x="1230" y="758"/>
                  </a:cubicBezTo>
                  <a:cubicBezTo>
                    <a:pt x="1226" y="771"/>
                    <a:pt x="1221" y="781"/>
                    <a:pt x="1217" y="789"/>
                  </a:cubicBezTo>
                  <a:cubicBezTo>
                    <a:pt x="1212" y="797"/>
                    <a:pt x="1207" y="804"/>
                    <a:pt x="1202" y="811"/>
                  </a:cubicBezTo>
                  <a:lnTo>
                    <a:pt x="1323" y="811"/>
                  </a:lnTo>
                  <a:lnTo>
                    <a:pt x="1323" y="64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0" name="Freeform 1772"/>
            <p:cNvSpPr>
              <a:spLocks noEditPoints="1"/>
            </p:cNvSpPr>
            <p:nvPr/>
          </p:nvSpPr>
          <p:spPr bwMode="auto">
            <a:xfrm>
              <a:off x="10502877" y="4071441"/>
              <a:ext cx="858699" cy="111571"/>
            </a:xfrm>
            <a:custGeom>
              <a:avLst/>
              <a:gdLst/>
              <a:ahLst/>
              <a:cxnLst>
                <a:cxn ang="0">
                  <a:pos x="165" y="242"/>
                </a:cxn>
                <a:cxn ang="0">
                  <a:pos x="41" y="235"/>
                </a:cxn>
                <a:cxn ang="0">
                  <a:pos x="4" y="241"/>
                </a:cxn>
                <a:cxn ang="0">
                  <a:pos x="10" y="4"/>
                </a:cxn>
                <a:cxn ang="0">
                  <a:pos x="41" y="102"/>
                </a:cxn>
                <a:cxn ang="0">
                  <a:pos x="175" y="4"/>
                </a:cxn>
                <a:cxn ang="0">
                  <a:pos x="471" y="235"/>
                </a:cxn>
                <a:cxn ang="0">
                  <a:pos x="434" y="241"/>
                </a:cxn>
                <a:cxn ang="0">
                  <a:pos x="419" y="87"/>
                </a:cxn>
                <a:cxn ang="0">
                  <a:pos x="290" y="243"/>
                </a:cxn>
                <a:cxn ang="0">
                  <a:pos x="273" y="8"/>
                </a:cxn>
                <a:cxn ang="0">
                  <a:pos x="313" y="141"/>
                </a:cxn>
                <a:cxn ang="0">
                  <a:pos x="434" y="8"/>
                </a:cxn>
                <a:cxn ang="0">
                  <a:pos x="470" y="8"/>
                </a:cxn>
                <a:cxn ang="0">
                  <a:pos x="699" y="242"/>
                </a:cxn>
                <a:cxn ang="0">
                  <a:pos x="668" y="145"/>
                </a:cxn>
                <a:cxn ang="0">
                  <a:pos x="525" y="75"/>
                </a:cxn>
                <a:cxn ang="0">
                  <a:pos x="556" y="4"/>
                </a:cxn>
                <a:cxn ang="0">
                  <a:pos x="578" y="115"/>
                </a:cxn>
                <a:cxn ang="0">
                  <a:pos x="669" y="8"/>
                </a:cxn>
                <a:cxn ang="0">
                  <a:pos x="708" y="8"/>
                </a:cxn>
                <a:cxn ang="0">
                  <a:pos x="813" y="132"/>
                </a:cxn>
                <a:cxn ang="0">
                  <a:pos x="936" y="204"/>
                </a:cxn>
                <a:cxn ang="0">
                  <a:pos x="967" y="212"/>
                </a:cxn>
                <a:cxn ang="0">
                  <a:pos x="937" y="238"/>
                </a:cxn>
                <a:cxn ang="0">
                  <a:pos x="770" y="124"/>
                </a:cxn>
                <a:cxn ang="0">
                  <a:pos x="953" y="32"/>
                </a:cxn>
                <a:cxn ang="0">
                  <a:pos x="876" y="32"/>
                </a:cxn>
                <a:cxn ang="0">
                  <a:pos x="1199" y="201"/>
                </a:cxn>
                <a:cxn ang="0">
                  <a:pos x="1165" y="238"/>
                </a:cxn>
                <a:cxn ang="0">
                  <a:pos x="1023" y="126"/>
                </a:cxn>
                <a:cxn ang="0">
                  <a:pos x="1166" y="8"/>
                </a:cxn>
                <a:cxn ang="0">
                  <a:pos x="1198" y="44"/>
                </a:cxn>
                <a:cxn ang="0">
                  <a:pos x="1126" y="35"/>
                </a:cxn>
                <a:cxn ang="0">
                  <a:pos x="1128" y="211"/>
                </a:cxn>
                <a:cxn ang="0">
                  <a:pos x="1197" y="187"/>
                </a:cxn>
                <a:cxn ang="0">
                  <a:pos x="1405" y="41"/>
                </a:cxn>
                <a:cxn ang="0">
                  <a:pos x="1324" y="242"/>
                </a:cxn>
                <a:cxn ang="0">
                  <a:pos x="1293" y="42"/>
                </a:cxn>
                <a:cxn ang="0">
                  <a:pos x="1219" y="16"/>
                </a:cxn>
                <a:cxn ang="0">
                  <a:pos x="1408" y="10"/>
                </a:cxn>
                <a:cxn ang="0">
                  <a:pos x="1575" y="240"/>
                </a:cxn>
                <a:cxn ang="0">
                  <a:pos x="1455" y="235"/>
                </a:cxn>
                <a:cxn ang="0">
                  <a:pos x="1498" y="2"/>
                </a:cxn>
                <a:cxn ang="0">
                  <a:pos x="1624" y="62"/>
                </a:cxn>
                <a:cxn ang="0">
                  <a:pos x="1582" y="52"/>
                </a:cxn>
                <a:cxn ang="0">
                  <a:pos x="1490" y="104"/>
                </a:cxn>
                <a:cxn ang="0">
                  <a:pos x="1578" y="141"/>
                </a:cxn>
                <a:cxn ang="0">
                  <a:pos x="1510" y="213"/>
                </a:cxn>
                <a:cxn ang="0">
                  <a:pos x="1592" y="172"/>
                </a:cxn>
                <a:cxn ang="0">
                  <a:pos x="1739" y="191"/>
                </a:cxn>
                <a:cxn ang="0">
                  <a:pos x="1869" y="196"/>
                </a:cxn>
                <a:cxn ang="0">
                  <a:pos x="1875" y="222"/>
                </a:cxn>
                <a:cxn ang="0">
                  <a:pos x="1791" y="246"/>
                </a:cxn>
                <a:cxn ang="0">
                  <a:pos x="1708" y="34"/>
                </a:cxn>
                <a:cxn ang="0">
                  <a:pos x="1885" y="106"/>
                </a:cxn>
                <a:cxn ang="0">
                  <a:pos x="1739" y="53"/>
                </a:cxn>
              </a:cxnLst>
              <a:rect l="0" t="0" r="r" b="b"/>
              <a:pathLst>
                <a:path w="1885" h="246">
                  <a:moveTo>
                    <a:pt x="196" y="235"/>
                  </a:moveTo>
                  <a:cubicBezTo>
                    <a:pt x="196" y="236"/>
                    <a:pt x="195" y="238"/>
                    <a:pt x="195" y="238"/>
                  </a:cubicBezTo>
                  <a:cubicBezTo>
                    <a:pt x="194" y="239"/>
                    <a:pt x="193" y="240"/>
                    <a:pt x="191" y="241"/>
                  </a:cubicBezTo>
                  <a:cubicBezTo>
                    <a:pt x="190" y="242"/>
                    <a:pt x="188" y="242"/>
                    <a:pt x="185" y="242"/>
                  </a:cubicBezTo>
                  <a:cubicBezTo>
                    <a:pt x="182" y="243"/>
                    <a:pt x="179" y="243"/>
                    <a:pt x="175" y="243"/>
                  </a:cubicBezTo>
                  <a:cubicBezTo>
                    <a:pt x="171" y="243"/>
                    <a:pt x="168" y="243"/>
                    <a:pt x="165" y="242"/>
                  </a:cubicBezTo>
                  <a:cubicBezTo>
                    <a:pt x="162" y="242"/>
                    <a:pt x="160" y="242"/>
                    <a:pt x="159" y="241"/>
                  </a:cubicBezTo>
                  <a:cubicBezTo>
                    <a:pt x="157" y="240"/>
                    <a:pt x="156" y="239"/>
                    <a:pt x="156" y="238"/>
                  </a:cubicBezTo>
                  <a:cubicBezTo>
                    <a:pt x="155" y="238"/>
                    <a:pt x="155" y="236"/>
                    <a:pt x="155" y="235"/>
                  </a:cubicBezTo>
                  <a:lnTo>
                    <a:pt x="155" y="137"/>
                  </a:lnTo>
                  <a:lnTo>
                    <a:pt x="41" y="137"/>
                  </a:lnTo>
                  <a:lnTo>
                    <a:pt x="41" y="235"/>
                  </a:lnTo>
                  <a:cubicBezTo>
                    <a:pt x="41" y="236"/>
                    <a:pt x="40" y="238"/>
                    <a:pt x="40" y="238"/>
                  </a:cubicBezTo>
                  <a:cubicBezTo>
                    <a:pt x="39" y="239"/>
                    <a:pt x="38" y="240"/>
                    <a:pt x="36" y="241"/>
                  </a:cubicBezTo>
                  <a:cubicBezTo>
                    <a:pt x="35" y="242"/>
                    <a:pt x="33" y="242"/>
                    <a:pt x="30" y="242"/>
                  </a:cubicBezTo>
                  <a:cubicBezTo>
                    <a:pt x="27" y="243"/>
                    <a:pt x="24" y="243"/>
                    <a:pt x="20" y="243"/>
                  </a:cubicBezTo>
                  <a:cubicBezTo>
                    <a:pt x="16" y="243"/>
                    <a:pt x="13" y="243"/>
                    <a:pt x="10" y="242"/>
                  </a:cubicBezTo>
                  <a:cubicBezTo>
                    <a:pt x="7" y="242"/>
                    <a:pt x="5" y="242"/>
                    <a:pt x="4" y="241"/>
                  </a:cubicBezTo>
                  <a:cubicBezTo>
                    <a:pt x="2" y="240"/>
                    <a:pt x="1" y="239"/>
                    <a:pt x="1" y="238"/>
                  </a:cubicBezTo>
                  <a:cubicBezTo>
                    <a:pt x="0" y="238"/>
                    <a:pt x="0" y="236"/>
                    <a:pt x="0" y="235"/>
                  </a:cubicBezTo>
                  <a:lnTo>
                    <a:pt x="0" y="12"/>
                  </a:lnTo>
                  <a:cubicBezTo>
                    <a:pt x="0" y="10"/>
                    <a:pt x="0" y="9"/>
                    <a:pt x="1" y="8"/>
                  </a:cubicBezTo>
                  <a:cubicBezTo>
                    <a:pt x="1" y="7"/>
                    <a:pt x="2" y="6"/>
                    <a:pt x="4" y="6"/>
                  </a:cubicBezTo>
                  <a:cubicBezTo>
                    <a:pt x="5" y="5"/>
                    <a:pt x="7" y="5"/>
                    <a:pt x="10" y="4"/>
                  </a:cubicBezTo>
                  <a:cubicBezTo>
                    <a:pt x="13" y="4"/>
                    <a:pt x="16" y="4"/>
                    <a:pt x="20" y="4"/>
                  </a:cubicBezTo>
                  <a:cubicBezTo>
                    <a:pt x="24" y="4"/>
                    <a:pt x="27" y="4"/>
                    <a:pt x="30" y="4"/>
                  </a:cubicBezTo>
                  <a:cubicBezTo>
                    <a:pt x="33" y="5"/>
                    <a:pt x="35" y="5"/>
                    <a:pt x="36" y="6"/>
                  </a:cubicBezTo>
                  <a:cubicBezTo>
                    <a:pt x="38" y="6"/>
                    <a:pt x="39" y="7"/>
                    <a:pt x="40" y="8"/>
                  </a:cubicBezTo>
                  <a:cubicBezTo>
                    <a:pt x="40" y="9"/>
                    <a:pt x="41" y="10"/>
                    <a:pt x="41" y="12"/>
                  </a:cubicBezTo>
                  <a:lnTo>
                    <a:pt x="41" y="102"/>
                  </a:lnTo>
                  <a:lnTo>
                    <a:pt x="155" y="102"/>
                  </a:lnTo>
                  <a:lnTo>
                    <a:pt x="155" y="12"/>
                  </a:lnTo>
                  <a:cubicBezTo>
                    <a:pt x="155" y="10"/>
                    <a:pt x="155" y="9"/>
                    <a:pt x="156" y="8"/>
                  </a:cubicBezTo>
                  <a:cubicBezTo>
                    <a:pt x="156" y="7"/>
                    <a:pt x="157" y="6"/>
                    <a:pt x="159" y="6"/>
                  </a:cubicBezTo>
                  <a:cubicBezTo>
                    <a:pt x="160" y="5"/>
                    <a:pt x="162" y="5"/>
                    <a:pt x="165" y="4"/>
                  </a:cubicBezTo>
                  <a:cubicBezTo>
                    <a:pt x="168" y="4"/>
                    <a:pt x="171" y="4"/>
                    <a:pt x="175" y="4"/>
                  </a:cubicBezTo>
                  <a:cubicBezTo>
                    <a:pt x="179" y="4"/>
                    <a:pt x="182" y="4"/>
                    <a:pt x="185" y="4"/>
                  </a:cubicBezTo>
                  <a:cubicBezTo>
                    <a:pt x="188" y="5"/>
                    <a:pt x="190" y="5"/>
                    <a:pt x="191" y="6"/>
                  </a:cubicBezTo>
                  <a:cubicBezTo>
                    <a:pt x="193" y="6"/>
                    <a:pt x="194" y="7"/>
                    <a:pt x="195" y="8"/>
                  </a:cubicBezTo>
                  <a:cubicBezTo>
                    <a:pt x="195" y="9"/>
                    <a:pt x="196" y="10"/>
                    <a:pt x="196" y="12"/>
                  </a:cubicBezTo>
                  <a:lnTo>
                    <a:pt x="196" y="235"/>
                  </a:lnTo>
                  <a:close/>
                  <a:moveTo>
                    <a:pt x="471" y="235"/>
                  </a:moveTo>
                  <a:cubicBezTo>
                    <a:pt x="471" y="237"/>
                    <a:pt x="470" y="238"/>
                    <a:pt x="470" y="239"/>
                  </a:cubicBezTo>
                  <a:cubicBezTo>
                    <a:pt x="469" y="240"/>
                    <a:pt x="468" y="240"/>
                    <a:pt x="466" y="241"/>
                  </a:cubicBezTo>
                  <a:cubicBezTo>
                    <a:pt x="465" y="242"/>
                    <a:pt x="463" y="242"/>
                    <a:pt x="460" y="242"/>
                  </a:cubicBezTo>
                  <a:cubicBezTo>
                    <a:pt x="458" y="243"/>
                    <a:pt x="454" y="243"/>
                    <a:pt x="450" y="243"/>
                  </a:cubicBezTo>
                  <a:cubicBezTo>
                    <a:pt x="446" y="243"/>
                    <a:pt x="443" y="243"/>
                    <a:pt x="440" y="242"/>
                  </a:cubicBezTo>
                  <a:cubicBezTo>
                    <a:pt x="438" y="242"/>
                    <a:pt x="436" y="242"/>
                    <a:pt x="434" y="241"/>
                  </a:cubicBezTo>
                  <a:cubicBezTo>
                    <a:pt x="432" y="240"/>
                    <a:pt x="431" y="240"/>
                    <a:pt x="430" y="239"/>
                  </a:cubicBezTo>
                  <a:cubicBezTo>
                    <a:pt x="430" y="238"/>
                    <a:pt x="429" y="237"/>
                    <a:pt x="429" y="235"/>
                  </a:cubicBezTo>
                  <a:lnTo>
                    <a:pt x="429" y="107"/>
                  </a:lnTo>
                  <a:cubicBezTo>
                    <a:pt x="429" y="100"/>
                    <a:pt x="430" y="94"/>
                    <a:pt x="430" y="87"/>
                  </a:cubicBezTo>
                  <a:cubicBezTo>
                    <a:pt x="430" y="80"/>
                    <a:pt x="431" y="74"/>
                    <a:pt x="431" y="67"/>
                  </a:cubicBezTo>
                  <a:cubicBezTo>
                    <a:pt x="427" y="74"/>
                    <a:pt x="423" y="80"/>
                    <a:pt x="419" y="87"/>
                  </a:cubicBezTo>
                  <a:cubicBezTo>
                    <a:pt x="414" y="93"/>
                    <a:pt x="409" y="99"/>
                    <a:pt x="405" y="106"/>
                  </a:cubicBezTo>
                  <a:lnTo>
                    <a:pt x="310" y="235"/>
                  </a:lnTo>
                  <a:cubicBezTo>
                    <a:pt x="309" y="237"/>
                    <a:pt x="308" y="238"/>
                    <a:pt x="307" y="239"/>
                  </a:cubicBezTo>
                  <a:cubicBezTo>
                    <a:pt x="306" y="240"/>
                    <a:pt x="305" y="241"/>
                    <a:pt x="303" y="241"/>
                  </a:cubicBezTo>
                  <a:cubicBezTo>
                    <a:pt x="302" y="242"/>
                    <a:pt x="300" y="242"/>
                    <a:pt x="298" y="242"/>
                  </a:cubicBezTo>
                  <a:cubicBezTo>
                    <a:pt x="296" y="243"/>
                    <a:pt x="293" y="243"/>
                    <a:pt x="290" y="243"/>
                  </a:cubicBezTo>
                  <a:cubicBezTo>
                    <a:pt x="286" y="243"/>
                    <a:pt x="283" y="243"/>
                    <a:pt x="281" y="242"/>
                  </a:cubicBezTo>
                  <a:cubicBezTo>
                    <a:pt x="279" y="242"/>
                    <a:pt x="277" y="242"/>
                    <a:pt x="276" y="241"/>
                  </a:cubicBezTo>
                  <a:cubicBezTo>
                    <a:pt x="274" y="240"/>
                    <a:pt x="273" y="240"/>
                    <a:pt x="273" y="239"/>
                  </a:cubicBezTo>
                  <a:cubicBezTo>
                    <a:pt x="272" y="238"/>
                    <a:pt x="272" y="237"/>
                    <a:pt x="272" y="235"/>
                  </a:cubicBezTo>
                  <a:lnTo>
                    <a:pt x="272" y="11"/>
                  </a:lnTo>
                  <a:cubicBezTo>
                    <a:pt x="272" y="10"/>
                    <a:pt x="272" y="9"/>
                    <a:pt x="273" y="8"/>
                  </a:cubicBezTo>
                  <a:cubicBezTo>
                    <a:pt x="273" y="7"/>
                    <a:pt x="274" y="6"/>
                    <a:pt x="276" y="6"/>
                  </a:cubicBezTo>
                  <a:cubicBezTo>
                    <a:pt x="277" y="5"/>
                    <a:pt x="279" y="5"/>
                    <a:pt x="282" y="4"/>
                  </a:cubicBezTo>
                  <a:cubicBezTo>
                    <a:pt x="285" y="4"/>
                    <a:pt x="288" y="4"/>
                    <a:pt x="292" y="4"/>
                  </a:cubicBezTo>
                  <a:cubicBezTo>
                    <a:pt x="300" y="4"/>
                    <a:pt x="305" y="5"/>
                    <a:pt x="308" y="6"/>
                  </a:cubicBezTo>
                  <a:cubicBezTo>
                    <a:pt x="311" y="7"/>
                    <a:pt x="313" y="9"/>
                    <a:pt x="313" y="11"/>
                  </a:cubicBezTo>
                  <a:lnTo>
                    <a:pt x="313" y="141"/>
                  </a:lnTo>
                  <a:cubicBezTo>
                    <a:pt x="313" y="147"/>
                    <a:pt x="312" y="154"/>
                    <a:pt x="312" y="160"/>
                  </a:cubicBezTo>
                  <a:cubicBezTo>
                    <a:pt x="312" y="166"/>
                    <a:pt x="311" y="173"/>
                    <a:pt x="311" y="179"/>
                  </a:cubicBezTo>
                  <a:cubicBezTo>
                    <a:pt x="315" y="173"/>
                    <a:pt x="319" y="167"/>
                    <a:pt x="322" y="160"/>
                  </a:cubicBezTo>
                  <a:cubicBezTo>
                    <a:pt x="326" y="154"/>
                    <a:pt x="331" y="149"/>
                    <a:pt x="335" y="143"/>
                  </a:cubicBezTo>
                  <a:lnTo>
                    <a:pt x="431" y="11"/>
                  </a:lnTo>
                  <a:cubicBezTo>
                    <a:pt x="432" y="10"/>
                    <a:pt x="433" y="9"/>
                    <a:pt x="434" y="8"/>
                  </a:cubicBezTo>
                  <a:cubicBezTo>
                    <a:pt x="435" y="7"/>
                    <a:pt x="437" y="6"/>
                    <a:pt x="438" y="5"/>
                  </a:cubicBezTo>
                  <a:cubicBezTo>
                    <a:pt x="440" y="5"/>
                    <a:pt x="442" y="5"/>
                    <a:pt x="444" y="4"/>
                  </a:cubicBezTo>
                  <a:cubicBezTo>
                    <a:pt x="446" y="4"/>
                    <a:pt x="449" y="4"/>
                    <a:pt x="452" y="4"/>
                  </a:cubicBezTo>
                  <a:cubicBezTo>
                    <a:pt x="456" y="4"/>
                    <a:pt x="459" y="4"/>
                    <a:pt x="461" y="4"/>
                  </a:cubicBezTo>
                  <a:cubicBezTo>
                    <a:pt x="463" y="5"/>
                    <a:pt x="465" y="5"/>
                    <a:pt x="467" y="6"/>
                  </a:cubicBezTo>
                  <a:cubicBezTo>
                    <a:pt x="468" y="6"/>
                    <a:pt x="469" y="7"/>
                    <a:pt x="470" y="8"/>
                  </a:cubicBezTo>
                  <a:cubicBezTo>
                    <a:pt x="470" y="9"/>
                    <a:pt x="471" y="10"/>
                    <a:pt x="471" y="12"/>
                  </a:cubicBezTo>
                  <a:lnTo>
                    <a:pt x="471" y="235"/>
                  </a:lnTo>
                  <a:close/>
                  <a:moveTo>
                    <a:pt x="709" y="235"/>
                  </a:moveTo>
                  <a:cubicBezTo>
                    <a:pt x="709" y="236"/>
                    <a:pt x="709" y="238"/>
                    <a:pt x="708" y="238"/>
                  </a:cubicBezTo>
                  <a:cubicBezTo>
                    <a:pt x="708" y="239"/>
                    <a:pt x="706" y="240"/>
                    <a:pt x="705" y="241"/>
                  </a:cubicBezTo>
                  <a:cubicBezTo>
                    <a:pt x="703" y="242"/>
                    <a:pt x="701" y="242"/>
                    <a:pt x="699" y="242"/>
                  </a:cubicBezTo>
                  <a:cubicBezTo>
                    <a:pt x="696" y="243"/>
                    <a:pt x="693" y="243"/>
                    <a:pt x="689" y="243"/>
                  </a:cubicBezTo>
                  <a:cubicBezTo>
                    <a:pt x="685" y="243"/>
                    <a:pt x="681" y="243"/>
                    <a:pt x="679" y="242"/>
                  </a:cubicBezTo>
                  <a:cubicBezTo>
                    <a:pt x="676" y="242"/>
                    <a:pt x="674" y="242"/>
                    <a:pt x="672" y="241"/>
                  </a:cubicBezTo>
                  <a:cubicBezTo>
                    <a:pt x="671" y="240"/>
                    <a:pt x="670" y="239"/>
                    <a:pt x="669" y="238"/>
                  </a:cubicBezTo>
                  <a:cubicBezTo>
                    <a:pt x="668" y="238"/>
                    <a:pt x="668" y="236"/>
                    <a:pt x="668" y="235"/>
                  </a:cubicBezTo>
                  <a:lnTo>
                    <a:pt x="668" y="145"/>
                  </a:lnTo>
                  <a:cubicBezTo>
                    <a:pt x="659" y="149"/>
                    <a:pt x="649" y="153"/>
                    <a:pt x="639" y="155"/>
                  </a:cubicBezTo>
                  <a:cubicBezTo>
                    <a:pt x="628" y="157"/>
                    <a:pt x="617" y="159"/>
                    <a:pt x="605" y="159"/>
                  </a:cubicBezTo>
                  <a:cubicBezTo>
                    <a:pt x="590" y="159"/>
                    <a:pt x="577" y="157"/>
                    <a:pt x="567" y="153"/>
                  </a:cubicBezTo>
                  <a:cubicBezTo>
                    <a:pt x="556" y="149"/>
                    <a:pt x="548" y="143"/>
                    <a:pt x="542" y="136"/>
                  </a:cubicBezTo>
                  <a:cubicBezTo>
                    <a:pt x="536" y="129"/>
                    <a:pt x="531" y="121"/>
                    <a:pt x="529" y="111"/>
                  </a:cubicBezTo>
                  <a:cubicBezTo>
                    <a:pt x="526" y="102"/>
                    <a:pt x="525" y="90"/>
                    <a:pt x="525" y="75"/>
                  </a:cubicBezTo>
                  <a:lnTo>
                    <a:pt x="525" y="12"/>
                  </a:lnTo>
                  <a:cubicBezTo>
                    <a:pt x="525" y="10"/>
                    <a:pt x="525" y="9"/>
                    <a:pt x="526" y="8"/>
                  </a:cubicBezTo>
                  <a:cubicBezTo>
                    <a:pt x="526" y="7"/>
                    <a:pt x="528" y="6"/>
                    <a:pt x="529" y="6"/>
                  </a:cubicBezTo>
                  <a:cubicBezTo>
                    <a:pt x="531" y="5"/>
                    <a:pt x="533" y="5"/>
                    <a:pt x="536" y="4"/>
                  </a:cubicBezTo>
                  <a:cubicBezTo>
                    <a:pt x="538" y="4"/>
                    <a:pt x="541" y="4"/>
                    <a:pt x="545" y="4"/>
                  </a:cubicBezTo>
                  <a:cubicBezTo>
                    <a:pt x="550" y="4"/>
                    <a:pt x="553" y="4"/>
                    <a:pt x="556" y="4"/>
                  </a:cubicBezTo>
                  <a:cubicBezTo>
                    <a:pt x="558" y="5"/>
                    <a:pt x="560" y="5"/>
                    <a:pt x="562" y="6"/>
                  </a:cubicBezTo>
                  <a:cubicBezTo>
                    <a:pt x="563" y="6"/>
                    <a:pt x="564" y="7"/>
                    <a:pt x="565" y="8"/>
                  </a:cubicBezTo>
                  <a:cubicBezTo>
                    <a:pt x="566" y="9"/>
                    <a:pt x="566" y="10"/>
                    <a:pt x="566" y="12"/>
                  </a:cubicBezTo>
                  <a:lnTo>
                    <a:pt x="566" y="69"/>
                  </a:lnTo>
                  <a:cubicBezTo>
                    <a:pt x="566" y="82"/>
                    <a:pt x="567" y="92"/>
                    <a:pt x="569" y="99"/>
                  </a:cubicBezTo>
                  <a:cubicBezTo>
                    <a:pt x="571" y="105"/>
                    <a:pt x="574" y="111"/>
                    <a:pt x="578" y="115"/>
                  </a:cubicBezTo>
                  <a:cubicBezTo>
                    <a:pt x="582" y="118"/>
                    <a:pt x="586" y="121"/>
                    <a:pt x="592" y="123"/>
                  </a:cubicBezTo>
                  <a:cubicBezTo>
                    <a:pt x="598" y="124"/>
                    <a:pt x="604" y="125"/>
                    <a:pt x="612" y="125"/>
                  </a:cubicBezTo>
                  <a:cubicBezTo>
                    <a:pt x="621" y="125"/>
                    <a:pt x="631" y="124"/>
                    <a:pt x="640" y="121"/>
                  </a:cubicBezTo>
                  <a:cubicBezTo>
                    <a:pt x="650" y="119"/>
                    <a:pt x="659" y="115"/>
                    <a:pt x="668" y="111"/>
                  </a:cubicBezTo>
                  <a:lnTo>
                    <a:pt x="668" y="12"/>
                  </a:lnTo>
                  <a:cubicBezTo>
                    <a:pt x="668" y="10"/>
                    <a:pt x="668" y="9"/>
                    <a:pt x="669" y="8"/>
                  </a:cubicBezTo>
                  <a:cubicBezTo>
                    <a:pt x="670" y="7"/>
                    <a:pt x="671" y="6"/>
                    <a:pt x="672" y="6"/>
                  </a:cubicBezTo>
                  <a:cubicBezTo>
                    <a:pt x="674" y="5"/>
                    <a:pt x="676" y="5"/>
                    <a:pt x="679" y="4"/>
                  </a:cubicBezTo>
                  <a:cubicBezTo>
                    <a:pt x="681" y="4"/>
                    <a:pt x="685" y="4"/>
                    <a:pt x="689" y="4"/>
                  </a:cubicBezTo>
                  <a:cubicBezTo>
                    <a:pt x="693" y="4"/>
                    <a:pt x="696" y="4"/>
                    <a:pt x="699" y="4"/>
                  </a:cubicBezTo>
                  <a:cubicBezTo>
                    <a:pt x="701" y="5"/>
                    <a:pt x="703" y="5"/>
                    <a:pt x="705" y="6"/>
                  </a:cubicBezTo>
                  <a:cubicBezTo>
                    <a:pt x="706" y="6"/>
                    <a:pt x="708" y="7"/>
                    <a:pt x="708" y="8"/>
                  </a:cubicBezTo>
                  <a:cubicBezTo>
                    <a:pt x="709" y="9"/>
                    <a:pt x="709" y="10"/>
                    <a:pt x="709" y="12"/>
                  </a:cubicBezTo>
                  <a:lnTo>
                    <a:pt x="709" y="235"/>
                  </a:lnTo>
                  <a:close/>
                  <a:moveTo>
                    <a:pt x="976" y="114"/>
                  </a:moveTo>
                  <a:cubicBezTo>
                    <a:pt x="976" y="120"/>
                    <a:pt x="974" y="125"/>
                    <a:pt x="971" y="127"/>
                  </a:cubicBezTo>
                  <a:cubicBezTo>
                    <a:pt x="968" y="130"/>
                    <a:pt x="964" y="132"/>
                    <a:pt x="960" y="132"/>
                  </a:cubicBezTo>
                  <a:lnTo>
                    <a:pt x="813" y="132"/>
                  </a:lnTo>
                  <a:cubicBezTo>
                    <a:pt x="813" y="144"/>
                    <a:pt x="815" y="155"/>
                    <a:pt x="817" y="165"/>
                  </a:cubicBezTo>
                  <a:cubicBezTo>
                    <a:pt x="820" y="175"/>
                    <a:pt x="824" y="184"/>
                    <a:pt x="830" y="191"/>
                  </a:cubicBezTo>
                  <a:cubicBezTo>
                    <a:pt x="835" y="198"/>
                    <a:pt x="843" y="203"/>
                    <a:pt x="852" y="207"/>
                  </a:cubicBezTo>
                  <a:cubicBezTo>
                    <a:pt x="862" y="211"/>
                    <a:pt x="873" y="213"/>
                    <a:pt x="886" y="213"/>
                  </a:cubicBezTo>
                  <a:cubicBezTo>
                    <a:pt x="897" y="213"/>
                    <a:pt x="906" y="212"/>
                    <a:pt x="915" y="210"/>
                  </a:cubicBezTo>
                  <a:cubicBezTo>
                    <a:pt x="923" y="208"/>
                    <a:pt x="930" y="207"/>
                    <a:pt x="936" y="204"/>
                  </a:cubicBezTo>
                  <a:cubicBezTo>
                    <a:pt x="942" y="202"/>
                    <a:pt x="947" y="200"/>
                    <a:pt x="951" y="199"/>
                  </a:cubicBezTo>
                  <a:cubicBezTo>
                    <a:pt x="955" y="197"/>
                    <a:pt x="958" y="196"/>
                    <a:pt x="960" y="196"/>
                  </a:cubicBezTo>
                  <a:cubicBezTo>
                    <a:pt x="961" y="196"/>
                    <a:pt x="962" y="196"/>
                    <a:pt x="963" y="197"/>
                  </a:cubicBezTo>
                  <a:cubicBezTo>
                    <a:pt x="964" y="197"/>
                    <a:pt x="965" y="198"/>
                    <a:pt x="965" y="199"/>
                  </a:cubicBezTo>
                  <a:cubicBezTo>
                    <a:pt x="966" y="201"/>
                    <a:pt x="966" y="202"/>
                    <a:pt x="966" y="204"/>
                  </a:cubicBezTo>
                  <a:cubicBezTo>
                    <a:pt x="966" y="206"/>
                    <a:pt x="967" y="209"/>
                    <a:pt x="967" y="212"/>
                  </a:cubicBezTo>
                  <a:cubicBezTo>
                    <a:pt x="967" y="214"/>
                    <a:pt x="966" y="216"/>
                    <a:pt x="966" y="217"/>
                  </a:cubicBezTo>
                  <a:cubicBezTo>
                    <a:pt x="966" y="219"/>
                    <a:pt x="966" y="220"/>
                    <a:pt x="966" y="222"/>
                  </a:cubicBezTo>
                  <a:cubicBezTo>
                    <a:pt x="965" y="223"/>
                    <a:pt x="965" y="224"/>
                    <a:pt x="964" y="225"/>
                  </a:cubicBezTo>
                  <a:cubicBezTo>
                    <a:pt x="964" y="226"/>
                    <a:pt x="963" y="227"/>
                    <a:pt x="962" y="228"/>
                  </a:cubicBezTo>
                  <a:cubicBezTo>
                    <a:pt x="961" y="229"/>
                    <a:pt x="959" y="230"/>
                    <a:pt x="954" y="232"/>
                  </a:cubicBezTo>
                  <a:cubicBezTo>
                    <a:pt x="950" y="234"/>
                    <a:pt x="944" y="236"/>
                    <a:pt x="937" y="238"/>
                  </a:cubicBezTo>
                  <a:cubicBezTo>
                    <a:pt x="930" y="240"/>
                    <a:pt x="921" y="242"/>
                    <a:pt x="912" y="244"/>
                  </a:cubicBezTo>
                  <a:cubicBezTo>
                    <a:pt x="903" y="245"/>
                    <a:pt x="893" y="246"/>
                    <a:pt x="882" y="246"/>
                  </a:cubicBezTo>
                  <a:cubicBezTo>
                    <a:pt x="864" y="246"/>
                    <a:pt x="848" y="243"/>
                    <a:pt x="834" y="238"/>
                  </a:cubicBezTo>
                  <a:cubicBezTo>
                    <a:pt x="820" y="233"/>
                    <a:pt x="808" y="226"/>
                    <a:pt x="799" y="216"/>
                  </a:cubicBezTo>
                  <a:cubicBezTo>
                    <a:pt x="789" y="205"/>
                    <a:pt x="782" y="193"/>
                    <a:pt x="777" y="178"/>
                  </a:cubicBezTo>
                  <a:cubicBezTo>
                    <a:pt x="773" y="162"/>
                    <a:pt x="770" y="145"/>
                    <a:pt x="770" y="124"/>
                  </a:cubicBezTo>
                  <a:cubicBezTo>
                    <a:pt x="770" y="105"/>
                    <a:pt x="773" y="88"/>
                    <a:pt x="778" y="73"/>
                  </a:cubicBezTo>
                  <a:cubicBezTo>
                    <a:pt x="783" y="57"/>
                    <a:pt x="790" y="44"/>
                    <a:pt x="799" y="34"/>
                  </a:cubicBezTo>
                  <a:cubicBezTo>
                    <a:pt x="809" y="23"/>
                    <a:pt x="820" y="15"/>
                    <a:pt x="833" y="9"/>
                  </a:cubicBezTo>
                  <a:cubicBezTo>
                    <a:pt x="846" y="3"/>
                    <a:pt x="861" y="0"/>
                    <a:pt x="878" y="0"/>
                  </a:cubicBezTo>
                  <a:cubicBezTo>
                    <a:pt x="895" y="0"/>
                    <a:pt x="910" y="3"/>
                    <a:pt x="922" y="9"/>
                  </a:cubicBezTo>
                  <a:cubicBezTo>
                    <a:pt x="935" y="14"/>
                    <a:pt x="945" y="22"/>
                    <a:pt x="953" y="32"/>
                  </a:cubicBezTo>
                  <a:cubicBezTo>
                    <a:pt x="961" y="41"/>
                    <a:pt x="967" y="52"/>
                    <a:pt x="970" y="65"/>
                  </a:cubicBezTo>
                  <a:cubicBezTo>
                    <a:pt x="974" y="78"/>
                    <a:pt x="976" y="92"/>
                    <a:pt x="976" y="106"/>
                  </a:cubicBezTo>
                  <a:lnTo>
                    <a:pt x="976" y="114"/>
                  </a:lnTo>
                  <a:close/>
                  <a:moveTo>
                    <a:pt x="935" y="102"/>
                  </a:moveTo>
                  <a:cubicBezTo>
                    <a:pt x="935" y="80"/>
                    <a:pt x="931" y="63"/>
                    <a:pt x="920" y="51"/>
                  </a:cubicBezTo>
                  <a:cubicBezTo>
                    <a:pt x="910" y="39"/>
                    <a:pt x="896" y="32"/>
                    <a:pt x="876" y="32"/>
                  </a:cubicBezTo>
                  <a:cubicBezTo>
                    <a:pt x="866" y="32"/>
                    <a:pt x="857" y="34"/>
                    <a:pt x="849" y="38"/>
                  </a:cubicBezTo>
                  <a:cubicBezTo>
                    <a:pt x="842" y="42"/>
                    <a:pt x="835" y="47"/>
                    <a:pt x="830" y="53"/>
                  </a:cubicBezTo>
                  <a:cubicBezTo>
                    <a:pt x="825" y="60"/>
                    <a:pt x="821" y="67"/>
                    <a:pt x="818" y="75"/>
                  </a:cubicBezTo>
                  <a:cubicBezTo>
                    <a:pt x="815" y="84"/>
                    <a:pt x="814" y="92"/>
                    <a:pt x="813" y="102"/>
                  </a:cubicBezTo>
                  <a:lnTo>
                    <a:pt x="935" y="102"/>
                  </a:lnTo>
                  <a:close/>
                  <a:moveTo>
                    <a:pt x="1199" y="201"/>
                  </a:moveTo>
                  <a:cubicBezTo>
                    <a:pt x="1199" y="204"/>
                    <a:pt x="1199" y="206"/>
                    <a:pt x="1199" y="208"/>
                  </a:cubicBezTo>
                  <a:cubicBezTo>
                    <a:pt x="1199" y="210"/>
                    <a:pt x="1198" y="212"/>
                    <a:pt x="1198" y="214"/>
                  </a:cubicBezTo>
                  <a:cubicBezTo>
                    <a:pt x="1198" y="215"/>
                    <a:pt x="1197" y="216"/>
                    <a:pt x="1196" y="217"/>
                  </a:cubicBezTo>
                  <a:cubicBezTo>
                    <a:pt x="1196" y="218"/>
                    <a:pt x="1195" y="220"/>
                    <a:pt x="1192" y="222"/>
                  </a:cubicBezTo>
                  <a:cubicBezTo>
                    <a:pt x="1190" y="224"/>
                    <a:pt x="1187" y="227"/>
                    <a:pt x="1182" y="230"/>
                  </a:cubicBezTo>
                  <a:cubicBezTo>
                    <a:pt x="1177" y="233"/>
                    <a:pt x="1171" y="236"/>
                    <a:pt x="1165" y="238"/>
                  </a:cubicBezTo>
                  <a:cubicBezTo>
                    <a:pt x="1159" y="240"/>
                    <a:pt x="1152" y="242"/>
                    <a:pt x="1145" y="244"/>
                  </a:cubicBezTo>
                  <a:cubicBezTo>
                    <a:pt x="1138" y="245"/>
                    <a:pt x="1130" y="246"/>
                    <a:pt x="1122" y="246"/>
                  </a:cubicBezTo>
                  <a:cubicBezTo>
                    <a:pt x="1106" y="246"/>
                    <a:pt x="1092" y="243"/>
                    <a:pt x="1080" y="238"/>
                  </a:cubicBezTo>
                  <a:cubicBezTo>
                    <a:pt x="1067" y="233"/>
                    <a:pt x="1057" y="225"/>
                    <a:pt x="1048" y="215"/>
                  </a:cubicBezTo>
                  <a:cubicBezTo>
                    <a:pt x="1040" y="205"/>
                    <a:pt x="1034" y="192"/>
                    <a:pt x="1029" y="177"/>
                  </a:cubicBezTo>
                  <a:cubicBezTo>
                    <a:pt x="1025" y="163"/>
                    <a:pt x="1023" y="145"/>
                    <a:pt x="1023" y="126"/>
                  </a:cubicBezTo>
                  <a:cubicBezTo>
                    <a:pt x="1023" y="104"/>
                    <a:pt x="1025" y="85"/>
                    <a:pt x="1031" y="69"/>
                  </a:cubicBezTo>
                  <a:cubicBezTo>
                    <a:pt x="1036" y="54"/>
                    <a:pt x="1043" y="41"/>
                    <a:pt x="1053" y="30"/>
                  </a:cubicBezTo>
                  <a:cubicBezTo>
                    <a:pt x="1062" y="20"/>
                    <a:pt x="1073" y="13"/>
                    <a:pt x="1086" y="8"/>
                  </a:cubicBezTo>
                  <a:cubicBezTo>
                    <a:pt x="1099" y="3"/>
                    <a:pt x="1112" y="1"/>
                    <a:pt x="1127" y="1"/>
                  </a:cubicBezTo>
                  <a:cubicBezTo>
                    <a:pt x="1134" y="1"/>
                    <a:pt x="1141" y="1"/>
                    <a:pt x="1148" y="3"/>
                  </a:cubicBezTo>
                  <a:cubicBezTo>
                    <a:pt x="1154" y="4"/>
                    <a:pt x="1161" y="6"/>
                    <a:pt x="1166" y="8"/>
                  </a:cubicBezTo>
                  <a:cubicBezTo>
                    <a:pt x="1172" y="10"/>
                    <a:pt x="1177" y="12"/>
                    <a:pt x="1181" y="15"/>
                  </a:cubicBezTo>
                  <a:cubicBezTo>
                    <a:pt x="1186" y="18"/>
                    <a:pt x="1189" y="20"/>
                    <a:pt x="1191" y="22"/>
                  </a:cubicBezTo>
                  <a:cubicBezTo>
                    <a:pt x="1193" y="24"/>
                    <a:pt x="1194" y="26"/>
                    <a:pt x="1195" y="27"/>
                  </a:cubicBezTo>
                  <a:cubicBezTo>
                    <a:pt x="1196" y="28"/>
                    <a:pt x="1196" y="30"/>
                    <a:pt x="1197" y="31"/>
                  </a:cubicBezTo>
                  <a:cubicBezTo>
                    <a:pt x="1197" y="33"/>
                    <a:pt x="1198" y="35"/>
                    <a:pt x="1198" y="37"/>
                  </a:cubicBezTo>
                  <a:cubicBezTo>
                    <a:pt x="1198" y="39"/>
                    <a:pt x="1198" y="41"/>
                    <a:pt x="1198" y="44"/>
                  </a:cubicBezTo>
                  <a:cubicBezTo>
                    <a:pt x="1198" y="51"/>
                    <a:pt x="1197" y="55"/>
                    <a:pt x="1196" y="58"/>
                  </a:cubicBezTo>
                  <a:cubicBezTo>
                    <a:pt x="1194" y="60"/>
                    <a:pt x="1193" y="62"/>
                    <a:pt x="1190" y="62"/>
                  </a:cubicBezTo>
                  <a:cubicBezTo>
                    <a:pt x="1188" y="62"/>
                    <a:pt x="1185" y="60"/>
                    <a:pt x="1182" y="57"/>
                  </a:cubicBezTo>
                  <a:cubicBezTo>
                    <a:pt x="1179" y="55"/>
                    <a:pt x="1174" y="52"/>
                    <a:pt x="1169" y="48"/>
                  </a:cubicBezTo>
                  <a:cubicBezTo>
                    <a:pt x="1165" y="45"/>
                    <a:pt x="1159" y="42"/>
                    <a:pt x="1152" y="39"/>
                  </a:cubicBezTo>
                  <a:cubicBezTo>
                    <a:pt x="1144" y="36"/>
                    <a:pt x="1136" y="35"/>
                    <a:pt x="1126" y="35"/>
                  </a:cubicBezTo>
                  <a:cubicBezTo>
                    <a:pt x="1107" y="35"/>
                    <a:pt x="1092" y="43"/>
                    <a:pt x="1081" y="58"/>
                  </a:cubicBezTo>
                  <a:cubicBezTo>
                    <a:pt x="1071" y="73"/>
                    <a:pt x="1065" y="95"/>
                    <a:pt x="1065" y="124"/>
                  </a:cubicBezTo>
                  <a:cubicBezTo>
                    <a:pt x="1065" y="138"/>
                    <a:pt x="1067" y="151"/>
                    <a:pt x="1070" y="162"/>
                  </a:cubicBezTo>
                  <a:cubicBezTo>
                    <a:pt x="1072" y="173"/>
                    <a:pt x="1076" y="182"/>
                    <a:pt x="1082" y="189"/>
                  </a:cubicBezTo>
                  <a:cubicBezTo>
                    <a:pt x="1087" y="196"/>
                    <a:pt x="1093" y="202"/>
                    <a:pt x="1101" y="205"/>
                  </a:cubicBezTo>
                  <a:cubicBezTo>
                    <a:pt x="1109" y="209"/>
                    <a:pt x="1118" y="211"/>
                    <a:pt x="1128" y="211"/>
                  </a:cubicBezTo>
                  <a:cubicBezTo>
                    <a:pt x="1137" y="211"/>
                    <a:pt x="1145" y="209"/>
                    <a:pt x="1152" y="206"/>
                  </a:cubicBezTo>
                  <a:cubicBezTo>
                    <a:pt x="1159" y="203"/>
                    <a:pt x="1166" y="200"/>
                    <a:pt x="1171" y="196"/>
                  </a:cubicBezTo>
                  <a:cubicBezTo>
                    <a:pt x="1176" y="193"/>
                    <a:pt x="1181" y="189"/>
                    <a:pt x="1184" y="187"/>
                  </a:cubicBezTo>
                  <a:cubicBezTo>
                    <a:pt x="1188" y="184"/>
                    <a:pt x="1190" y="182"/>
                    <a:pt x="1192" y="182"/>
                  </a:cubicBezTo>
                  <a:cubicBezTo>
                    <a:pt x="1193" y="182"/>
                    <a:pt x="1194" y="183"/>
                    <a:pt x="1195" y="183"/>
                  </a:cubicBezTo>
                  <a:cubicBezTo>
                    <a:pt x="1196" y="184"/>
                    <a:pt x="1197" y="185"/>
                    <a:pt x="1197" y="187"/>
                  </a:cubicBezTo>
                  <a:cubicBezTo>
                    <a:pt x="1198" y="188"/>
                    <a:pt x="1198" y="190"/>
                    <a:pt x="1199" y="193"/>
                  </a:cubicBezTo>
                  <a:cubicBezTo>
                    <a:pt x="1199" y="195"/>
                    <a:pt x="1199" y="198"/>
                    <a:pt x="1199" y="201"/>
                  </a:cubicBezTo>
                  <a:close/>
                  <a:moveTo>
                    <a:pt x="1410" y="24"/>
                  </a:moveTo>
                  <a:cubicBezTo>
                    <a:pt x="1410" y="27"/>
                    <a:pt x="1410" y="30"/>
                    <a:pt x="1409" y="32"/>
                  </a:cubicBezTo>
                  <a:cubicBezTo>
                    <a:pt x="1409" y="35"/>
                    <a:pt x="1409" y="36"/>
                    <a:pt x="1408" y="38"/>
                  </a:cubicBezTo>
                  <a:cubicBezTo>
                    <a:pt x="1407" y="39"/>
                    <a:pt x="1406" y="40"/>
                    <a:pt x="1405" y="41"/>
                  </a:cubicBezTo>
                  <a:cubicBezTo>
                    <a:pt x="1404" y="42"/>
                    <a:pt x="1403" y="42"/>
                    <a:pt x="1402" y="42"/>
                  </a:cubicBezTo>
                  <a:lnTo>
                    <a:pt x="1334" y="42"/>
                  </a:lnTo>
                  <a:lnTo>
                    <a:pt x="1334" y="235"/>
                  </a:lnTo>
                  <a:cubicBezTo>
                    <a:pt x="1334" y="236"/>
                    <a:pt x="1334" y="238"/>
                    <a:pt x="1333" y="238"/>
                  </a:cubicBezTo>
                  <a:cubicBezTo>
                    <a:pt x="1333" y="239"/>
                    <a:pt x="1332" y="240"/>
                    <a:pt x="1330" y="241"/>
                  </a:cubicBezTo>
                  <a:cubicBezTo>
                    <a:pt x="1329" y="242"/>
                    <a:pt x="1327" y="242"/>
                    <a:pt x="1324" y="242"/>
                  </a:cubicBezTo>
                  <a:cubicBezTo>
                    <a:pt x="1321" y="243"/>
                    <a:pt x="1318" y="243"/>
                    <a:pt x="1314" y="243"/>
                  </a:cubicBezTo>
                  <a:cubicBezTo>
                    <a:pt x="1310" y="243"/>
                    <a:pt x="1307" y="243"/>
                    <a:pt x="1304" y="242"/>
                  </a:cubicBezTo>
                  <a:cubicBezTo>
                    <a:pt x="1301" y="242"/>
                    <a:pt x="1299" y="242"/>
                    <a:pt x="1298" y="241"/>
                  </a:cubicBezTo>
                  <a:cubicBezTo>
                    <a:pt x="1296" y="240"/>
                    <a:pt x="1295" y="239"/>
                    <a:pt x="1294" y="238"/>
                  </a:cubicBezTo>
                  <a:cubicBezTo>
                    <a:pt x="1294" y="238"/>
                    <a:pt x="1293" y="236"/>
                    <a:pt x="1293" y="235"/>
                  </a:cubicBezTo>
                  <a:lnTo>
                    <a:pt x="1293" y="42"/>
                  </a:lnTo>
                  <a:lnTo>
                    <a:pt x="1226" y="42"/>
                  </a:lnTo>
                  <a:cubicBezTo>
                    <a:pt x="1225" y="42"/>
                    <a:pt x="1224" y="42"/>
                    <a:pt x="1223" y="41"/>
                  </a:cubicBezTo>
                  <a:cubicBezTo>
                    <a:pt x="1222" y="40"/>
                    <a:pt x="1221" y="39"/>
                    <a:pt x="1220" y="38"/>
                  </a:cubicBezTo>
                  <a:cubicBezTo>
                    <a:pt x="1220" y="36"/>
                    <a:pt x="1219" y="34"/>
                    <a:pt x="1219" y="32"/>
                  </a:cubicBezTo>
                  <a:cubicBezTo>
                    <a:pt x="1218" y="30"/>
                    <a:pt x="1218" y="27"/>
                    <a:pt x="1218" y="24"/>
                  </a:cubicBezTo>
                  <a:cubicBezTo>
                    <a:pt x="1218" y="20"/>
                    <a:pt x="1218" y="18"/>
                    <a:pt x="1219" y="16"/>
                  </a:cubicBezTo>
                  <a:cubicBezTo>
                    <a:pt x="1219" y="13"/>
                    <a:pt x="1220" y="11"/>
                    <a:pt x="1220" y="10"/>
                  </a:cubicBezTo>
                  <a:cubicBezTo>
                    <a:pt x="1221" y="8"/>
                    <a:pt x="1222" y="7"/>
                    <a:pt x="1223" y="6"/>
                  </a:cubicBezTo>
                  <a:cubicBezTo>
                    <a:pt x="1224" y="5"/>
                    <a:pt x="1225" y="5"/>
                    <a:pt x="1226" y="5"/>
                  </a:cubicBezTo>
                  <a:lnTo>
                    <a:pt x="1402" y="5"/>
                  </a:lnTo>
                  <a:cubicBezTo>
                    <a:pt x="1403" y="5"/>
                    <a:pt x="1404" y="5"/>
                    <a:pt x="1405" y="6"/>
                  </a:cubicBezTo>
                  <a:cubicBezTo>
                    <a:pt x="1406" y="7"/>
                    <a:pt x="1407" y="8"/>
                    <a:pt x="1408" y="10"/>
                  </a:cubicBezTo>
                  <a:cubicBezTo>
                    <a:pt x="1408" y="11"/>
                    <a:pt x="1409" y="13"/>
                    <a:pt x="1409" y="16"/>
                  </a:cubicBezTo>
                  <a:cubicBezTo>
                    <a:pt x="1410" y="18"/>
                    <a:pt x="1410" y="21"/>
                    <a:pt x="1410" y="24"/>
                  </a:cubicBezTo>
                  <a:close/>
                  <a:moveTo>
                    <a:pt x="1634" y="171"/>
                  </a:moveTo>
                  <a:cubicBezTo>
                    <a:pt x="1634" y="183"/>
                    <a:pt x="1632" y="193"/>
                    <a:pt x="1627" y="202"/>
                  </a:cubicBezTo>
                  <a:cubicBezTo>
                    <a:pt x="1623" y="211"/>
                    <a:pt x="1616" y="219"/>
                    <a:pt x="1607" y="225"/>
                  </a:cubicBezTo>
                  <a:cubicBezTo>
                    <a:pt x="1599" y="232"/>
                    <a:pt x="1588" y="236"/>
                    <a:pt x="1575" y="240"/>
                  </a:cubicBezTo>
                  <a:cubicBezTo>
                    <a:pt x="1562" y="243"/>
                    <a:pt x="1546" y="244"/>
                    <a:pt x="1529" y="244"/>
                  </a:cubicBezTo>
                  <a:cubicBezTo>
                    <a:pt x="1524" y="244"/>
                    <a:pt x="1518" y="244"/>
                    <a:pt x="1513" y="244"/>
                  </a:cubicBezTo>
                  <a:cubicBezTo>
                    <a:pt x="1508" y="244"/>
                    <a:pt x="1503" y="244"/>
                    <a:pt x="1498" y="244"/>
                  </a:cubicBezTo>
                  <a:cubicBezTo>
                    <a:pt x="1493" y="243"/>
                    <a:pt x="1489" y="243"/>
                    <a:pt x="1484" y="243"/>
                  </a:cubicBezTo>
                  <a:cubicBezTo>
                    <a:pt x="1479" y="243"/>
                    <a:pt x="1474" y="242"/>
                    <a:pt x="1470" y="242"/>
                  </a:cubicBezTo>
                  <a:cubicBezTo>
                    <a:pt x="1463" y="241"/>
                    <a:pt x="1458" y="239"/>
                    <a:pt x="1455" y="235"/>
                  </a:cubicBezTo>
                  <a:cubicBezTo>
                    <a:pt x="1452" y="231"/>
                    <a:pt x="1450" y="226"/>
                    <a:pt x="1450" y="219"/>
                  </a:cubicBezTo>
                  <a:lnTo>
                    <a:pt x="1450" y="27"/>
                  </a:lnTo>
                  <a:cubicBezTo>
                    <a:pt x="1450" y="20"/>
                    <a:pt x="1452" y="15"/>
                    <a:pt x="1455" y="11"/>
                  </a:cubicBezTo>
                  <a:cubicBezTo>
                    <a:pt x="1458" y="7"/>
                    <a:pt x="1463" y="5"/>
                    <a:pt x="1469" y="5"/>
                  </a:cubicBezTo>
                  <a:cubicBezTo>
                    <a:pt x="1473" y="4"/>
                    <a:pt x="1478" y="4"/>
                    <a:pt x="1483" y="3"/>
                  </a:cubicBezTo>
                  <a:cubicBezTo>
                    <a:pt x="1488" y="3"/>
                    <a:pt x="1493" y="3"/>
                    <a:pt x="1498" y="2"/>
                  </a:cubicBezTo>
                  <a:cubicBezTo>
                    <a:pt x="1503" y="2"/>
                    <a:pt x="1508" y="2"/>
                    <a:pt x="1514" y="2"/>
                  </a:cubicBezTo>
                  <a:cubicBezTo>
                    <a:pt x="1519" y="2"/>
                    <a:pt x="1525" y="2"/>
                    <a:pt x="1530" y="2"/>
                  </a:cubicBezTo>
                  <a:cubicBezTo>
                    <a:pt x="1547" y="2"/>
                    <a:pt x="1560" y="3"/>
                    <a:pt x="1572" y="6"/>
                  </a:cubicBezTo>
                  <a:cubicBezTo>
                    <a:pt x="1584" y="8"/>
                    <a:pt x="1594" y="12"/>
                    <a:pt x="1601" y="17"/>
                  </a:cubicBezTo>
                  <a:cubicBezTo>
                    <a:pt x="1609" y="22"/>
                    <a:pt x="1615" y="29"/>
                    <a:pt x="1619" y="36"/>
                  </a:cubicBezTo>
                  <a:cubicBezTo>
                    <a:pt x="1622" y="44"/>
                    <a:pt x="1624" y="52"/>
                    <a:pt x="1624" y="62"/>
                  </a:cubicBezTo>
                  <a:cubicBezTo>
                    <a:pt x="1624" y="74"/>
                    <a:pt x="1621" y="85"/>
                    <a:pt x="1614" y="94"/>
                  </a:cubicBezTo>
                  <a:cubicBezTo>
                    <a:pt x="1608" y="103"/>
                    <a:pt x="1598" y="109"/>
                    <a:pt x="1585" y="113"/>
                  </a:cubicBezTo>
                  <a:cubicBezTo>
                    <a:pt x="1601" y="117"/>
                    <a:pt x="1613" y="123"/>
                    <a:pt x="1622" y="133"/>
                  </a:cubicBezTo>
                  <a:cubicBezTo>
                    <a:pt x="1630" y="143"/>
                    <a:pt x="1634" y="156"/>
                    <a:pt x="1634" y="171"/>
                  </a:cubicBezTo>
                  <a:close/>
                  <a:moveTo>
                    <a:pt x="1585" y="67"/>
                  </a:moveTo>
                  <a:cubicBezTo>
                    <a:pt x="1585" y="62"/>
                    <a:pt x="1584" y="57"/>
                    <a:pt x="1582" y="52"/>
                  </a:cubicBezTo>
                  <a:cubicBezTo>
                    <a:pt x="1580" y="48"/>
                    <a:pt x="1576" y="44"/>
                    <a:pt x="1572" y="41"/>
                  </a:cubicBezTo>
                  <a:cubicBezTo>
                    <a:pt x="1567" y="38"/>
                    <a:pt x="1561" y="36"/>
                    <a:pt x="1554" y="35"/>
                  </a:cubicBezTo>
                  <a:cubicBezTo>
                    <a:pt x="1547" y="33"/>
                    <a:pt x="1538" y="32"/>
                    <a:pt x="1528" y="32"/>
                  </a:cubicBezTo>
                  <a:cubicBezTo>
                    <a:pt x="1520" y="32"/>
                    <a:pt x="1513" y="33"/>
                    <a:pt x="1507" y="33"/>
                  </a:cubicBezTo>
                  <a:cubicBezTo>
                    <a:pt x="1500" y="33"/>
                    <a:pt x="1495" y="34"/>
                    <a:pt x="1490" y="34"/>
                  </a:cubicBezTo>
                  <a:lnTo>
                    <a:pt x="1490" y="104"/>
                  </a:lnTo>
                  <a:lnTo>
                    <a:pt x="1532" y="104"/>
                  </a:lnTo>
                  <a:cubicBezTo>
                    <a:pt x="1549" y="104"/>
                    <a:pt x="1562" y="101"/>
                    <a:pt x="1571" y="94"/>
                  </a:cubicBezTo>
                  <a:cubicBezTo>
                    <a:pt x="1580" y="88"/>
                    <a:pt x="1585" y="79"/>
                    <a:pt x="1585" y="67"/>
                  </a:cubicBezTo>
                  <a:close/>
                  <a:moveTo>
                    <a:pt x="1592" y="172"/>
                  </a:moveTo>
                  <a:cubicBezTo>
                    <a:pt x="1592" y="165"/>
                    <a:pt x="1591" y="159"/>
                    <a:pt x="1589" y="154"/>
                  </a:cubicBezTo>
                  <a:cubicBezTo>
                    <a:pt x="1586" y="149"/>
                    <a:pt x="1583" y="145"/>
                    <a:pt x="1578" y="141"/>
                  </a:cubicBezTo>
                  <a:cubicBezTo>
                    <a:pt x="1572" y="138"/>
                    <a:pt x="1566" y="136"/>
                    <a:pt x="1558" y="134"/>
                  </a:cubicBezTo>
                  <a:cubicBezTo>
                    <a:pt x="1550" y="132"/>
                    <a:pt x="1541" y="132"/>
                    <a:pt x="1530" y="132"/>
                  </a:cubicBezTo>
                  <a:lnTo>
                    <a:pt x="1490" y="132"/>
                  </a:lnTo>
                  <a:lnTo>
                    <a:pt x="1490" y="211"/>
                  </a:lnTo>
                  <a:cubicBezTo>
                    <a:pt x="1493" y="211"/>
                    <a:pt x="1497" y="212"/>
                    <a:pt x="1500" y="212"/>
                  </a:cubicBezTo>
                  <a:cubicBezTo>
                    <a:pt x="1503" y="212"/>
                    <a:pt x="1507" y="212"/>
                    <a:pt x="1510" y="213"/>
                  </a:cubicBezTo>
                  <a:cubicBezTo>
                    <a:pt x="1514" y="213"/>
                    <a:pt x="1518" y="213"/>
                    <a:pt x="1521" y="213"/>
                  </a:cubicBezTo>
                  <a:cubicBezTo>
                    <a:pt x="1525" y="213"/>
                    <a:pt x="1528" y="214"/>
                    <a:pt x="1531" y="214"/>
                  </a:cubicBezTo>
                  <a:cubicBezTo>
                    <a:pt x="1542" y="214"/>
                    <a:pt x="1551" y="213"/>
                    <a:pt x="1559" y="211"/>
                  </a:cubicBezTo>
                  <a:cubicBezTo>
                    <a:pt x="1566" y="209"/>
                    <a:pt x="1572" y="206"/>
                    <a:pt x="1578" y="202"/>
                  </a:cubicBezTo>
                  <a:cubicBezTo>
                    <a:pt x="1583" y="199"/>
                    <a:pt x="1586" y="194"/>
                    <a:pt x="1589" y="189"/>
                  </a:cubicBezTo>
                  <a:cubicBezTo>
                    <a:pt x="1591" y="184"/>
                    <a:pt x="1592" y="178"/>
                    <a:pt x="1592" y="172"/>
                  </a:cubicBezTo>
                  <a:close/>
                  <a:moveTo>
                    <a:pt x="1885" y="114"/>
                  </a:moveTo>
                  <a:cubicBezTo>
                    <a:pt x="1885" y="120"/>
                    <a:pt x="1883" y="125"/>
                    <a:pt x="1880" y="127"/>
                  </a:cubicBezTo>
                  <a:cubicBezTo>
                    <a:pt x="1877" y="130"/>
                    <a:pt x="1873" y="132"/>
                    <a:pt x="1869" y="132"/>
                  </a:cubicBezTo>
                  <a:lnTo>
                    <a:pt x="1722" y="132"/>
                  </a:lnTo>
                  <a:cubicBezTo>
                    <a:pt x="1722" y="144"/>
                    <a:pt x="1724" y="155"/>
                    <a:pt x="1726" y="165"/>
                  </a:cubicBezTo>
                  <a:cubicBezTo>
                    <a:pt x="1729" y="175"/>
                    <a:pt x="1733" y="184"/>
                    <a:pt x="1739" y="191"/>
                  </a:cubicBezTo>
                  <a:cubicBezTo>
                    <a:pt x="1744" y="198"/>
                    <a:pt x="1752" y="203"/>
                    <a:pt x="1761" y="207"/>
                  </a:cubicBezTo>
                  <a:cubicBezTo>
                    <a:pt x="1771" y="211"/>
                    <a:pt x="1782" y="213"/>
                    <a:pt x="1795" y="213"/>
                  </a:cubicBezTo>
                  <a:cubicBezTo>
                    <a:pt x="1806" y="213"/>
                    <a:pt x="1815" y="212"/>
                    <a:pt x="1824" y="210"/>
                  </a:cubicBezTo>
                  <a:cubicBezTo>
                    <a:pt x="1832" y="208"/>
                    <a:pt x="1839" y="207"/>
                    <a:pt x="1845" y="204"/>
                  </a:cubicBezTo>
                  <a:cubicBezTo>
                    <a:pt x="1851" y="202"/>
                    <a:pt x="1856" y="200"/>
                    <a:pt x="1860" y="199"/>
                  </a:cubicBezTo>
                  <a:cubicBezTo>
                    <a:pt x="1864" y="197"/>
                    <a:pt x="1867" y="196"/>
                    <a:pt x="1869" y="196"/>
                  </a:cubicBezTo>
                  <a:cubicBezTo>
                    <a:pt x="1870" y="196"/>
                    <a:pt x="1871" y="196"/>
                    <a:pt x="1872" y="197"/>
                  </a:cubicBezTo>
                  <a:cubicBezTo>
                    <a:pt x="1873" y="197"/>
                    <a:pt x="1874" y="198"/>
                    <a:pt x="1874" y="199"/>
                  </a:cubicBezTo>
                  <a:cubicBezTo>
                    <a:pt x="1875" y="201"/>
                    <a:pt x="1875" y="202"/>
                    <a:pt x="1875" y="204"/>
                  </a:cubicBezTo>
                  <a:cubicBezTo>
                    <a:pt x="1875" y="206"/>
                    <a:pt x="1876" y="209"/>
                    <a:pt x="1876" y="212"/>
                  </a:cubicBezTo>
                  <a:cubicBezTo>
                    <a:pt x="1876" y="214"/>
                    <a:pt x="1875" y="216"/>
                    <a:pt x="1875" y="217"/>
                  </a:cubicBezTo>
                  <a:cubicBezTo>
                    <a:pt x="1875" y="219"/>
                    <a:pt x="1875" y="220"/>
                    <a:pt x="1875" y="222"/>
                  </a:cubicBezTo>
                  <a:cubicBezTo>
                    <a:pt x="1874" y="223"/>
                    <a:pt x="1874" y="224"/>
                    <a:pt x="1873" y="225"/>
                  </a:cubicBezTo>
                  <a:cubicBezTo>
                    <a:pt x="1873" y="226"/>
                    <a:pt x="1872" y="227"/>
                    <a:pt x="1871" y="228"/>
                  </a:cubicBezTo>
                  <a:cubicBezTo>
                    <a:pt x="1870" y="229"/>
                    <a:pt x="1868" y="230"/>
                    <a:pt x="1863" y="232"/>
                  </a:cubicBezTo>
                  <a:cubicBezTo>
                    <a:pt x="1859" y="234"/>
                    <a:pt x="1853" y="236"/>
                    <a:pt x="1846" y="238"/>
                  </a:cubicBezTo>
                  <a:cubicBezTo>
                    <a:pt x="1839" y="240"/>
                    <a:pt x="1830" y="242"/>
                    <a:pt x="1821" y="244"/>
                  </a:cubicBezTo>
                  <a:cubicBezTo>
                    <a:pt x="1812" y="245"/>
                    <a:pt x="1802" y="246"/>
                    <a:pt x="1791" y="246"/>
                  </a:cubicBezTo>
                  <a:cubicBezTo>
                    <a:pt x="1773" y="246"/>
                    <a:pt x="1757" y="243"/>
                    <a:pt x="1743" y="238"/>
                  </a:cubicBezTo>
                  <a:cubicBezTo>
                    <a:pt x="1729" y="233"/>
                    <a:pt x="1717" y="226"/>
                    <a:pt x="1708" y="216"/>
                  </a:cubicBezTo>
                  <a:cubicBezTo>
                    <a:pt x="1698" y="205"/>
                    <a:pt x="1691" y="193"/>
                    <a:pt x="1686" y="178"/>
                  </a:cubicBezTo>
                  <a:cubicBezTo>
                    <a:pt x="1682" y="162"/>
                    <a:pt x="1679" y="145"/>
                    <a:pt x="1679" y="124"/>
                  </a:cubicBezTo>
                  <a:cubicBezTo>
                    <a:pt x="1679" y="105"/>
                    <a:pt x="1682" y="88"/>
                    <a:pt x="1687" y="73"/>
                  </a:cubicBezTo>
                  <a:cubicBezTo>
                    <a:pt x="1692" y="57"/>
                    <a:pt x="1699" y="44"/>
                    <a:pt x="1708" y="34"/>
                  </a:cubicBezTo>
                  <a:cubicBezTo>
                    <a:pt x="1718" y="23"/>
                    <a:pt x="1729" y="15"/>
                    <a:pt x="1742" y="9"/>
                  </a:cubicBezTo>
                  <a:cubicBezTo>
                    <a:pt x="1755" y="3"/>
                    <a:pt x="1770" y="0"/>
                    <a:pt x="1787" y="0"/>
                  </a:cubicBezTo>
                  <a:cubicBezTo>
                    <a:pt x="1804" y="0"/>
                    <a:pt x="1819" y="3"/>
                    <a:pt x="1831" y="9"/>
                  </a:cubicBezTo>
                  <a:cubicBezTo>
                    <a:pt x="1844" y="14"/>
                    <a:pt x="1854" y="22"/>
                    <a:pt x="1862" y="32"/>
                  </a:cubicBezTo>
                  <a:cubicBezTo>
                    <a:pt x="1870" y="41"/>
                    <a:pt x="1876" y="52"/>
                    <a:pt x="1879" y="65"/>
                  </a:cubicBezTo>
                  <a:cubicBezTo>
                    <a:pt x="1883" y="78"/>
                    <a:pt x="1885" y="92"/>
                    <a:pt x="1885" y="106"/>
                  </a:cubicBezTo>
                  <a:lnTo>
                    <a:pt x="1885" y="114"/>
                  </a:lnTo>
                  <a:close/>
                  <a:moveTo>
                    <a:pt x="1844" y="102"/>
                  </a:moveTo>
                  <a:cubicBezTo>
                    <a:pt x="1844" y="80"/>
                    <a:pt x="1840" y="63"/>
                    <a:pt x="1829" y="51"/>
                  </a:cubicBezTo>
                  <a:cubicBezTo>
                    <a:pt x="1819" y="39"/>
                    <a:pt x="1805" y="32"/>
                    <a:pt x="1785" y="32"/>
                  </a:cubicBezTo>
                  <a:cubicBezTo>
                    <a:pt x="1775" y="32"/>
                    <a:pt x="1766" y="34"/>
                    <a:pt x="1758" y="38"/>
                  </a:cubicBezTo>
                  <a:cubicBezTo>
                    <a:pt x="1751" y="42"/>
                    <a:pt x="1744" y="47"/>
                    <a:pt x="1739" y="53"/>
                  </a:cubicBezTo>
                  <a:cubicBezTo>
                    <a:pt x="1734" y="60"/>
                    <a:pt x="1730" y="67"/>
                    <a:pt x="1727" y="75"/>
                  </a:cubicBezTo>
                  <a:cubicBezTo>
                    <a:pt x="1724" y="84"/>
                    <a:pt x="1723" y="92"/>
                    <a:pt x="1722" y="102"/>
                  </a:cubicBezTo>
                  <a:lnTo>
                    <a:pt x="1844" y="10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1" name="Freeform 1773"/>
            <p:cNvSpPr>
              <a:spLocks noEditPoints="1"/>
            </p:cNvSpPr>
            <p:nvPr/>
          </p:nvSpPr>
          <p:spPr bwMode="auto">
            <a:xfrm>
              <a:off x="1401858" y="1834041"/>
              <a:ext cx="430346" cy="157395"/>
            </a:xfrm>
            <a:custGeom>
              <a:avLst/>
              <a:gdLst/>
              <a:ahLst/>
              <a:cxnLst>
                <a:cxn ang="0">
                  <a:pos x="66" y="292"/>
                </a:cxn>
                <a:cxn ang="0">
                  <a:pos x="2" y="276"/>
                </a:cxn>
                <a:cxn ang="0">
                  <a:pos x="1" y="241"/>
                </a:cxn>
                <a:cxn ang="0">
                  <a:pos x="38" y="249"/>
                </a:cxn>
                <a:cxn ang="0">
                  <a:pos x="110" y="210"/>
                </a:cxn>
                <a:cxn ang="0">
                  <a:pos x="37" y="173"/>
                </a:cxn>
                <a:cxn ang="0">
                  <a:pos x="13" y="41"/>
                </a:cxn>
                <a:cxn ang="0">
                  <a:pos x="148" y="49"/>
                </a:cxn>
                <a:cxn ang="0">
                  <a:pos x="52" y="135"/>
                </a:cxn>
                <a:cxn ang="0">
                  <a:pos x="158" y="175"/>
                </a:cxn>
                <a:cxn ang="0">
                  <a:pos x="308" y="287"/>
                </a:cxn>
                <a:cxn ang="0">
                  <a:pos x="204" y="276"/>
                </a:cxn>
                <a:cxn ang="0">
                  <a:pos x="200" y="239"/>
                </a:cxn>
                <a:cxn ang="0">
                  <a:pos x="263" y="251"/>
                </a:cxn>
                <a:cxn ang="0">
                  <a:pos x="303" y="201"/>
                </a:cxn>
                <a:cxn ang="0">
                  <a:pos x="227" y="178"/>
                </a:cxn>
                <a:cxn ang="0">
                  <a:pos x="224" y="145"/>
                </a:cxn>
                <a:cxn ang="0">
                  <a:pos x="287" y="131"/>
                </a:cxn>
                <a:cxn ang="0">
                  <a:pos x="280" y="76"/>
                </a:cxn>
                <a:cxn ang="0">
                  <a:pos x="210" y="93"/>
                </a:cxn>
                <a:cxn ang="0">
                  <a:pos x="204" y="66"/>
                </a:cxn>
                <a:cxn ang="0">
                  <a:pos x="232" y="41"/>
                </a:cxn>
                <a:cxn ang="0">
                  <a:pos x="349" y="69"/>
                </a:cxn>
                <a:cxn ang="0">
                  <a:pos x="309" y="156"/>
                </a:cxn>
                <a:cxn ang="0">
                  <a:pos x="365" y="214"/>
                </a:cxn>
                <a:cxn ang="0">
                  <a:pos x="480" y="292"/>
                </a:cxn>
                <a:cxn ang="0">
                  <a:pos x="397" y="207"/>
                </a:cxn>
                <a:cxn ang="0">
                  <a:pos x="413" y="136"/>
                </a:cxn>
                <a:cxn ang="0">
                  <a:pos x="449" y="38"/>
                </a:cxn>
                <a:cxn ang="0">
                  <a:pos x="564" y="94"/>
                </a:cxn>
                <a:cxn ang="0">
                  <a:pos x="542" y="169"/>
                </a:cxn>
                <a:cxn ang="0">
                  <a:pos x="513" y="87"/>
                </a:cxn>
                <a:cxn ang="0">
                  <a:pos x="450" y="98"/>
                </a:cxn>
                <a:cxn ang="0">
                  <a:pos x="507" y="120"/>
                </a:cxn>
                <a:cxn ang="0">
                  <a:pos x="498" y="190"/>
                </a:cxn>
                <a:cxn ang="0">
                  <a:pos x="444" y="224"/>
                </a:cxn>
                <a:cxn ang="0">
                  <a:pos x="632" y="338"/>
                </a:cxn>
                <a:cxn ang="0">
                  <a:pos x="594" y="345"/>
                </a:cxn>
                <a:cxn ang="0">
                  <a:pos x="702" y="5"/>
                </a:cxn>
                <a:cxn ang="0">
                  <a:pos x="745" y="3"/>
                </a:cxn>
                <a:cxn ang="0">
                  <a:pos x="936" y="239"/>
                </a:cxn>
                <a:cxn ang="0">
                  <a:pos x="801" y="277"/>
                </a:cxn>
                <a:cxn ang="0">
                  <a:pos x="771" y="142"/>
                </a:cxn>
                <a:cxn ang="0">
                  <a:pos x="876" y="33"/>
                </a:cxn>
                <a:cxn ang="0">
                  <a:pos x="924" y="45"/>
                </a:cxn>
                <a:cxn ang="0">
                  <a:pos x="925" y="76"/>
                </a:cxn>
                <a:cxn ang="0">
                  <a:pos x="892" y="73"/>
                </a:cxn>
                <a:cxn ang="0">
                  <a:pos x="819" y="145"/>
                </a:cxn>
                <a:cxn ang="0">
                  <a:pos x="903" y="135"/>
                </a:cxn>
                <a:cxn ang="0">
                  <a:pos x="890" y="192"/>
                </a:cxn>
                <a:cxn ang="0">
                  <a:pos x="838" y="172"/>
                </a:cxn>
                <a:cxn ang="0">
                  <a:pos x="840" y="250"/>
                </a:cxn>
                <a:cxn ang="0">
                  <a:pos x="892" y="209"/>
                </a:cxn>
              </a:cxnLst>
              <a:rect l="0" t="0" r="r" b="b"/>
              <a:pathLst>
                <a:path w="942" h="346">
                  <a:moveTo>
                    <a:pt x="164" y="206"/>
                  </a:moveTo>
                  <a:cubicBezTo>
                    <a:pt x="164" y="220"/>
                    <a:pt x="161" y="232"/>
                    <a:pt x="157" y="243"/>
                  </a:cubicBezTo>
                  <a:cubicBezTo>
                    <a:pt x="152" y="253"/>
                    <a:pt x="145" y="262"/>
                    <a:pt x="137" y="269"/>
                  </a:cubicBezTo>
                  <a:cubicBezTo>
                    <a:pt x="128" y="277"/>
                    <a:pt x="118" y="282"/>
                    <a:pt x="106" y="286"/>
                  </a:cubicBezTo>
                  <a:cubicBezTo>
                    <a:pt x="94" y="290"/>
                    <a:pt x="80" y="292"/>
                    <a:pt x="66" y="292"/>
                  </a:cubicBezTo>
                  <a:cubicBezTo>
                    <a:pt x="58" y="292"/>
                    <a:pt x="51" y="291"/>
                    <a:pt x="44" y="290"/>
                  </a:cubicBezTo>
                  <a:cubicBezTo>
                    <a:pt x="37" y="290"/>
                    <a:pt x="31" y="288"/>
                    <a:pt x="25" y="287"/>
                  </a:cubicBezTo>
                  <a:cubicBezTo>
                    <a:pt x="19" y="285"/>
                    <a:pt x="15" y="284"/>
                    <a:pt x="11" y="282"/>
                  </a:cubicBezTo>
                  <a:cubicBezTo>
                    <a:pt x="8" y="281"/>
                    <a:pt x="6" y="280"/>
                    <a:pt x="4" y="279"/>
                  </a:cubicBezTo>
                  <a:cubicBezTo>
                    <a:pt x="3" y="278"/>
                    <a:pt x="2" y="277"/>
                    <a:pt x="2" y="276"/>
                  </a:cubicBezTo>
                  <a:cubicBezTo>
                    <a:pt x="1" y="274"/>
                    <a:pt x="1" y="273"/>
                    <a:pt x="1" y="271"/>
                  </a:cubicBezTo>
                  <a:cubicBezTo>
                    <a:pt x="0" y="270"/>
                    <a:pt x="0" y="268"/>
                    <a:pt x="0" y="265"/>
                  </a:cubicBezTo>
                  <a:cubicBezTo>
                    <a:pt x="0" y="263"/>
                    <a:pt x="0" y="260"/>
                    <a:pt x="0" y="257"/>
                  </a:cubicBezTo>
                  <a:cubicBezTo>
                    <a:pt x="0" y="253"/>
                    <a:pt x="0" y="250"/>
                    <a:pt x="0" y="247"/>
                  </a:cubicBezTo>
                  <a:cubicBezTo>
                    <a:pt x="0" y="245"/>
                    <a:pt x="1" y="243"/>
                    <a:pt x="1" y="241"/>
                  </a:cubicBezTo>
                  <a:cubicBezTo>
                    <a:pt x="2" y="240"/>
                    <a:pt x="3" y="239"/>
                    <a:pt x="4" y="238"/>
                  </a:cubicBezTo>
                  <a:cubicBezTo>
                    <a:pt x="4" y="237"/>
                    <a:pt x="5" y="237"/>
                    <a:pt x="6" y="237"/>
                  </a:cubicBezTo>
                  <a:cubicBezTo>
                    <a:pt x="7" y="237"/>
                    <a:pt x="9" y="238"/>
                    <a:pt x="12" y="239"/>
                  </a:cubicBezTo>
                  <a:cubicBezTo>
                    <a:pt x="15" y="241"/>
                    <a:pt x="18" y="242"/>
                    <a:pt x="23" y="244"/>
                  </a:cubicBezTo>
                  <a:cubicBezTo>
                    <a:pt x="27" y="246"/>
                    <a:pt x="32" y="248"/>
                    <a:pt x="38" y="249"/>
                  </a:cubicBezTo>
                  <a:cubicBezTo>
                    <a:pt x="44" y="251"/>
                    <a:pt x="52" y="251"/>
                    <a:pt x="61" y="251"/>
                  </a:cubicBezTo>
                  <a:cubicBezTo>
                    <a:pt x="68" y="251"/>
                    <a:pt x="75" y="251"/>
                    <a:pt x="81" y="249"/>
                  </a:cubicBezTo>
                  <a:cubicBezTo>
                    <a:pt x="87" y="248"/>
                    <a:pt x="92" y="245"/>
                    <a:pt x="96" y="242"/>
                  </a:cubicBezTo>
                  <a:cubicBezTo>
                    <a:pt x="101" y="238"/>
                    <a:pt x="104" y="234"/>
                    <a:pt x="106" y="229"/>
                  </a:cubicBezTo>
                  <a:cubicBezTo>
                    <a:pt x="109" y="224"/>
                    <a:pt x="110" y="217"/>
                    <a:pt x="110" y="210"/>
                  </a:cubicBezTo>
                  <a:cubicBezTo>
                    <a:pt x="110" y="204"/>
                    <a:pt x="109" y="199"/>
                    <a:pt x="107" y="194"/>
                  </a:cubicBezTo>
                  <a:cubicBezTo>
                    <a:pt x="105" y="189"/>
                    <a:pt x="102" y="185"/>
                    <a:pt x="98" y="181"/>
                  </a:cubicBezTo>
                  <a:cubicBezTo>
                    <a:pt x="94" y="178"/>
                    <a:pt x="88" y="176"/>
                    <a:pt x="82" y="174"/>
                  </a:cubicBezTo>
                  <a:cubicBezTo>
                    <a:pt x="75" y="172"/>
                    <a:pt x="67" y="171"/>
                    <a:pt x="58" y="171"/>
                  </a:cubicBezTo>
                  <a:cubicBezTo>
                    <a:pt x="50" y="171"/>
                    <a:pt x="44" y="172"/>
                    <a:pt x="37" y="173"/>
                  </a:cubicBezTo>
                  <a:cubicBezTo>
                    <a:pt x="31" y="173"/>
                    <a:pt x="26" y="174"/>
                    <a:pt x="20" y="174"/>
                  </a:cubicBezTo>
                  <a:cubicBezTo>
                    <a:pt x="16" y="174"/>
                    <a:pt x="14" y="173"/>
                    <a:pt x="12" y="171"/>
                  </a:cubicBezTo>
                  <a:cubicBezTo>
                    <a:pt x="11" y="169"/>
                    <a:pt x="10" y="166"/>
                    <a:pt x="10" y="161"/>
                  </a:cubicBezTo>
                  <a:lnTo>
                    <a:pt x="10" y="52"/>
                  </a:lnTo>
                  <a:cubicBezTo>
                    <a:pt x="10" y="47"/>
                    <a:pt x="11" y="43"/>
                    <a:pt x="13" y="41"/>
                  </a:cubicBezTo>
                  <a:cubicBezTo>
                    <a:pt x="15" y="39"/>
                    <a:pt x="18" y="37"/>
                    <a:pt x="22" y="37"/>
                  </a:cubicBezTo>
                  <a:lnTo>
                    <a:pt x="141" y="37"/>
                  </a:lnTo>
                  <a:cubicBezTo>
                    <a:pt x="142" y="37"/>
                    <a:pt x="143" y="38"/>
                    <a:pt x="144" y="39"/>
                  </a:cubicBezTo>
                  <a:cubicBezTo>
                    <a:pt x="145" y="39"/>
                    <a:pt x="146" y="41"/>
                    <a:pt x="147" y="42"/>
                  </a:cubicBezTo>
                  <a:cubicBezTo>
                    <a:pt x="147" y="44"/>
                    <a:pt x="148" y="46"/>
                    <a:pt x="148" y="49"/>
                  </a:cubicBezTo>
                  <a:cubicBezTo>
                    <a:pt x="149" y="52"/>
                    <a:pt x="149" y="55"/>
                    <a:pt x="149" y="59"/>
                  </a:cubicBezTo>
                  <a:cubicBezTo>
                    <a:pt x="149" y="67"/>
                    <a:pt x="148" y="72"/>
                    <a:pt x="147" y="76"/>
                  </a:cubicBezTo>
                  <a:cubicBezTo>
                    <a:pt x="145" y="79"/>
                    <a:pt x="143" y="81"/>
                    <a:pt x="141" y="81"/>
                  </a:cubicBezTo>
                  <a:lnTo>
                    <a:pt x="52" y="81"/>
                  </a:lnTo>
                  <a:lnTo>
                    <a:pt x="52" y="135"/>
                  </a:lnTo>
                  <a:cubicBezTo>
                    <a:pt x="56" y="134"/>
                    <a:pt x="61" y="134"/>
                    <a:pt x="65" y="134"/>
                  </a:cubicBezTo>
                  <a:cubicBezTo>
                    <a:pt x="70" y="133"/>
                    <a:pt x="74" y="133"/>
                    <a:pt x="79" y="133"/>
                  </a:cubicBezTo>
                  <a:cubicBezTo>
                    <a:pt x="93" y="133"/>
                    <a:pt x="105" y="135"/>
                    <a:pt x="115" y="138"/>
                  </a:cubicBezTo>
                  <a:cubicBezTo>
                    <a:pt x="126" y="141"/>
                    <a:pt x="135" y="146"/>
                    <a:pt x="142" y="152"/>
                  </a:cubicBezTo>
                  <a:cubicBezTo>
                    <a:pt x="149" y="158"/>
                    <a:pt x="154" y="166"/>
                    <a:pt x="158" y="175"/>
                  </a:cubicBezTo>
                  <a:cubicBezTo>
                    <a:pt x="162" y="184"/>
                    <a:pt x="164" y="194"/>
                    <a:pt x="164" y="206"/>
                  </a:cubicBezTo>
                  <a:close/>
                  <a:moveTo>
                    <a:pt x="365" y="214"/>
                  </a:moveTo>
                  <a:cubicBezTo>
                    <a:pt x="365" y="227"/>
                    <a:pt x="363" y="238"/>
                    <a:pt x="358" y="248"/>
                  </a:cubicBezTo>
                  <a:cubicBezTo>
                    <a:pt x="354" y="257"/>
                    <a:pt x="347" y="265"/>
                    <a:pt x="338" y="272"/>
                  </a:cubicBezTo>
                  <a:cubicBezTo>
                    <a:pt x="330" y="278"/>
                    <a:pt x="320" y="283"/>
                    <a:pt x="308" y="287"/>
                  </a:cubicBezTo>
                  <a:cubicBezTo>
                    <a:pt x="296" y="290"/>
                    <a:pt x="283" y="292"/>
                    <a:pt x="269" y="292"/>
                  </a:cubicBezTo>
                  <a:cubicBezTo>
                    <a:pt x="260" y="292"/>
                    <a:pt x="253" y="291"/>
                    <a:pt x="245" y="290"/>
                  </a:cubicBezTo>
                  <a:cubicBezTo>
                    <a:pt x="238" y="289"/>
                    <a:pt x="231" y="287"/>
                    <a:pt x="225" y="286"/>
                  </a:cubicBezTo>
                  <a:cubicBezTo>
                    <a:pt x="220" y="284"/>
                    <a:pt x="215" y="282"/>
                    <a:pt x="211" y="280"/>
                  </a:cubicBezTo>
                  <a:cubicBezTo>
                    <a:pt x="207" y="278"/>
                    <a:pt x="205" y="277"/>
                    <a:pt x="204" y="276"/>
                  </a:cubicBezTo>
                  <a:cubicBezTo>
                    <a:pt x="203" y="275"/>
                    <a:pt x="202" y="273"/>
                    <a:pt x="201" y="272"/>
                  </a:cubicBezTo>
                  <a:cubicBezTo>
                    <a:pt x="201" y="271"/>
                    <a:pt x="200" y="269"/>
                    <a:pt x="200" y="268"/>
                  </a:cubicBezTo>
                  <a:cubicBezTo>
                    <a:pt x="199" y="266"/>
                    <a:pt x="199" y="264"/>
                    <a:pt x="199" y="261"/>
                  </a:cubicBezTo>
                  <a:cubicBezTo>
                    <a:pt x="198" y="258"/>
                    <a:pt x="198" y="255"/>
                    <a:pt x="198" y="251"/>
                  </a:cubicBezTo>
                  <a:cubicBezTo>
                    <a:pt x="198" y="245"/>
                    <a:pt x="199" y="241"/>
                    <a:pt x="200" y="239"/>
                  </a:cubicBezTo>
                  <a:cubicBezTo>
                    <a:pt x="201" y="236"/>
                    <a:pt x="202" y="235"/>
                    <a:pt x="204" y="235"/>
                  </a:cubicBezTo>
                  <a:cubicBezTo>
                    <a:pt x="206" y="235"/>
                    <a:pt x="208" y="236"/>
                    <a:pt x="211" y="238"/>
                  </a:cubicBezTo>
                  <a:cubicBezTo>
                    <a:pt x="214" y="239"/>
                    <a:pt x="218" y="241"/>
                    <a:pt x="223" y="243"/>
                  </a:cubicBezTo>
                  <a:cubicBezTo>
                    <a:pt x="228" y="245"/>
                    <a:pt x="234" y="247"/>
                    <a:pt x="240" y="249"/>
                  </a:cubicBezTo>
                  <a:cubicBezTo>
                    <a:pt x="247" y="251"/>
                    <a:pt x="254" y="251"/>
                    <a:pt x="263" y="251"/>
                  </a:cubicBezTo>
                  <a:cubicBezTo>
                    <a:pt x="270" y="251"/>
                    <a:pt x="276" y="251"/>
                    <a:pt x="282" y="249"/>
                  </a:cubicBezTo>
                  <a:cubicBezTo>
                    <a:pt x="287" y="247"/>
                    <a:pt x="292" y="245"/>
                    <a:pt x="295" y="242"/>
                  </a:cubicBezTo>
                  <a:cubicBezTo>
                    <a:pt x="299" y="239"/>
                    <a:pt x="302" y="235"/>
                    <a:pt x="304" y="231"/>
                  </a:cubicBezTo>
                  <a:cubicBezTo>
                    <a:pt x="306" y="227"/>
                    <a:pt x="307" y="222"/>
                    <a:pt x="307" y="216"/>
                  </a:cubicBezTo>
                  <a:cubicBezTo>
                    <a:pt x="307" y="211"/>
                    <a:pt x="306" y="205"/>
                    <a:pt x="303" y="201"/>
                  </a:cubicBezTo>
                  <a:cubicBezTo>
                    <a:pt x="301" y="196"/>
                    <a:pt x="298" y="192"/>
                    <a:pt x="293" y="189"/>
                  </a:cubicBezTo>
                  <a:cubicBezTo>
                    <a:pt x="289" y="186"/>
                    <a:pt x="283" y="183"/>
                    <a:pt x="276" y="181"/>
                  </a:cubicBezTo>
                  <a:cubicBezTo>
                    <a:pt x="270" y="179"/>
                    <a:pt x="262" y="179"/>
                    <a:pt x="253" y="179"/>
                  </a:cubicBezTo>
                  <a:lnTo>
                    <a:pt x="231" y="179"/>
                  </a:lnTo>
                  <a:cubicBezTo>
                    <a:pt x="229" y="179"/>
                    <a:pt x="228" y="178"/>
                    <a:pt x="227" y="178"/>
                  </a:cubicBezTo>
                  <a:cubicBezTo>
                    <a:pt x="226" y="177"/>
                    <a:pt x="225" y="176"/>
                    <a:pt x="224" y="175"/>
                  </a:cubicBezTo>
                  <a:cubicBezTo>
                    <a:pt x="223" y="174"/>
                    <a:pt x="223" y="172"/>
                    <a:pt x="222" y="169"/>
                  </a:cubicBezTo>
                  <a:cubicBezTo>
                    <a:pt x="222" y="167"/>
                    <a:pt x="222" y="163"/>
                    <a:pt x="222" y="159"/>
                  </a:cubicBezTo>
                  <a:cubicBezTo>
                    <a:pt x="222" y="156"/>
                    <a:pt x="222" y="153"/>
                    <a:pt x="222" y="150"/>
                  </a:cubicBezTo>
                  <a:cubicBezTo>
                    <a:pt x="223" y="148"/>
                    <a:pt x="223" y="146"/>
                    <a:pt x="224" y="145"/>
                  </a:cubicBezTo>
                  <a:cubicBezTo>
                    <a:pt x="224" y="143"/>
                    <a:pt x="225" y="143"/>
                    <a:pt x="226" y="142"/>
                  </a:cubicBezTo>
                  <a:cubicBezTo>
                    <a:pt x="228" y="141"/>
                    <a:pt x="229" y="141"/>
                    <a:pt x="230" y="141"/>
                  </a:cubicBezTo>
                  <a:lnTo>
                    <a:pt x="252" y="141"/>
                  </a:lnTo>
                  <a:cubicBezTo>
                    <a:pt x="260" y="141"/>
                    <a:pt x="266" y="140"/>
                    <a:pt x="272" y="139"/>
                  </a:cubicBezTo>
                  <a:cubicBezTo>
                    <a:pt x="278" y="137"/>
                    <a:pt x="283" y="134"/>
                    <a:pt x="287" y="131"/>
                  </a:cubicBezTo>
                  <a:cubicBezTo>
                    <a:pt x="291" y="128"/>
                    <a:pt x="294" y="124"/>
                    <a:pt x="296" y="120"/>
                  </a:cubicBezTo>
                  <a:cubicBezTo>
                    <a:pt x="298" y="115"/>
                    <a:pt x="299" y="110"/>
                    <a:pt x="299" y="104"/>
                  </a:cubicBezTo>
                  <a:cubicBezTo>
                    <a:pt x="299" y="100"/>
                    <a:pt x="298" y="96"/>
                    <a:pt x="297" y="92"/>
                  </a:cubicBezTo>
                  <a:cubicBezTo>
                    <a:pt x="295" y="88"/>
                    <a:pt x="293" y="85"/>
                    <a:pt x="290" y="82"/>
                  </a:cubicBezTo>
                  <a:cubicBezTo>
                    <a:pt x="288" y="80"/>
                    <a:pt x="284" y="77"/>
                    <a:pt x="280" y="76"/>
                  </a:cubicBezTo>
                  <a:cubicBezTo>
                    <a:pt x="275" y="74"/>
                    <a:pt x="270" y="73"/>
                    <a:pt x="264" y="73"/>
                  </a:cubicBezTo>
                  <a:cubicBezTo>
                    <a:pt x="257" y="73"/>
                    <a:pt x="251" y="74"/>
                    <a:pt x="245" y="76"/>
                  </a:cubicBezTo>
                  <a:cubicBezTo>
                    <a:pt x="239" y="78"/>
                    <a:pt x="234" y="81"/>
                    <a:pt x="229" y="83"/>
                  </a:cubicBezTo>
                  <a:cubicBezTo>
                    <a:pt x="225" y="85"/>
                    <a:pt x="221" y="88"/>
                    <a:pt x="217" y="90"/>
                  </a:cubicBezTo>
                  <a:cubicBezTo>
                    <a:pt x="214" y="92"/>
                    <a:pt x="212" y="93"/>
                    <a:pt x="210" y="93"/>
                  </a:cubicBezTo>
                  <a:cubicBezTo>
                    <a:pt x="209" y="93"/>
                    <a:pt x="208" y="92"/>
                    <a:pt x="207" y="92"/>
                  </a:cubicBezTo>
                  <a:cubicBezTo>
                    <a:pt x="207" y="92"/>
                    <a:pt x="206" y="91"/>
                    <a:pt x="205" y="89"/>
                  </a:cubicBezTo>
                  <a:cubicBezTo>
                    <a:pt x="205" y="88"/>
                    <a:pt x="205" y="86"/>
                    <a:pt x="204" y="84"/>
                  </a:cubicBezTo>
                  <a:cubicBezTo>
                    <a:pt x="204" y="81"/>
                    <a:pt x="204" y="78"/>
                    <a:pt x="204" y="74"/>
                  </a:cubicBezTo>
                  <a:cubicBezTo>
                    <a:pt x="204" y="71"/>
                    <a:pt x="204" y="68"/>
                    <a:pt x="204" y="66"/>
                  </a:cubicBezTo>
                  <a:cubicBezTo>
                    <a:pt x="204" y="64"/>
                    <a:pt x="204" y="62"/>
                    <a:pt x="205" y="61"/>
                  </a:cubicBezTo>
                  <a:cubicBezTo>
                    <a:pt x="205" y="60"/>
                    <a:pt x="206" y="58"/>
                    <a:pt x="206" y="57"/>
                  </a:cubicBezTo>
                  <a:cubicBezTo>
                    <a:pt x="207" y="56"/>
                    <a:pt x="208" y="55"/>
                    <a:pt x="209" y="54"/>
                  </a:cubicBezTo>
                  <a:cubicBezTo>
                    <a:pt x="210" y="53"/>
                    <a:pt x="213" y="51"/>
                    <a:pt x="217" y="49"/>
                  </a:cubicBezTo>
                  <a:cubicBezTo>
                    <a:pt x="221" y="46"/>
                    <a:pt x="226" y="44"/>
                    <a:pt x="232" y="41"/>
                  </a:cubicBezTo>
                  <a:cubicBezTo>
                    <a:pt x="238" y="39"/>
                    <a:pt x="245" y="37"/>
                    <a:pt x="253" y="35"/>
                  </a:cubicBezTo>
                  <a:cubicBezTo>
                    <a:pt x="261" y="34"/>
                    <a:pt x="270" y="33"/>
                    <a:pt x="279" y="33"/>
                  </a:cubicBezTo>
                  <a:cubicBezTo>
                    <a:pt x="291" y="33"/>
                    <a:pt x="302" y="34"/>
                    <a:pt x="311" y="37"/>
                  </a:cubicBezTo>
                  <a:cubicBezTo>
                    <a:pt x="320" y="40"/>
                    <a:pt x="328" y="44"/>
                    <a:pt x="335" y="50"/>
                  </a:cubicBezTo>
                  <a:cubicBezTo>
                    <a:pt x="341" y="55"/>
                    <a:pt x="346" y="61"/>
                    <a:pt x="349" y="69"/>
                  </a:cubicBezTo>
                  <a:cubicBezTo>
                    <a:pt x="352" y="77"/>
                    <a:pt x="354" y="86"/>
                    <a:pt x="354" y="96"/>
                  </a:cubicBezTo>
                  <a:cubicBezTo>
                    <a:pt x="354" y="103"/>
                    <a:pt x="353" y="110"/>
                    <a:pt x="351" y="117"/>
                  </a:cubicBezTo>
                  <a:cubicBezTo>
                    <a:pt x="349" y="123"/>
                    <a:pt x="346" y="129"/>
                    <a:pt x="343" y="135"/>
                  </a:cubicBezTo>
                  <a:cubicBezTo>
                    <a:pt x="339" y="140"/>
                    <a:pt x="334" y="144"/>
                    <a:pt x="329" y="148"/>
                  </a:cubicBezTo>
                  <a:cubicBezTo>
                    <a:pt x="323" y="151"/>
                    <a:pt x="317" y="154"/>
                    <a:pt x="309" y="156"/>
                  </a:cubicBezTo>
                  <a:lnTo>
                    <a:pt x="309" y="156"/>
                  </a:lnTo>
                  <a:cubicBezTo>
                    <a:pt x="318" y="157"/>
                    <a:pt x="326" y="160"/>
                    <a:pt x="333" y="163"/>
                  </a:cubicBezTo>
                  <a:cubicBezTo>
                    <a:pt x="340" y="166"/>
                    <a:pt x="346" y="171"/>
                    <a:pt x="350" y="176"/>
                  </a:cubicBezTo>
                  <a:cubicBezTo>
                    <a:pt x="355" y="181"/>
                    <a:pt x="359" y="187"/>
                    <a:pt x="362" y="193"/>
                  </a:cubicBezTo>
                  <a:cubicBezTo>
                    <a:pt x="364" y="200"/>
                    <a:pt x="365" y="207"/>
                    <a:pt x="365" y="214"/>
                  </a:cubicBezTo>
                  <a:close/>
                  <a:moveTo>
                    <a:pt x="571" y="220"/>
                  </a:moveTo>
                  <a:cubicBezTo>
                    <a:pt x="571" y="232"/>
                    <a:pt x="569" y="242"/>
                    <a:pt x="565" y="251"/>
                  </a:cubicBezTo>
                  <a:cubicBezTo>
                    <a:pt x="561" y="260"/>
                    <a:pt x="555" y="267"/>
                    <a:pt x="548" y="273"/>
                  </a:cubicBezTo>
                  <a:cubicBezTo>
                    <a:pt x="540" y="279"/>
                    <a:pt x="531" y="284"/>
                    <a:pt x="519" y="287"/>
                  </a:cubicBezTo>
                  <a:cubicBezTo>
                    <a:pt x="508" y="290"/>
                    <a:pt x="495" y="292"/>
                    <a:pt x="480" y="292"/>
                  </a:cubicBezTo>
                  <a:cubicBezTo>
                    <a:pt x="466" y="292"/>
                    <a:pt x="453" y="291"/>
                    <a:pt x="443" y="288"/>
                  </a:cubicBezTo>
                  <a:cubicBezTo>
                    <a:pt x="432" y="285"/>
                    <a:pt x="423" y="281"/>
                    <a:pt x="416" y="275"/>
                  </a:cubicBezTo>
                  <a:cubicBezTo>
                    <a:pt x="409" y="270"/>
                    <a:pt x="403" y="263"/>
                    <a:pt x="400" y="255"/>
                  </a:cubicBezTo>
                  <a:cubicBezTo>
                    <a:pt x="396" y="247"/>
                    <a:pt x="394" y="238"/>
                    <a:pt x="394" y="227"/>
                  </a:cubicBezTo>
                  <a:cubicBezTo>
                    <a:pt x="394" y="220"/>
                    <a:pt x="395" y="213"/>
                    <a:pt x="397" y="207"/>
                  </a:cubicBezTo>
                  <a:cubicBezTo>
                    <a:pt x="400" y="201"/>
                    <a:pt x="403" y="195"/>
                    <a:pt x="407" y="190"/>
                  </a:cubicBezTo>
                  <a:cubicBezTo>
                    <a:pt x="411" y="185"/>
                    <a:pt x="416" y="179"/>
                    <a:pt x="423" y="175"/>
                  </a:cubicBezTo>
                  <a:cubicBezTo>
                    <a:pt x="429" y="170"/>
                    <a:pt x="436" y="166"/>
                    <a:pt x="444" y="161"/>
                  </a:cubicBezTo>
                  <a:cubicBezTo>
                    <a:pt x="438" y="158"/>
                    <a:pt x="432" y="154"/>
                    <a:pt x="426" y="150"/>
                  </a:cubicBezTo>
                  <a:cubicBezTo>
                    <a:pt x="421" y="145"/>
                    <a:pt x="417" y="141"/>
                    <a:pt x="413" y="136"/>
                  </a:cubicBezTo>
                  <a:cubicBezTo>
                    <a:pt x="409" y="131"/>
                    <a:pt x="406" y="126"/>
                    <a:pt x="404" y="120"/>
                  </a:cubicBezTo>
                  <a:cubicBezTo>
                    <a:pt x="402" y="114"/>
                    <a:pt x="401" y="107"/>
                    <a:pt x="401" y="100"/>
                  </a:cubicBezTo>
                  <a:cubicBezTo>
                    <a:pt x="401" y="90"/>
                    <a:pt x="403" y="81"/>
                    <a:pt x="407" y="73"/>
                  </a:cubicBezTo>
                  <a:cubicBezTo>
                    <a:pt x="410" y="65"/>
                    <a:pt x="415" y="58"/>
                    <a:pt x="423" y="52"/>
                  </a:cubicBezTo>
                  <a:cubicBezTo>
                    <a:pt x="430" y="46"/>
                    <a:pt x="438" y="41"/>
                    <a:pt x="449" y="38"/>
                  </a:cubicBezTo>
                  <a:cubicBezTo>
                    <a:pt x="459" y="35"/>
                    <a:pt x="472" y="33"/>
                    <a:pt x="486" y="33"/>
                  </a:cubicBezTo>
                  <a:cubicBezTo>
                    <a:pt x="499" y="33"/>
                    <a:pt x="511" y="35"/>
                    <a:pt x="521" y="37"/>
                  </a:cubicBezTo>
                  <a:cubicBezTo>
                    <a:pt x="531" y="40"/>
                    <a:pt x="539" y="45"/>
                    <a:pt x="545" y="50"/>
                  </a:cubicBezTo>
                  <a:cubicBezTo>
                    <a:pt x="552" y="55"/>
                    <a:pt x="556" y="62"/>
                    <a:pt x="559" y="69"/>
                  </a:cubicBezTo>
                  <a:cubicBezTo>
                    <a:pt x="562" y="77"/>
                    <a:pt x="564" y="85"/>
                    <a:pt x="564" y="94"/>
                  </a:cubicBezTo>
                  <a:cubicBezTo>
                    <a:pt x="564" y="101"/>
                    <a:pt x="563" y="106"/>
                    <a:pt x="561" y="112"/>
                  </a:cubicBezTo>
                  <a:cubicBezTo>
                    <a:pt x="559" y="118"/>
                    <a:pt x="556" y="123"/>
                    <a:pt x="552" y="129"/>
                  </a:cubicBezTo>
                  <a:cubicBezTo>
                    <a:pt x="549" y="134"/>
                    <a:pt x="544" y="139"/>
                    <a:pt x="539" y="143"/>
                  </a:cubicBezTo>
                  <a:cubicBezTo>
                    <a:pt x="534" y="148"/>
                    <a:pt x="528" y="152"/>
                    <a:pt x="521" y="156"/>
                  </a:cubicBezTo>
                  <a:cubicBezTo>
                    <a:pt x="529" y="160"/>
                    <a:pt x="536" y="164"/>
                    <a:pt x="542" y="169"/>
                  </a:cubicBezTo>
                  <a:cubicBezTo>
                    <a:pt x="548" y="173"/>
                    <a:pt x="554" y="178"/>
                    <a:pt x="558" y="184"/>
                  </a:cubicBezTo>
                  <a:cubicBezTo>
                    <a:pt x="562" y="189"/>
                    <a:pt x="565" y="195"/>
                    <a:pt x="568" y="201"/>
                  </a:cubicBezTo>
                  <a:cubicBezTo>
                    <a:pt x="570" y="207"/>
                    <a:pt x="571" y="213"/>
                    <a:pt x="571" y="220"/>
                  </a:cubicBezTo>
                  <a:close/>
                  <a:moveTo>
                    <a:pt x="515" y="99"/>
                  </a:moveTo>
                  <a:cubicBezTo>
                    <a:pt x="515" y="95"/>
                    <a:pt x="514" y="91"/>
                    <a:pt x="513" y="87"/>
                  </a:cubicBezTo>
                  <a:cubicBezTo>
                    <a:pt x="512" y="83"/>
                    <a:pt x="510" y="80"/>
                    <a:pt x="507" y="78"/>
                  </a:cubicBezTo>
                  <a:cubicBezTo>
                    <a:pt x="504" y="75"/>
                    <a:pt x="501" y="73"/>
                    <a:pt x="497" y="72"/>
                  </a:cubicBezTo>
                  <a:cubicBezTo>
                    <a:pt x="493" y="71"/>
                    <a:pt x="488" y="70"/>
                    <a:pt x="482" y="70"/>
                  </a:cubicBezTo>
                  <a:cubicBezTo>
                    <a:pt x="472" y="70"/>
                    <a:pt x="464" y="73"/>
                    <a:pt x="458" y="78"/>
                  </a:cubicBezTo>
                  <a:cubicBezTo>
                    <a:pt x="453" y="83"/>
                    <a:pt x="450" y="89"/>
                    <a:pt x="450" y="98"/>
                  </a:cubicBezTo>
                  <a:cubicBezTo>
                    <a:pt x="450" y="102"/>
                    <a:pt x="451" y="106"/>
                    <a:pt x="452" y="110"/>
                  </a:cubicBezTo>
                  <a:cubicBezTo>
                    <a:pt x="454" y="113"/>
                    <a:pt x="456" y="116"/>
                    <a:pt x="459" y="119"/>
                  </a:cubicBezTo>
                  <a:cubicBezTo>
                    <a:pt x="461" y="123"/>
                    <a:pt x="465" y="126"/>
                    <a:pt x="470" y="129"/>
                  </a:cubicBezTo>
                  <a:cubicBezTo>
                    <a:pt x="474" y="131"/>
                    <a:pt x="479" y="135"/>
                    <a:pt x="486" y="138"/>
                  </a:cubicBezTo>
                  <a:cubicBezTo>
                    <a:pt x="495" y="132"/>
                    <a:pt x="502" y="127"/>
                    <a:pt x="507" y="120"/>
                  </a:cubicBezTo>
                  <a:cubicBezTo>
                    <a:pt x="512" y="114"/>
                    <a:pt x="515" y="107"/>
                    <a:pt x="515" y="99"/>
                  </a:cubicBezTo>
                  <a:close/>
                  <a:moveTo>
                    <a:pt x="521" y="224"/>
                  </a:moveTo>
                  <a:cubicBezTo>
                    <a:pt x="521" y="219"/>
                    <a:pt x="520" y="215"/>
                    <a:pt x="518" y="211"/>
                  </a:cubicBezTo>
                  <a:cubicBezTo>
                    <a:pt x="517" y="207"/>
                    <a:pt x="514" y="203"/>
                    <a:pt x="511" y="200"/>
                  </a:cubicBezTo>
                  <a:cubicBezTo>
                    <a:pt x="507" y="196"/>
                    <a:pt x="503" y="193"/>
                    <a:pt x="498" y="190"/>
                  </a:cubicBezTo>
                  <a:cubicBezTo>
                    <a:pt x="493" y="187"/>
                    <a:pt x="487" y="183"/>
                    <a:pt x="480" y="180"/>
                  </a:cubicBezTo>
                  <a:cubicBezTo>
                    <a:pt x="474" y="183"/>
                    <a:pt x="469" y="186"/>
                    <a:pt x="464" y="190"/>
                  </a:cubicBezTo>
                  <a:cubicBezTo>
                    <a:pt x="460" y="193"/>
                    <a:pt x="456" y="196"/>
                    <a:pt x="453" y="200"/>
                  </a:cubicBezTo>
                  <a:cubicBezTo>
                    <a:pt x="450" y="203"/>
                    <a:pt x="448" y="207"/>
                    <a:pt x="446" y="211"/>
                  </a:cubicBezTo>
                  <a:cubicBezTo>
                    <a:pt x="445" y="215"/>
                    <a:pt x="444" y="219"/>
                    <a:pt x="444" y="224"/>
                  </a:cubicBezTo>
                  <a:cubicBezTo>
                    <a:pt x="444" y="234"/>
                    <a:pt x="448" y="241"/>
                    <a:pt x="454" y="247"/>
                  </a:cubicBezTo>
                  <a:cubicBezTo>
                    <a:pt x="461" y="252"/>
                    <a:pt x="470" y="254"/>
                    <a:pt x="483" y="254"/>
                  </a:cubicBezTo>
                  <a:cubicBezTo>
                    <a:pt x="496" y="254"/>
                    <a:pt x="505" y="252"/>
                    <a:pt x="511" y="246"/>
                  </a:cubicBezTo>
                  <a:cubicBezTo>
                    <a:pt x="518" y="241"/>
                    <a:pt x="521" y="233"/>
                    <a:pt x="521" y="224"/>
                  </a:cubicBezTo>
                  <a:close/>
                  <a:moveTo>
                    <a:pt x="632" y="338"/>
                  </a:moveTo>
                  <a:cubicBezTo>
                    <a:pt x="631" y="339"/>
                    <a:pt x="630" y="341"/>
                    <a:pt x="629" y="342"/>
                  </a:cubicBezTo>
                  <a:cubicBezTo>
                    <a:pt x="628" y="343"/>
                    <a:pt x="627" y="344"/>
                    <a:pt x="625" y="344"/>
                  </a:cubicBezTo>
                  <a:cubicBezTo>
                    <a:pt x="623" y="345"/>
                    <a:pt x="621" y="345"/>
                    <a:pt x="618" y="346"/>
                  </a:cubicBezTo>
                  <a:cubicBezTo>
                    <a:pt x="615" y="346"/>
                    <a:pt x="612" y="346"/>
                    <a:pt x="607" y="346"/>
                  </a:cubicBezTo>
                  <a:cubicBezTo>
                    <a:pt x="602" y="346"/>
                    <a:pt x="598" y="346"/>
                    <a:pt x="594" y="345"/>
                  </a:cubicBezTo>
                  <a:cubicBezTo>
                    <a:pt x="591" y="345"/>
                    <a:pt x="589" y="344"/>
                    <a:pt x="587" y="343"/>
                  </a:cubicBezTo>
                  <a:cubicBezTo>
                    <a:pt x="585" y="342"/>
                    <a:pt x="584" y="341"/>
                    <a:pt x="584" y="339"/>
                  </a:cubicBezTo>
                  <a:cubicBezTo>
                    <a:pt x="584" y="337"/>
                    <a:pt x="584" y="336"/>
                    <a:pt x="585" y="333"/>
                  </a:cubicBezTo>
                  <a:lnTo>
                    <a:pt x="700" y="9"/>
                  </a:lnTo>
                  <a:cubicBezTo>
                    <a:pt x="701" y="7"/>
                    <a:pt x="701" y="6"/>
                    <a:pt x="702" y="5"/>
                  </a:cubicBezTo>
                  <a:cubicBezTo>
                    <a:pt x="703" y="4"/>
                    <a:pt x="705" y="3"/>
                    <a:pt x="707" y="2"/>
                  </a:cubicBezTo>
                  <a:cubicBezTo>
                    <a:pt x="708" y="1"/>
                    <a:pt x="711" y="1"/>
                    <a:pt x="714" y="1"/>
                  </a:cubicBezTo>
                  <a:cubicBezTo>
                    <a:pt x="717" y="0"/>
                    <a:pt x="720" y="0"/>
                    <a:pt x="724" y="0"/>
                  </a:cubicBezTo>
                  <a:cubicBezTo>
                    <a:pt x="730" y="0"/>
                    <a:pt x="734" y="0"/>
                    <a:pt x="737" y="1"/>
                  </a:cubicBezTo>
                  <a:cubicBezTo>
                    <a:pt x="741" y="1"/>
                    <a:pt x="743" y="2"/>
                    <a:pt x="745" y="3"/>
                  </a:cubicBezTo>
                  <a:cubicBezTo>
                    <a:pt x="746" y="4"/>
                    <a:pt x="747" y="6"/>
                    <a:pt x="748" y="7"/>
                  </a:cubicBezTo>
                  <a:cubicBezTo>
                    <a:pt x="748" y="9"/>
                    <a:pt x="748" y="11"/>
                    <a:pt x="747" y="13"/>
                  </a:cubicBezTo>
                  <a:lnTo>
                    <a:pt x="632" y="338"/>
                  </a:lnTo>
                  <a:close/>
                  <a:moveTo>
                    <a:pt x="942" y="204"/>
                  </a:moveTo>
                  <a:cubicBezTo>
                    <a:pt x="942" y="217"/>
                    <a:pt x="940" y="228"/>
                    <a:pt x="936" y="239"/>
                  </a:cubicBezTo>
                  <a:cubicBezTo>
                    <a:pt x="932" y="250"/>
                    <a:pt x="926" y="259"/>
                    <a:pt x="919" y="267"/>
                  </a:cubicBezTo>
                  <a:cubicBezTo>
                    <a:pt x="911" y="275"/>
                    <a:pt x="902" y="281"/>
                    <a:pt x="891" y="285"/>
                  </a:cubicBezTo>
                  <a:cubicBezTo>
                    <a:pt x="880" y="290"/>
                    <a:pt x="868" y="292"/>
                    <a:pt x="853" y="292"/>
                  </a:cubicBezTo>
                  <a:cubicBezTo>
                    <a:pt x="842" y="292"/>
                    <a:pt x="832" y="291"/>
                    <a:pt x="823" y="288"/>
                  </a:cubicBezTo>
                  <a:cubicBezTo>
                    <a:pt x="814" y="285"/>
                    <a:pt x="807" y="282"/>
                    <a:pt x="801" y="277"/>
                  </a:cubicBezTo>
                  <a:cubicBezTo>
                    <a:pt x="794" y="272"/>
                    <a:pt x="789" y="266"/>
                    <a:pt x="785" y="259"/>
                  </a:cubicBezTo>
                  <a:cubicBezTo>
                    <a:pt x="781" y="251"/>
                    <a:pt x="778" y="243"/>
                    <a:pt x="776" y="235"/>
                  </a:cubicBezTo>
                  <a:cubicBezTo>
                    <a:pt x="773" y="226"/>
                    <a:pt x="772" y="216"/>
                    <a:pt x="771" y="206"/>
                  </a:cubicBezTo>
                  <a:cubicBezTo>
                    <a:pt x="770" y="195"/>
                    <a:pt x="769" y="184"/>
                    <a:pt x="769" y="172"/>
                  </a:cubicBezTo>
                  <a:cubicBezTo>
                    <a:pt x="769" y="163"/>
                    <a:pt x="770" y="152"/>
                    <a:pt x="771" y="142"/>
                  </a:cubicBezTo>
                  <a:cubicBezTo>
                    <a:pt x="772" y="131"/>
                    <a:pt x="774" y="120"/>
                    <a:pt x="776" y="110"/>
                  </a:cubicBezTo>
                  <a:cubicBezTo>
                    <a:pt x="779" y="100"/>
                    <a:pt x="783" y="90"/>
                    <a:pt x="788" y="81"/>
                  </a:cubicBezTo>
                  <a:cubicBezTo>
                    <a:pt x="793" y="71"/>
                    <a:pt x="800" y="63"/>
                    <a:pt x="807" y="56"/>
                  </a:cubicBezTo>
                  <a:cubicBezTo>
                    <a:pt x="815" y="49"/>
                    <a:pt x="825" y="44"/>
                    <a:pt x="836" y="39"/>
                  </a:cubicBezTo>
                  <a:cubicBezTo>
                    <a:pt x="848" y="35"/>
                    <a:pt x="861" y="33"/>
                    <a:pt x="876" y="33"/>
                  </a:cubicBezTo>
                  <a:cubicBezTo>
                    <a:pt x="881" y="33"/>
                    <a:pt x="886" y="34"/>
                    <a:pt x="891" y="34"/>
                  </a:cubicBezTo>
                  <a:cubicBezTo>
                    <a:pt x="896" y="35"/>
                    <a:pt x="901" y="35"/>
                    <a:pt x="905" y="36"/>
                  </a:cubicBezTo>
                  <a:cubicBezTo>
                    <a:pt x="909" y="37"/>
                    <a:pt x="913" y="38"/>
                    <a:pt x="916" y="39"/>
                  </a:cubicBezTo>
                  <a:cubicBezTo>
                    <a:pt x="919" y="41"/>
                    <a:pt x="921" y="42"/>
                    <a:pt x="922" y="42"/>
                  </a:cubicBezTo>
                  <a:cubicBezTo>
                    <a:pt x="923" y="43"/>
                    <a:pt x="923" y="44"/>
                    <a:pt x="924" y="45"/>
                  </a:cubicBezTo>
                  <a:cubicBezTo>
                    <a:pt x="924" y="46"/>
                    <a:pt x="925" y="47"/>
                    <a:pt x="925" y="49"/>
                  </a:cubicBezTo>
                  <a:cubicBezTo>
                    <a:pt x="925" y="50"/>
                    <a:pt x="926" y="51"/>
                    <a:pt x="926" y="53"/>
                  </a:cubicBezTo>
                  <a:cubicBezTo>
                    <a:pt x="926" y="55"/>
                    <a:pt x="926" y="57"/>
                    <a:pt x="926" y="60"/>
                  </a:cubicBezTo>
                  <a:cubicBezTo>
                    <a:pt x="926" y="64"/>
                    <a:pt x="926" y="67"/>
                    <a:pt x="926" y="70"/>
                  </a:cubicBezTo>
                  <a:cubicBezTo>
                    <a:pt x="926" y="72"/>
                    <a:pt x="925" y="74"/>
                    <a:pt x="925" y="76"/>
                  </a:cubicBezTo>
                  <a:cubicBezTo>
                    <a:pt x="924" y="77"/>
                    <a:pt x="923" y="78"/>
                    <a:pt x="922" y="79"/>
                  </a:cubicBezTo>
                  <a:cubicBezTo>
                    <a:pt x="922" y="80"/>
                    <a:pt x="921" y="80"/>
                    <a:pt x="919" y="80"/>
                  </a:cubicBezTo>
                  <a:cubicBezTo>
                    <a:pt x="918" y="80"/>
                    <a:pt x="916" y="80"/>
                    <a:pt x="913" y="79"/>
                  </a:cubicBezTo>
                  <a:cubicBezTo>
                    <a:pt x="911" y="78"/>
                    <a:pt x="908" y="77"/>
                    <a:pt x="904" y="76"/>
                  </a:cubicBezTo>
                  <a:cubicBezTo>
                    <a:pt x="901" y="75"/>
                    <a:pt x="897" y="74"/>
                    <a:pt x="892" y="73"/>
                  </a:cubicBezTo>
                  <a:cubicBezTo>
                    <a:pt x="887" y="72"/>
                    <a:pt x="882" y="72"/>
                    <a:pt x="876" y="72"/>
                  </a:cubicBezTo>
                  <a:cubicBezTo>
                    <a:pt x="865" y="72"/>
                    <a:pt x="856" y="74"/>
                    <a:pt x="849" y="78"/>
                  </a:cubicBezTo>
                  <a:cubicBezTo>
                    <a:pt x="842" y="82"/>
                    <a:pt x="836" y="87"/>
                    <a:pt x="832" y="94"/>
                  </a:cubicBezTo>
                  <a:cubicBezTo>
                    <a:pt x="827" y="100"/>
                    <a:pt x="824" y="108"/>
                    <a:pt x="822" y="117"/>
                  </a:cubicBezTo>
                  <a:cubicBezTo>
                    <a:pt x="820" y="125"/>
                    <a:pt x="819" y="135"/>
                    <a:pt x="819" y="145"/>
                  </a:cubicBezTo>
                  <a:cubicBezTo>
                    <a:pt x="821" y="143"/>
                    <a:pt x="825" y="141"/>
                    <a:pt x="828" y="139"/>
                  </a:cubicBezTo>
                  <a:cubicBezTo>
                    <a:pt x="832" y="137"/>
                    <a:pt x="836" y="136"/>
                    <a:pt x="840" y="135"/>
                  </a:cubicBezTo>
                  <a:cubicBezTo>
                    <a:pt x="845" y="133"/>
                    <a:pt x="849" y="132"/>
                    <a:pt x="854" y="131"/>
                  </a:cubicBezTo>
                  <a:cubicBezTo>
                    <a:pt x="859" y="130"/>
                    <a:pt x="865" y="130"/>
                    <a:pt x="870" y="130"/>
                  </a:cubicBezTo>
                  <a:cubicBezTo>
                    <a:pt x="883" y="130"/>
                    <a:pt x="894" y="132"/>
                    <a:pt x="903" y="135"/>
                  </a:cubicBezTo>
                  <a:cubicBezTo>
                    <a:pt x="912" y="139"/>
                    <a:pt x="919" y="144"/>
                    <a:pt x="925" y="150"/>
                  </a:cubicBezTo>
                  <a:cubicBezTo>
                    <a:pt x="931" y="157"/>
                    <a:pt x="935" y="164"/>
                    <a:pt x="938" y="173"/>
                  </a:cubicBezTo>
                  <a:cubicBezTo>
                    <a:pt x="940" y="183"/>
                    <a:pt x="942" y="193"/>
                    <a:pt x="942" y="204"/>
                  </a:cubicBezTo>
                  <a:close/>
                  <a:moveTo>
                    <a:pt x="892" y="209"/>
                  </a:moveTo>
                  <a:cubicBezTo>
                    <a:pt x="892" y="202"/>
                    <a:pt x="891" y="197"/>
                    <a:pt x="890" y="192"/>
                  </a:cubicBezTo>
                  <a:cubicBezTo>
                    <a:pt x="889" y="187"/>
                    <a:pt x="887" y="182"/>
                    <a:pt x="884" y="179"/>
                  </a:cubicBezTo>
                  <a:cubicBezTo>
                    <a:pt x="882" y="176"/>
                    <a:pt x="878" y="173"/>
                    <a:pt x="874" y="171"/>
                  </a:cubicBezTo>
                  <a:cubicBezTo>
                    <a:pt x="870" y="170"/>
                    <a:pt x="865" y="169"/>
                    <a:pt x="859" y="169"/>
                  </a:cubicBezTo>
                  <a:cubicBezTo>
                    <a:pt x="855" y="169"/>
                    <a:pt x="852" y="169"/>
                    <a:pt x="848" y="170"/>
                  </a:cubicBezTo>
                  <a:cubicBezTo>
                    <a:pt x="845" y="170"/>
                    <a:pt x="841" y="171"/>
                    <a:pt x="838" y="172"/>
                  </a:cubicBezTo>
                  <a:cubicBezTo>
                    <a:pt x="834" y="173"/>
                    <a:pt x="831" y="175"/>
                    <a:pt x="828" y="177"/>
                  </a:cubicBezTo>
                  <a:cubicBezTo>
                    <a:pt x="825" y="178"/>
                    <a:pt x="822" y="180"/>
                    <a:pt x="820" y="182"/>
                  </a:cubicBezTo>
                  <a:cubicBezTo>
                    <a:pt x="820" y="195"/>
                    <a:pt x="820" y="207"/>
                    <a:pt x="822" y="216"/>
                  </a:cubicBezTo>
                  <a:cubicBezTo>
                    <a:pt x="823" y="225"/>
                    <a:pt x="826" y="233"/>
                    <a:pt x="829" y="238"/>
                  </a:cubicBezTo>
                  <a:cubicBezTo>
                    <a:pt x="832" y="243"/>
                    <a:pt x="835" y="247"/>
                    <a:pt x="840" y="250"/>
                  </a:cubicBezTo>
                  <a:cubicBezTo>
                    <a:pt x="845" y="252"/>
                    <a:pt x="850" y="253"/>
                    <a:pt x="856" y="253"/>
                  </a:cubicBezTo>
                  <a:cubicBezTo>
                    <a:pt x="862" y="253"/>
                    <a:pt x="867" y="252"/>
                    <a:pt x="872" y="250"/>
                  </a:cubicBezTo>
                  <a:cubicBezTo>
                    <a:pt x="876" y="247"/>
                    <a:pt x="880" y="244"/>
                    <a:pt x="883" y="240"/>
                  </a:cubicBezTo>
                  <a:cubicBezTo>
                    <a:pt x="886" y="236"/>
                    <a:pt x="888" y="232"/>
                    <a:pt x="889" y="226"/>
                  </a:cubicBezTo>
                  <a:cubicBezTo>
                    <a:pt x="891" y="221"/>
                    <a:pt x="892" y="215"/>
                    <a:pt x="892" y="209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2" name="Freeform 1774"/>
            <p:cNvSpPr>
              <a:spLocks noEditPoints="1"/>
            </p:cNvSpPr>
            <p:nvPr/>
          </p:nvSpPr>
          <p:spPr bwMode="auto">
            <a:xfrm>
              <a:off x="320017" y="1820094"/>
              <a:ext cx="259004" cy="117548"/>
            </a:xfrm>
            <a:custGeom>
              <a:avLst/>
              <a:gdLst/>
              <a:ahLst/>
              <a:cxnLst>
                <a:cxn ang="0">
                  <a:pos x="132" y="236"/>
                </a:cxn>
                <a:cxn ang="0">
                  <a:pos x="43" y="256"/>
                </a:cxn>
                <a:cxn ang="0">
                  <a:pos x="4" y="243"/>
                </a:cxn>
                <a:cxn ang="0">
                  <a:pos x="0" y="234"/>
                </a:cxn>
                <a:cxn ang="0">
                  <a:pos x="2" y="218"/>
                </a:cxn>
                <a:cxn ang="0">
                  <a:pos x="12" y="217"/>
                </a:cxn>
                <a:cxn ang="0">
                  <a:pos x="64" y="230"/>
                </a:cxn>
                <a:cxn ang="0">
                  <a:pos x="118" y="201"/>
                </a:cxn>
                <a:cxn ang="0">
                  <a:pos x="108" y="140"/>
                </a:cxn>
                <a:cxn ang="0">
                  <a:pos x="39" y="129"/>
                </a:cxn>
                <a:cxn ang="0">
                  <a:pos x="13" y="118"/>
                </a:cxn>
                <a:cxn ang="0">
                  <a:pos x="25" y="4"/>
                </a:cxn>
                <a:cxn ang="0">
                  <a:pos x="141" y="7"/>
                </a:cxn>
                <a:cxn ang="0">
                  <a:pos x="141" y="29"/>
                </a:cxn>
                <a:cxn ang="0">
                  <a:pos x="42" y="103"/>
                </a:cxn>
                <a:cxn ang="0">
                  <a:pos x="110" y="107"/>
                </a:cxn>
                <a:cxn ang="0">
                  <a:pos x="158" y="173"/>
                </a:cxn>
                <a:cxn ang="0">
                  <a:pos x="333" y="236"/>
                </a:cxn>
                <a:cxn ang="0">
                  <a:pos x="243" y="256"/>
                </a:cxn>
                <a:cxn ang="0">
                  <a:pos x="205" y="243"/>
                </a:cxn>
                <a:cxn ang="0">
                  <a:pos x="201" y="234"/>
                </a:cxn>
                <a:cxn ang="0">
                  <a:pos x="202" y="218"/>
                </a:cxn>
                <a:cxn ang="0">
                  <a:pos x="212" y="217"/>
                </a:cxn>
                <a:cxn ang="0">
                  <a:pos x="264" y="230"/>
                </a:cxn>
                <a:cxn ang="0">
                  <a:pos x="319" y="201"/>
                </a:cxn>
                <a:cxn ang="0">
                  <a:pos x="308" y="140"/>
                </a:cxn>
                <a:cxn ang="0">
                  <a:pos x="239" y="129"/>
                </a:cxn>
                <a:cxn ang="0">
                  <a:pos x="214" y="118"/>
                </a:cxn>
                <a:cxn ang="0">
                  <a:pos x="225" y="4"/>
                </a:cxn>
                <a:cxn ang="0">
                  <a:pos x="341" y="7"/>
                </a:cxn>
                <a:cxn ang="0">
                  <a:pos x="341" y="29"/>
                </a:cxn>
                <a:cxn ang="0">
                  <a:pos x="243" y="103"/>
                </a:cxn>
                <a:cxn ang="0">
                  <a:pos x="310" y="107"/>
                </a:cxn>
                <a:cxn ang="0">
                  <a:pos x="359" y="173"/>
                </a:cxn>
                <a:cxn ang="0">
                  <a:pos x="549" y="222"/>
                </a:cxn>
                <a:cxn ang="0">
                  <a:pos x="440" y="249"/>
                </a:cxn>
                <a:cxn ang="0">
                  <a:pos x="396" y="129"/>
                </a:cxn>
                <a:cxn ang="0">
                  <a:pos x="443" y="9"/>
                </a:cxn>
                <a:cxn ang="0">
                  <a:pos x="551" y="33"/>
                </a:cxn>
                <a:cxn ang="0">
                  <a:pos x="535" y="130"/>
                </a:cxn>
                <a:cxn ang="0">
                  <a:pos x="523" y="51"/>
                </a:cxn>
                <a:cxn ang="0">
                  <a:pos x="483" y="27"/>
                </a:cxn>
                <a:cxn ang="0">
                  <a:pos x="432" y="88"/>
                </a:cxn>
                <a:cxn ang="0">
                  <a:pos x="442" y="207"/>
                </a:cxn>
                <a:cxn ang="0">
                  <a:pos x="501" y="227"/>
                </a:cxn>
                <a:cxn ang="0">
                  <a:pos x="531" y="181"/>
                </a:cxn>
              </a:cxnLst>
              <a:rect l="0" t="0" r="r" b="b"/>
              <a:pathLst>
                <a:path w="569" h="257">
                  <a:moveTo>
                    <a:pt x="158" y="173"/>
                  </a:moveTo>
                  <a:cubicBezTo>
                    <a:pt x="158" y="187"/>
                    <a:pt x="156" y="199"/>
                    <a:pt x="151" y="209"/>
                  </a:cubicBezTo>
                  <a:cubicBezTo>
                    <a:pt x="147" y="220"/>
                    <a:pt x="140" y="228"/>
                    <a:pt x="132" y="236"/>
                  </a:cubicBezTo>
                  <a:cubicBezTo>
                    <a:pt x="124" y="243"/>
                    <a:pt x="114" y="248"/>
                    <a:pt x="103" y="252"/>
                  </a:cubicBezTo>
                  <a:cubicBezTo>
                    <a:pt x="91" y="256"/>
                    <a:pt x="79" y="257"/>
                    <a:pt x="65" y="257"/>
                  </a:cubicBezTo>
                  <a:cubicBezTo>
                    <a:pt x="57" y="257"/>
                    <a:pt x="50" y="257"/>
                    <a:pt x="43" y="256"/>
                  </a:cubicBezTo>
                  <a:cubicBezTo>
                    <a:pt x="36" y="255"/>
                    <a:pt x="30" y="253"/>
                    <a:pt x="24" y="252"/>
                  </a:cubicBezTo>
                  <a:cubicBezTo>
                    <a:pt x="19" y="250"/>
                    <a:pt x="14" y="249"/>
                    <a:pt x="11" y="247"/>
                  </a:cubicBezTo>
                  <a:cubicBezTo>
                    <a:pt x="7" y="245"/>
                    <a:pt x="5" y="244"/>
                    <a:pt x="4" y="243"/>
                  </a:cubicBezTo>
                  <a:cubicBezTo>
                    <a:pt x="3" y="242"/>
                    <a:pt x="3" y="242"/>
                    <a:pt x="2" y="241"/>
                  </a:cubicBezTo>
                  <a:cubicBezTo>
                    <a:pt x="2" y="240"/>
                    <a:pt x="1" y="239"/>
                    <a:pt x="1" y="238"/>
                  </a:cubicBezTo>
                  <a:cubicBezTo>
                    <a:pt x="1" y="237"/>
                    <a:pt x="1" y="236"/>
                    <a:pt x="0" y="234"/>
                  </a:cubicBezTo>
                  <a:cubicBezTo>
                    <a:pt x="0" y="232"/>
                    <a:pt x="0" y="230"/>
                    <a:pt x="0" y="228"/>
                  </a:cubicBezTo>
                  <a:cubicBezTo>
                    <a:pt x="0" y="226"/>
                    <a:pt x="0" y="224"/>
                    <a:pt x="0" y="222"/>
                  </a:cubicBezTo>
                  <a:cubicBezTo>
                    <a:pt x="1" y="220"/>
                    <a:pt x="1" y="219"/>
                    <a:pt x="2" y="218"/>
                  </a:cubicBezTo>
                  <a:cubicBezTo>
                    <a:pt x="2" y="217"/>
                    <a:pt x="3" y="216"/>
                    <a:pt x="3" y="215"/>
                  </a:cubicBezTo>
                  <a:cubicBezTo>
                    <a:pt x="4" y="215"/>
                    <a:pt x="5" y="215"/>
                    <a:pt x="6" y="215"/>
                  </a:cubicBezTo>
                  <a:cubicBezTo>
                    <a:pt x="7" y="215"/>
                    <a:pt x="9" y="215"/>
                    <a:pt x="12" y="217"/>
                  </a:cubicBezTo>
                  <a:cubicBezTo>
                    <a:pt x="15" y="219"/>
                    <a:pt x="18" y="220"/>
                    <a:pt x="23" y="222"/>
                  </a:cubicBezTo>
                  <a:cubicBezTo>
                    <a:pt x="27" y="224"/>
                    <a:pt x="33" y="226"/>
                    <a:pt x="40" y="228"/>
                  </a:cubicBezTo>
                  <a:cubicBezTo>
                    <a:pt x="47" y="229"/>
                    <a:pt x="54" y="230"/>
                    <a:pt x="64" y="230"/>
                  </a:cubicBezTo>
                  <a:cubicBezTo>
                    <a:pt x="72" y="230"/>
                    <a:pt x="80" y="229"/>
                    <a:pt x="88" y="227"/>
                  </a:cubicBezTo>
                  <a:cubicBezTo>
                    <a:pt x="95" y="225"/>
                    <a:pt x="101" y="222"/>
                    <a:pt x="106" y="217"/>
                  </a:cubicBezTo>
                  <a:cubicBezTo>
                    <a:pt x="111" y="213"/>
                    <a:pt x="116" y="207"/>
                    <a:pt x="118" y="201"/>
                  </a:cubicBezTo>
                  <a:cubicBezTo>
                    <a:pt x="121" y="194"/>
                    <a:pt x="123" y="186"/>
                    <a:pt x="123" y="176"/>
                  </a:cubicBezTo>
                  <a:cubicBezTo>
                    <a:pt x="123" y="168"/>
                    <a:pt x="122" y="161"/>
                    <a:pt x="119" y="155"/>
                  </a:cubicBezTo>
                  <a:cubicBezTo>
                    <a:pt x="117" y="149"/>
                    <a:pt x="113" y="144"/>
                    <a:pt x="108" y="140"/>
                  </a:cubicBezTo>
                  <a:cubicBezTo>
                    <a:pt x="102" y="136"/>
                    <a:pt x="96" y="133"/>
                    <a:pt x="88" y="131"/>
                  </a:cubicBezTo>
                  <a:cubicBezTo>
                    <a:pt x="80" y="129"/>
                    <a:pt x="70" y="128"/>
                    <a:pt x="59" y="128"/>
                  </a:cubicBezTo>
                  <a:cubicBezTo>
                    <a:pt x="51" y="128"/>
                    <a:pt x="45" y="128"/>
                    <a:pt x="39" y="129"/>
                  </a:cubicBezTo>
                  <a:cubicBezTo>
                    <a:pt x="33" y="130"/>
                    <a:pt x="28" y="130"/>
                    <a:pt x="23" y="130"/>
                  </a:cubicBezTo>
                  <a:cubicBezTo>
                    <a:pt x="19" y="130"/>
                    <a:pt x="17" y="129"/>
                    <a:pt x="15" y="128"/>
                  </a:cubicBezTo>
                  <a:cubicBezTo>
                    <a:pt x="14" y="126"/>
                    <a:pt x="13" y="123"/>
                    <a:pt x="13" y="118"/>
                  </a:cubicBezTo>
                  <a:lnTo>
                    <a:pt x="13" y="16"/>
                  </a:lnTo>
                  <a:cubicBezTo>
                    <a:pt x="13" y="12"/>
                    <a:pt x="14" y="9"/>
                    <a:pt x="16" y="7"/>
                  </a:cubicBezTo>
                  <a:cubicBezTo>
                    <a:pt x="18" y="5"/>
                    <a:pt x="21" y="4"/>
                    <a:pt x="25" y="4"/>
                  </a:cubicBezTo>
                  <a:lnTo>
                    <a:pt x="135" y="4"/>
                  </a:lnTo>
                  <a:cubicBezTo>
                    <a:pt x="136" y="4"/>
                    <a:pt x="137" y="4"/>
                    <a:pt x="138" y="5"/>
                  </a:cubicBezTo>
                  <a:cubicBezTo>
                    <a:pt x="139" y="5"/>
                    <a:pt x="140" y="6"/>
                    <a:pt x="141" y="7"/>
                  </a:cubicBezTo>
                  <a:cubicBezTo>
                    <a:pt x="141" y="8"/>
                    <a:pt x="142" y="10"/>
                    <a:pt x="142" y="12"/>
                  </a:cubicBezTo>
                  <a:cubicBezTo>
                    <a:pt x="142" y="13"/>
                    <a:pt x="143" y="16"/>
                    <a:pt x="143" y="18"/>
                  </a:cubicBezTo>
                  <a:cubicBezTo>
                    <a:pt x="143" y="23"/>
                    <a:pt x="142" y="26"/>
                    <a:pt x="141" y="29"/>
                  </a:cubicBezTo>
                  <a:cubicBezTo>
                    <a:pt x="139" y="31"/>
                    <a:pt x="138" y="33"/>
                    <a:pt x="135" y="33"/>
                  </a:cubicBezTo>
                  <a:lnTo>
                    <a:pt x="42" y="33"/>
                  </a:lnTo>
                  <a:lnTo>
                    <a:pt x="42" y="103"/>
                  </a:lnTo>
                  <a:cubicBezTo>
                    <a:pt x="46" y="102"/>
                    <a:pt x="51" y="102"/>
                    <a:pt x="56" y="102"/>
                  </a:cubicBezTo>
                  <a:cubicBezTo>
                    <a:pt x="60" y="102"/>
                    <a:pt x="66" y="101"/>
                    <a:pt x="72" y="101"/>
                  </a:cubicBezTo>
                  <a:cubicBezTo>
                    <a:pt x="86" y="101"/>
                    <a:pt x="99" y="103"/>
                    <a:pt x="110" y="107"/>
                  </a:cubicBezTo>
                  <a:cubicBezTo>
                    <a:pt x="120" y="110"/>
                    <a:pt x="129" y="115"/>
                    <a:pt x="136" y="121"/>
                  </a:cubicBezTo>
                  <a:cubicBezTo>
                    <a:pt x="143" y="127"/>
                    <a:pt x="149" y="135"/>
                    <a:pt x="153" y="144"/>
                  </a:cubicBezTo>
                  <a:cubicBezTo>
                    <a:pt x="156" y="153"/>
                    <a:pt x="158" y="163"/>
                    <a:pt x="158" y="173"/>
                  </a:cubicBezTo>
                  <a:close/>
                  <a:moveTo>
                    <a:pt x="359" y="173"/>
                  </a:moveTo>
                  <a:cubicBezTo>
                    <a:pt x="359" y="187"/>
                    <a:pt x="356" y="199"/>
                    <a:pt x="352" y="209"/>
                  </a:cubicBezTo>
                  <a:cubicBezTo>
                    <a:pt x="347" y="220"/>
                    <a:pt x="341" y="228"/>
                    <a:pt x="333" y="236"/>
                  </a:cubicBezTo>
                  <a:cubicBezTo>
                    <a:pt x="325" y="243"/>
                    <a:pt x="315" y="248"/>
                    <a:pt x="303" y="252"/>
                  </a:cubicBezTo>
                  <a:cubicBezTo>
                    <a:pt x="292" y="256"/>
                    <a:pt x="279" y="257"/>
                    <a:pt x="265" y="257"/>
                  </a:cubicBezTo>
                  <a:cubicBezTo>
                    <a:pt x="258" y="257"/>
                    <a:pt x="250" y="257"/>
                    <a:pt x="243" y="256"/>
                  </a:cubicBezTo>
                  <a:cubicBezTo>
                    <a:pt x="236" y="255"/>
                    <a:pt x="230" y="253"/>
                    <a:pt x="225" y="252"/>
                  </a:cubicBezTo>
                  <a:cubicBezTo>
                    <a:pt x="219" y="250"/>
                    <a:pt x="215" y="249"/>
                    <a:pt x="211" y="247"/>
                  </a:cubicBezTo>
                  <a:cubicBezTo>
                    <a:pt x="208" y="245"/>
                    <a:pt x="206" y="244"/>
                    <a:pt x="205" y="243"/>
                  </a:cubicBezTo>
                  <a:cubicBezTo>
                    <a:pt x="204" y="242"/>
                    <a:pt x="203" y="242"/>
                    <a:pt x="203" y="241"/>
                  </a:cubicBezTo>
                  <a:cubicBezTo>
                    <a:pt x="202" y="240"/>
                    <a:pt x="202" y="239"/>
                    <a:pt x="202" y="238"/>
                  </a:cubicBezTo>
                  <a:cubicBezTo>
                    <a:pt x="201" y="237"/>
                    <a:pt x="201" y="236"/>
                    <a:pt x="201" y="234"/>
                  </a:cubicBezTo>
                  <a:cubicBezTo>
                    <a:pt x="201" y="232"/>
                    <a:pt x="201" y="230"/>
                    <a:pt x="201" y="228"/>
                  </a:cubicBezTo>
                  <a:cubicBezTo>
                    <a:pt x="201" y="226"/>
                    <a:pt x="201" y="224"/>
                    <a:pt x="201" y="222"/>
                  </a:cubicBezTo>
                  <a:cubicBezTo>
                    <a:pt x="201" y="220"/>
                    <a:pt x="202" y="219"/>
                    <a:pt x="202" y="218"/>
                  </a:cubicBezTo>
                  <a:cubicBezTo>
                    <a:pt x="203" y="217"/>
                    <a:pt x="203" y="216"/>
                    <a:pt x="204" y="215"/>
                  </a:cubicBezTo>
                  <a:cubicBezTo>
                    <a:pt x="205" y="215"/>
                    <a:pt x="205" y="215"/>
                    <a:pt x="206" y="215"/>
                  </a:cubicBezTo>
                  <a:cubicBezTo>
                    <a:pt x="208" y="215"/>
                    <a:pt x="210" y="215"/>
                    <a:pt x="212" y="217"/>
                  </a:cubicBezTo>
                  <a:cubicBezTo>
                    <a:pt x="215" y="219"/>
                    <a:pt x="219" y="220"/>
                    <a:pt x="223" y="222"/>
                  </a:cubicBezTo>
                  <a:cubicBezTo>
                    <a:pt x="228" y="224"/>
                    <a:pt x="234" y="226"/>
                    <a:pt x="240" y="228"/>
                  </a:cubicBezTo>
                  <a:cubicBezTo>
                    <a:pt x="247" y="229"/>
                    <a:pt x="255" y="230"/>
                    <a:pt x="264" y="230"/>
                  </a:cubicBezTo>
                  <a:cubicBezTo>
                    <a:pt x="273" y="230"/>
                    <a:pt x="281" y="229"/>
                    <a:pt x="288" y="227"/>
                  </a:cubicBezTo>
                  <a:cubicBezTo>
                    <a:pt x="295" y="225"/>
                    <a:pt x="302" y="222"/>
                    <a:pt x="307" y="217"/>
                  </a:cubicBezTo>
                  <a:cubicBezTo>
                    <a:pt x="312" y="213"/>
                    <a:pt x="316" y="207"/>
                    <a:pt x="319" y="201"/>
                  </a:cubicBezTo>
                  <a:cubicBezTo>
                    <a:pt x="322" y="194"/>
                    <a:pt x="323" y="186"/>
                    <a:pt x="323" y="176"/>
                  </a:cubicBezTo>
                  <a:cubicBezTo>
                    <a:pt x="323" y="168"/>
                    <a:pt x="322" y="161"/>
                    <a:pt x="320" y="155"/>
                  </a:cubicBezTo>
                  <a:cubicBezTo>
                    <a:pt x="317" y="149"/>
                    <a:pt x="313" y="144"/>
                    <a:pt x="308" y="140"/>
                  </a:cubicBezTo>
                  <a:cubicBezTo>
                    <a:pt x="303" y="136"/>
                    <a:pt x="296" y="133"/>
                    <a:pt x="288" y="131"/>
                  </a:cubicBezTo>
                  <a:cubicBezTo>
                    <a:pt x="280" y="129"/>
                    <a:pt x="271" y="128"/>
                    <a:pt x="260" y="128"/>
                  </a:cubicBezTo>
                  <a:cubicBezTo>
                    <a:pt x="252" y="128"/>
                    <a:pt x="245" y="128"/>
                    <a:pt x="239" y="129"/>
                  </a:cubicBezTo>
                  <a:cubicBezTo>
                    <a:pt x="234" y="130"/>
                    <a:pt x="228" y="130"/>
                    <a:pt x="224" y="130"/>
                  </a:cubicBezTo>
                  <a:cubicBezTo>
                    <a:pt x="220" y="130"/>
                    <a:pt x="217" y="129"/>
                    <a:pt x="216" y="128"/>
                  </a:cubicBezTo>
                  <a:cubicBezTo>
                    <a:pt x="214" y="126"/>
                    <a:pt x="214" y="123"/>
                    <a:pt x="214" y="118"/>
                  </a:cubicBezTo>
                  <a:lnTo>
                    <a:pt x="214" y="16"/>
                  </a:lnTo>
                  <a:cubicBezTo>
                    <a:pt x="214" y="12"/>
                    <a:pt x="215" y="9"/>
                    <a:pt x="217" y="7"/>
                  </a:cubicBezTo>
                  <a:cubicBezTo>
                    <a:pt x="219" y="5"/>
                    <a:pt x="221" y="4"/>
                    <a:pt x="225" y="4"/>
                  </a:cubicBezTo>
                  <a:lnTo>
                    <a:pt x="336" y="4"/>
                  </a:lnTo>
                  <a:cubicBezTo>
                    <a:pt x="337" y="4"/>
                    <a:pt x="338" y="4"/>
                    <a:pt x="339" y="5"/>
                  </a:cubicBezTo>
                  <a:cubicBezTo>
                    <a:pt x="340" y="5"/>
                    <a:pt x="341" y="6"/>
                    <a:pt x="341" y="7"/>
                  </a:cubicBezTo>
                  <a:cubicBezTo>
                    <a:pt x="342" y="8"/>
                    <a:pt x="342" y="10"/>
                    <a:pt x="343" y="12"/>
                  </a:cubicBezTo>
                  <a:cubicBezTo>
                    <a:pt x="343" y="13"/>
                    <a:pt x="343" y="16"/>
                    <a:pt x="343" y="18"/>
                  </a:cubicBezTo>
                  <a:cubicBezTo>
                    <a:pt x="343" y="23"/>
                    <a:pt x="343" y="26"/>
                    <a:pt x="341" y="29"/>
                  </a:cubicBezTo>
                  <a:cubicBezTo>
                    <a:pt x="340" y="31"/>
                    <a:pt x="338" y="33"/>
                    <a:pt x="336" y="33"/>
                  </a:cubicBezTo>
                  <a:lnTo>
                    <a:pt x="243" y="33"/>
                  </a:lnTo>
                  <a:lnTo>
                    <a:pt x="243" y="103"/>
                  </a:lnTo>
                  <a:cubicBezTo>
                    <a:pt x="247" y="102"/>
                    <a:pt x="252" y="102"/>
                    <a:pt x="256" y="102"/>
                  </a:cubicBezTo>
                  <a:cubicBezTo>
                    <a:pt x="261" y="102"/>
                    <a:pt x="266" y="101"/>
                    <a:pt x="273" y="101"/>
                  </a:cubicBezTo>
                  <a:cubicBezTo>
                    <a:pt x="287" y="101"/>
                    <a:pt x="299" y="103"/>
                    <a:pt x="310" y="107"/>
                  </a:cubicBezTo>
                  <a:cubicBezTo>
                    <a:pt x="321" y="110"/>
                    <a:pt x="330" y="115"/>
                    <a:pt x="337" y="121"/>
                  </a:cubicBezTo>
                  <a:cubicBezTo>
                    <a:pt x="344" y="127"/>
                    <a:pt x="349" y="135"/>
                    <a:pt x="353" y="144"/>
                  </a:cubicBezTo>
                  <a:cubicBezTo>
                    <a:pt x="357" y="153"/>
                    <a:pt x="359" y="163"/>
                    <a:pt x="359" y="173"/>
                  </a:cubicBezTo>
                  <a:close/>
                  <a:moveTo>
                    <a:pt x="569" y="128"/>
                  </a:moveTo>
                  <a:cubicBezTo>
                    <a:pt x="569" y="147"/>
                    <a:pt x="567" y="165"/>
                    <a:pt x="564" y="181"/>
                  </a:cubicBezTo>
                  <a:cubicBezTo>
                    <a:pt x="561" y="197"/>
                    <a:pt x="556" y="210"/>
                    <a:pt x="549" y="222"/>
                  </a:cubicBezTo>
                  <a:cubicBezTo>
                    <a:pt x="542" y="233"/>
                    <a:pt x="533" y="242"/>
                    <a:pt x="522" y="248"/>
                  </a:cubicBezTo>
                  <a:cubicBezTo>
                    <a:pt x="510" y="254"/>
                    <a:pt x="496" y="257"/>
                    <a:pt x="480" y="257"/>
                  </a:cubicBezTo>
                  <a:cubicBezTo>
                    <a:pt x="464" y="257"/>
                    <a:pt x="451" y="255"/>
                    <a:pt x="440" y="249"/>
                  </a:cubicBezTo>
                  <a:cubicBezTo>
                    <a:pt x="429" y="243"/>
                    <a:pt x="420" y="235"/>
                    <a:pt x="414" y="224"/>
                  </a:cubicBezTo>
                  <a:cubicBezTo>
                    <a:pt x="407" y="213"/>
                    <a:pt x="403" y="200"/>
                    <a:pt x="400" y="184"/>
                  </a:cubicBezTo>
                  <a:cubicBezTo>
                    <a:pt x="397" y="168"/>
                    <a:pt x="396" y="150"/>
                    <a:pt x="396" y="129"/>
                  </a:cubicBezTo>
                  <a:cubicBezTo>
                    <a:pt x="396" y="110"/>
                    <a:pt x="397" y="93"/>
                    <a:pt x="400" y="77"/>
                  </a:cubicBezTo>
                  <a:cubicBezTo>
                    <a:pt x="403" y="61"/>
                    <a:pt x="408" y="47"/>
                    <a:pt x="415" y="36"/>
                  </a:cubicBezTo>
                  <a:cubicBezTo>
                    <a:pt x="422" y="25"/>
                    <a:pt x="432" y="16"/>
                    <a:pt x="443" y="9"/>
                  </a:cubicBezTo>
                  <a:cubicBezTo>
                    <a:pt x="454" y="3"/>
                    <a:pt x="468" y="0"/>
                    <a:pt x="485" y="0"/>
                  </a:cubicBezTo>
                  <a:cubicBezTo>
                    <a:pt x="500" y="0"/>
                    <a:pt x="514" y="3"/>
                    <a:pt x="525" y="8"/>
                  </a:cubicBezTo>
                  <a:cubicBezTo>
                    <a:pt x="535" y="14"/>
                    <a:pt x="544" y="22"/>
                    <a:pt x="551" y="33"/>
                  </a:cubicBezTo>
                  <a:cubicBezTo>
                    <a:pt x="557" y="44"/>
                    <a:pt x="562" y="57"/>
                    <a:pt x="565" y="73"/>
                  </a:cubicBezTo>
                  <a:cubicBezTo>
                    <a:pt x="567" y="89"/>
                    <a:pt x="569" y="108"/>
                    <a:pt x="569" y="128"/>
                  </a:cubicBezTo>
                  <a:close/>
                  <a:moveTo>
                    <a:pt x="535" y="130"/>
                  </a:moveTo>
                  <a:cubicBezTo>
                    <a:pt x="535" y="118"/>
                    <a:pt x="534" y="107"/>
                    <a:pt x="533" y="97"/>
                  </a:cubicBezTo>
                  <a:cubicBezTo>
                    <a:pt x="532" y="87"/>
                    <a:pt x="531" y="78"/>
                    <a:pt x="529" y="71"/>
                  </a:cubicBezTo>
                  <a:cubicBezTo>
                    <a:pt x="528" y="63"/>
                    <a:pt x="525" y="56"/>
                    <a:pt x="523" y="51"/>
                  </a:cubicBezTo>
                  <a:cubicBezTo>
                    <a:pt x="520" y="45"/>
                    <a:pt x="517" y="41"/>
                    <a:pt x="513" y="37"/>
                  </a:cubicBezTo>
                  <a:cubicBezTo>
                    <a:pt x="509" y="34"/>
                    <a:pt x="504" y="31"/>
                    <a:pt x="499" y="30"/>
                  </a:cubicBezTo>
                  <a:cubicBezTo>
                    <a:pt x="494" y="28"/>
                    <a:pt x="489" y="27"/>
                    <a:pt x="483" y="27"/>
                  </a:cubicBezTo>
                  <a:cubicBezTo>
                    <a:pt x="472" y="27"/>
                    <a:pt x="463" y="30"/>
                    <a:pt x="456" y="35"/>
                  </a:cubicBezTo>
                  <a:cubicBezTo>
                    <a:pt x="449" y="40"/>
                    <a:pt x="444" y="47"/>
                    <a:pt x="440" y="56"/>
                  </a:cubicBezTo>
                  <a:cubicBezTo>
                    <a:pt x="436" y="65"/>
                    <a:pt x="433" y="76"/>
                    <a:pt x="432" y="88"/>
                  </a:cubicBezTo>
                  <a:cubicBezTo>
                    <a:pt x="430" y="100"/>
                    <a:pt x="430" y="113"/>
                    <a:pt x="430" y="127"/>
                  </a:cubicBezTo>
                  <a:cubicBezTo>
                    <a:pt x="430" y="146"/>
                    <a:pt x="431" y="162"/>
                    <a:pt x="433" y="175"/>
                  </a:cubicBezTo>
                  <a:cubicBezTo>
                    <a:pt x="435" y="188"/>
                    <a:pt x="438" y="198"/>
                    <a:pt x="442" y="207"/>
                  </a:cubicBezTo>
                  <a:cubicBezTo>
                    <a:pt x="446" y="215"/>
                    <a:pt x="451" y="221"/>
                    <a:pt x="458" y="225"/>
                  </a:cubicBezTo>
                  <a:cubicBezTo>
                    <a:pt x="464" y="228"/>
                    <a:pt x="472" y="230"/>
                    <a:pt x="482" y="230"/>
                  </a:cubicBezTo>
                  <a:cubicBezTo>
                    <a:pt x="489" y="230"/>
                    <a:pt x="495" y="229"/>
                    <a:pt x="501" y="227"/>
                  </a:cubicBezTo>
                  <a:cubicBezTo>
                    <a:pt x="506" y="224"/>
                    <a:pt x="511" y="221"/>
                    <a:pt x="515" y="217"/>
                  </a:cubicBezTo>
                  <a:cubicBezTo>
                    <a:pt x="519" y="212"/>
                    <a:pt x="522" y="207"/>
                    <a:pt x="524" y="201"/>
                  </a:cubicBezTo>
                  <a:cubicBezTo>
                    <a:pt x="527" y="195"/>
                    <a:pt x="529" y="188"/>
                    <a:pt x="531" y="181"/>
                  </a:cubicBezTo>
                  <a:cubicBezTo>
                    <a:pt x="532" y="174"/>
                    <a:pt x="533" y="166"/>
                    <a:pt x="534" y="157"/>
                  </a:cubicBezTo>
                  <a:cubicBezTo>
                    <a:pt x="534" y="149"/>
                    <a:pt x="535" y="140"/>
                    <a:pt x="535" y="130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3" name="Freeform 1775"/>
            <p:cNvSpPr>
              <a:spLocks noEditPoints="1"/>
            </p:cNvSpPr>
            <p:nvPr/>
          </p:nvSpPr>
          <p:spPr bwMode="auto">
            <a:xfrm>
              <a:off x="316032" y="3105155"/>
              <a:ext cx="262989" cy="117548"/>
            </a:xfrm>
            <a:custGeom>
              <a:avLst/>
              <a:gdLst/>
              <a:ahLst/>
              <a:cxnLst>
                <a:cxn ang="0">
                  <a:pos x="173" y="196"/>
                </a:cxn>
                <a:cxn ang="0">
                  <a:pos x="144" y="252"/>
                </a:cxn>
                <a:cxn ang="0">
                  <a:pos x="128" y="255"/>
                </a:cxn>
                <a:cxn ang="0">
                  <a:pos x="113" y="252"/>
                </a:cxn>
                <a:cxn ang="0">
                  <a:pos x="9" y="196"/>
                </a:cxn>
                <a:cxn ang="0">
                  <a:pos x="0" y="189"/>
                </a:cxn>
                <a:cxn ang="0">
                  <a:pos x="1" y="170"/>
                </a:cxn>
                <a:cxn ang="0">
                  <a:pos x="95" y="9"/>
                </a:cxn>
                <a:cxn ang="0">
                  <a:pos x="110" y="3"/>
                </a:cxn>
                <a:cxn ang="0">
                  <a:pos x="138" y="4"/>
                </a:cxn>
                <a:cxn ang="0">
                  <a:pos x="144" y="169"/>
                </a:cxn>
                <a:cxn ang="0">
                  <a:pos x="180" y="183"/>
                </a:cxn>
                <a:cxn ang="0">
                  <a:pos x="30" y="169"/>
                </a:cxn>
                <a:cxn ang="0">
                  <a:pos x="369" y="173"/>
                </a:cxn>
                <a:cxn ang="0">
                  <a:pos x="313" y="252"/>
                </a:cxn>
                <a:cxn ang="0">
                  <a:pos x="235" y="252"/>
                </a:cxn>
                <a:cxn ang="0">
                  <a:pos x="213" y="241"/>
                </a:cxn>
                <a:cxn ang="0">
                  <a:pos x="211" y="228"/>
                </a:cxn>
                <a:cxn ang="0">
                  <a:pos x="214" y="215"/>
                </a:cxn>
                <a:cxn ang="0">
                  <a:pos x="233" y="222"/>
                </a:cxn>
                <a:cxn ang="0">
                  <a:pos x="298" y="227"/>
                </a:cxn>
                <a:cxn ang="0">
                  <a:pos x="333" y="177"/>
                </a:cxn>
                <a:cxn ang="0">
                  <a:pos x="298" y="131"/>
                </a:cxn>
                <a:cxn ang="0">
                  <a:pos x="234" y="130"/>
                </a:cxn>
                <a:cxn ang="0">
                  <a:pos x="224" y="16"/>
                </a:cxn>
                <a:cxn ang="0">
                  <a:pos x="346" y="4"/>
                </a:cxn>
                <a:cxn ang="0">
                  <a:pos x="353" y="12"/>
                </a:cxn>
                <a:cxn ang="0">
                  <a:pos x="346" y="33"/>
                </a:cxn>
                <a:cxn ang="0">
                  <a:pos x="266" y="102"/>
                </a:cxn>
                <a:cxn ang="0">
                  <a:pos x="347" y="121"/>
                </a:cxn>
                <a:cxn ang="0">
                  <a:pos x="579" y="128"/>
                </a:cxn>
                <a:cxn ang="0">
                  <a:pos x="532" y="248"/>
                </a:cxn>
                <a:cxn ang="0">
                  <a:pos x="424" y="224"/>
                </a:cxn>
                <a:cxn ang="0">
                  <a:pos x="410" y="77"/>
                </a:cxn>
                <a:cxn ang="0">
                  <a:pos x="495" y="0"/>
                </a:cxn>
                <a:cxn ang="0">
                  <a:pos x="575" y="73"/>
                </a:cxn>
                <a:cxn ang="0">
                  <a:pos x="543" y="97"/>
                </a:cxn>
                <a:cxn ang="0">
                  <a:pos x="523" y="38"/>
                </a:cxn>
                <a:cxn ang="0">
                  <a:pos x="466" y="35"/>
                </a:cxn>
                <a:cxn ang="0">
                  <a:pos x="440" y="127"/>
                </a:cxn>
                <a:cxn ang="0">
                  <a:pos x="468" y="225"/>
                </a:cxn>
                <a:cxn ang="0">
                  <a:pos x="525" y="217"/>
                </a:cxn>
                <a:cxn ang="0">
                  <a:pos x="544" y="157"/>
                </a:cxn>
              </a:cxnLst>
              <a:rect l="0" t="0" r="r" b="b"/>
              <a:pathLst>
                <a:path w="579" h="258">
                  <a:moveTo>
                    <a:pt x="180" y="183"/>
                  </a:moveTo>
                  <a:cubicBezTo>
                    <a:pt x="180" y="187"/>
                    <a:pt x="179" y="190"/>
                    <a:pt x="178" y="193"/>
                  </a:cubicBezTo>
                  <a:cubicBezTo>
                    <a:pt x="177" y="195"/>
                    <a:pt x="175" y="196"/>
                    <a:pt x="173" y="196"/>
                  </a:cubicBezTo>
                  <a:lnTo>
                    <a:pt x="144" y="196"/>
                  </a:lnTo>
                  <a:lnTo>
                    <a:pt x="144" y="249"/>
                  </a:lnTo>
                  <a:cubicBezTo>
                    <a:pt x="144" y="250"/>
                    <a:pt x="144" y="251"/>
                    <a:pt x="144" y="252"/>
                  </a:cubicBezTo>
                  <a:cubicBezTo>
                    <a:pt x="143" y="252"/>
                    <a:pt x="142" y="253"/>
                    <a:pt x="141" y="253"/>
                  </a:cubicBezTo>
                  <a:cubicBezTo>
                    <a:pt x="140" y="254"/>
                    <a:pt x="138" y="254"/>
                    <a:pt x="136" y="255"/>
                  </a:cubicBezTo>
                  <a:cubicBezTo>
                    <a:pt x="134" y="255"/>
                    <a:pt x="131" y="255"/>
                    <a:pt x="128" y="255"/>
                  </a:cubicBezTo>
                  <a:cubicBezTo>
                    <a:pt x="125" y="255"/>
                    <a:pt x="122" y="255"/>
                    <a:pt x="120" y="255"/>
                  </a:cubicBezTo>
                  <a:cubicBezTo>
                    <a:pt x="118" y="254"/>
                    <a:pt x="116" y="254"/>
                    <a:pt x="115" y="253"/>
                  </a:cubicBezTo>
                  <a:cubicBezTo>
                    <a:pt x="114" y="253"/>
                    <a:pt x="113" y="252"/>
                    <a:pt x="113" y="252"/>
                  </a:cubicBezTo>
                  <a:cubicBezTo>
                    <a:pt x="112" y="251"/>
                    <a:pt x="112" y="250"/>
                    <a:pt x="112" y="249"/>
                  </a:cubicBezTo>
                  <a:lnTo>
                    <a:pt x="112" y="196"/>
                  </a:lnTo>
                  <a:lnTo>
                    <a:pt x="9" y="196"/>
                  </a:lnTo>
                  <a:cubicBezTo>
                    <a:pt x="7" y="196"/>
                    <a:pt x="6" y="196"/>
                    <a:pt x="5" y="196"/>
                  </a:cubicBezTo>
                  <a:cubicBezTo>
                    <a:pt x="4" y="195"/>
                    <a:pt x="3" y="195"/>
                    <a:pt x="2" y="194"/>
                  </a:cubicBezTo>
                  <a:cubicBezTo>
                    <a:pt x="1" y="193"/>
                    <a:pt x="1" y="191"/>
                    <a:pt x="0" y="189"/>
                  </a:cubicBezTo>
                  <a:cubicBezTo>
                    <a:pt x="0" y="187"/>
                    <a:pt x="0" y="185"/>
                    <a:pt x="0" y="182"/>
                  </a:cubicBezTo>
                  <a:cubicBezTo>
                    <a:pt x="0" y="179"/>
                    <a:pt x="0" y="177"/>
                    <a:pt x="0" y="175"/>
                  </a:cubicBezTo>
                  <a:cubicBezTo>
                    <a:pt x="0" y="173"/>
                    <a:pt x="1" y="171"/>
                    <a:pt x="1" y="170"/>
                  </a:cubicBezTo>
                  <a:cubicBezTo>
                    <a:pt x="1" y="168"/>
                    <a:pt x="2" y="167"/>
                    <a:pt x="3" y="165"/>
                  </a:cubicBezTo>
                  <a:cubicBezTo>
                    <a:pt x="3" y="164"/>
                    <a:pt x="4" y="162"/>
                    <a:pt x="5" y="161"/>
                  </a:cubicBezTo>
                  <a:lnTo>
                    <a:pt x="95" y="9"/>
                  </a:lnTo>
                  <a:cubicBezTo>
                    <a:pt x="96" y="8"/>
                    <a:pt x="96" y="7"/>
                    <a:pt x="98" y="6"/>
                  </a:cubicBezTo>
                  <a:cubicBezTo>
                    <a:pt x="99" y="5"/>
                    <a:pt x="100" y="5"/>
                    <a:pt x="102" y="4"/>
                  </a:cubicBezTo>
                  <a:cubicBezTo>
                    <a:pt x="104" y="3"/>
                    <a:pt x="107" y="3"/>
                    <a:pt x="110" y="3"/>
                  </a:cubicBezTo>
                  <a:cubicBezTo>
                    <a:pt x="112" y="3"/>
                    <a:pt x="116" y="3"/>
                    <a:pt x="120" y="3"/>
                  </a:cubicBezTo>
                  <a:cubicBezTo>
                    <a:pt x="124" y="3"/>
                    <a:pt x="128" y="3"/>
                    <a:pt x="131" y="3"/>
                  </a:cubicBezTo>
                  <a:cubicBezTo>
                    <a:pt x="134" y="3"/>
                    <a:pt x="136" y="4"/>
                    <a:pt x="138" y="4"/>
                  </a:cubicBezTo>
                  <a:cubicBezTo>
                    <a:pt x="140" y="5"/>
                    <a:pt x="142" y="6"/>
                    <a:pt x="143" y="6"/>
                  </a:cubicBezTo>
                  <a:cubicBezTo>
                    <a:pt x="144" y="7"/>
                    <a:pt x="144" y="8"/>
                    <a:pt x="144" y="9"/>
                  </a:cubicBezTo>
                  <a:lnTo>
                    <a:pt x="144" y="169"/>
                  </a:lnTo>
                  <a:lnTo>
                    <a:pt x="173" y="169"/>
                  </a:lnTo>
                  <a:cubicBezTo>
                    <a:pt x="175" y="169"/>
                    <a:pt x="176" y="170"/>
                    <a:pt x="178" y="172"/>
                  </a:cubicBezTo>
                  <a:cubicBezTo>
                    <a:pt x="179" y="175"/>
                    <a:pt x="180" y="178"/>
                    <a:pt x="180" y="183"/>
                  </a:cubicBezTo>
                  <a:close/>
                  <a:moveTo>
                    <a:pt x="112" y="32"/>
                  </a:moveTo>
                  <a:lnTo>
                    <a:pt x="112" y="32"/>
                  </a:lnTo>
                  <a:lnTo>
                    <a:pt x="30" y="169"/>
                  </a:lnTo>
                  <a:lnTo>
                    <a:pt x="112" y="169"/>
                  </a:lnTo>
                  <a:lnTo>
                    <a:pt x="112" y="32"/>
                  </a:lnTo>
                  <a:close/>
                  <a:moveTo>
                    <a:pt x="369" y="173"/>
                  </a:moveTo>
                  <a:cubicBezTo>
                    <a:pt x="369" y="187"/>
                    <a:pt x="366" y="199"/>
                    <a:pt x="362" y="209"/>
                  </a:cubicBezTo>
                  <a:cubicBezTo>
                    <a:pt x="357" y="220"/>
                    <a:pt x="351" y="228"/>
                    <a:pt x="343" y="236"/>
                  </a:cubicBezTo>
                  <a:cubicBezTo>
                    <a:pt x="335" y="243"/>
                    <a:pt x="325" y="248"/>
                    <a:pt x="313" y="252"/>
                  </a:cubicBezTo>
                  <a:cubicBezTo>
                    <a:pt x="302" y="256"/>
                    <a:pt x="289" y="258"/>
                    <a:pt x="275" y="258"/>
                  </a:cubicBezTo>
                  <a:cubicBezTo>
                    <a:pt x="268" y="258"/>
                    <a:pt x="260" y="257"/>
                    <a:pt x="253" y="256"/>
                  </a:cubicBezTo>
                  <a:cubicBezTo>
                    <a:pt x="246" y="255"/>
                    <a:pt x="240" y="253"/>
                    <a:pt x="235" y="252"/>
                  </a:cubicBezTo>
                  <a:cubicBezTo>
                    <a:pt x="229" y="250"/>
                    <a:pt x="225" y="249"/>
                    <a:pt x="221" y="247"/>
                  </a:cubicBezTo>
                  <a:cubicBezTo>
                    <a:pt x="218" y="246"/>
                    <a:pt x="216" y="244"/>
                    <a:pt x="215" y="243"/>
                  </a:cubicBezTo>
                  <a:cubicBezTo>
                    <a:pt x="214" y="242"/>
                    <a:pt x="213" y="242"/>
                    <a:pt x="213" y="241"/>
                  </a:cubicBezTo>
                  <a:cubicBezTo>
                    <a:pt x="212" y="240"/>
                    <a:pt x="212" y="239"/>
                    <a:pt x="212" y="238"/>
                  </a:cubicBezTo>
                  <a:cubicBezTo>
                    <a:pt x="211" y="237"/>
                    <a:pt x="211" y="236"/>
                    <a:pt x="211" y="234"/>
                  </a:cubicBezTo>
                  <a:cubicBezTo>
                    <a:pt x="211" y="232"/>
                    <a:pt x="211" y="230"/>
                    <a:pt x="211" y="228"/>
                  </a:cubicBezTo>
                  <a:cubicBezTo>
                    <a:pt x="211" y="226"/>
                    <a:pt x="211" y="224"/>
                    <a:pt x="211" y="222"/>
                  </a:cubicBezTo>
                  <a:cubicBezTo>
                    <a:pt x="211" y="220"/>
                    <a:pt x="212" y="219"/>
                    <a:pt x="212" y="218"/>
                  </a:cubicBezTo>
                  <a:cubicBezTo>
                    <a:pt x="213" y="217"/>
                    <a:pt x="213" y="216"/>
                    <a:pt x="214" y="215"/>
                  </a:cubicBezTo>
                  <a:cubicBezTo>
                    <a:pt x="215" y="215"/>
                    <a:pt x="215" y="215"/>
                    <a:pt x="216" y="215"/>
                  </a:cubicBezTo>
                  <a:cubicBezTo>
                    <a:pt x="218" y="215"/>
                    <a:pt x="220" y="215"/>
                    <a:pt x="222" y="217"/>
                  </a:cubicBezTo>
                  <a:cubicBezTo>
                    <a:pt x="225" y="219"/>
                    <a:pt x="229" y="220"/>
                    <a:pt x="233" y="222"/>
                  </a:cubicBezTo>
                  <a:cubicBezTo>
                    <a:pt x="238" y="224"/>
                    <a:pt x="244" y="226"/>
                    <a:pt x="250" y="228"/>
                  </a:cubicBezTo>
                  <a:cubicBezTo>
                    <a:pt x="257" y="229"/>
                    <a:pt x="265" y="230"/>
                    <a:pt x="274" y="230"/>
                  </a:cubicBezTo>
                  <a:cubicBezTo>
                    <a:pt x="283" y="230"/>
                    <a:pt x="291" y="229"/>
                    <a:pt x="298" y="227"/>
                  </a:cubicBezTo>
                  <a:cubicBezTo>
                    <a:pt x="305" y="225"/>
                    <a:pt x="312" y="222"/>
                    <a:pt x="317" y="217"/>
                  </a:cubicBezTo>
                  <a:cubicBezTo>
                    <a:pt x="322" y="213"/>
                    <a:pt x="326" y="207"/>
                    <a:pt x="329" y="201"/>
                  </a:cubicBezTo>
                  <a:cubicBezTo>
                    <a:pt x="332" y="194"/>
                    <a:pt x="333" y="186"/>
                    <a:pt x="333" y="177"/>
                  </a:cubicBezTo>
                  <a:cubicBezTo>
                    <a:pt x="333" y="169"/>
                    <a:pt x="332" y="162"/>
                    <a:pt x="330" y="155"/>
                  </a:cubicBezTo>
                  <a:cubicBezTo>
                    <a:pt x="327" y="149"/>
                    <a:pt x="323" y="144"/>
                    <a:pt x="318" y="140"/>
                  </a:cubicBezTo>
                  <a:cubicBezTo>
                    <a:pt x="313" y="136"/>
                    <a:pt x="306" y="133"/>
                    <a:pt x="298" y="131"/>
                  </a:cubicBezTo>
                  <a:cubicBezTo>
                    <a:pt x="290" y="129"/>
                    <a:pt x="281" y="128"/>
                    <a:pt x="270" y="128"/>
                  </a:cubicBezTo>
                  <a:cubicBezTo>
                    <a:pt x="262" y="128"/>
                    <a:pt x="255" y="128"/>
                    <a:pt x="249" y="129"/>
                  </a:cubicBezTo>
                  <a:cubicBezTo>
                    <a:pt x="244" y="130"/>
                    <a:pt x="238" y="130"/>
                    <a:pt x="234" y="130"/>
                  </a:cubicBezTo>
                  <a:cubicBezTo>
                    <a:pt x="230" y="130"/>
                    <a:pt x="227" y="130"/>
                    <a:pt x="226" y="128"/>
                  </a:cubicBezTo>
                  <a:cubicBezTo>
                    <a:pt x="224" y="126"/>
                    <a:pt x="224" y="123"/>
                    <a:pt x="224" y="118"/>
                  </a:cubicBezTo>
                  <a:lnTo>
                    <a:pt x="224" y="16"/>
                  </a:lnTo>
                  <a:cubicBezTo>
                    <a:pt x="224" y="12"/>
                    <a:pt x="225" y="9"/>
                    <a:pt x="227" y="7"/>
                  </a:cubicBezTo>
                  <a:cubicBezTo>
                    <a:pt x="229" y="5"/>
                    <a:pt x="231" y="4"/>
                    <a:pt x="235" y="4"/>
                  </a:cubicBezTo>
                  <a:lnTo>
                    <a:pt x="346" y="4"/>
                  </a:lnTo>
                  <a:cubicBezTo>
                    <a:pt x="347" y="4"/>
                    <a:pt x="348" y="4"/>
                    <a:pt x="349" y="5"/>
                  </a:cubicBezTo>
                  <a:cubicBezTo>
                    <a:pt x="350" y="5"/>
                    <a:pt x="351" y="6"/>
                    <a:pt x="351" y="7"/>
                  </a:cubicBezTo>
                  <a:cubicBezTo>
                    <a:pt x="352" y="8"/>
                    <a:pt x="352" y="10"/>
                    <a:pt x="353" y="12"/>
                  </a:cubicBezTo>
                  <a:cubicBezTo>
                    <a:pt x="353" y="14"/>
                    <a:pt x="353" y="16"/>
                    <a:pt x="353" y="18"/>
                  </a:cubicBezTo>
                  <a:cubicBezTo>
                    <a:pt x="353" y="23"/>
                    <a:pt x="353" y="26"/>
                    <a:pt x="351" y="29"/>
                  </a:cubicBezTo>
                  <a:cubicBezTo>
                    <a:pt x="350" y="32"/>
                    <a:pt x="348" y="33"/>
                    <a:pt x="346" y="33"/>
                  </a:cubicBezTo>
                  <a:lnTo>
                    <a:pt x="253" y="33"/>
                  </a:lnTo>
                  <a:lnTo>
                    <a:pt x="253" y="103"/>
                  </a:lnTo>
                  <a:cubicBezTo>
                    <a:pt x="257" y="102"/>
                    <a:pt x="262" y="102"/>
                    <a:pt x="266" y="102"/>
                  </a:cubicBezTo>
                  <a:cubicBezTo>
                    <a:pt x="271" y="102"/>
                    <a:pt x="276" y="102"/>
                    <a:pt x="283" y="102"/>
                  </a:cubicBezTo>
                  <a:cubicBezTo>
                    <a:pt x="297" y="102"/>
                    <a:pt x="309" y="103"/>
                    <a:pt x="320" y="107"/>
                  </a:cubicBezTo>
                  <a:cubicBezTo>
                    <a:pt x="331" y="110"/>
                    <a:pt x="340" y="115"/>
                    <a:pt x="347" y="121"/>
                  </a:cubicBezTo>
                  <a:cubicBezTo>
                    <a:pt x="354" y="127"/>
                    <a:pt x="359" y="135"/>
                    <a:pt x="363" y="144"/>
                  </a:cubicBezTo>
                  <a:cubicBezTo>
                    <a:pt x="367" y="153"/>
                    <a:pt x="369" y="163"/>
                    <a:pt x="369" y="173"/>
                  </a:cubicBezTo>
                  <a:close/>
                  <a:moveTo>
                    <a:pt x="579" y="128"/>
                  </a:moveTo>
                  <a:cubicBezTo>
                    <a:pt x="579" y="147"/>
                    <a:pt x="577" y="165"/>
                    <a:pt x="574" y="181"/>
                  </a:cubicBezTo>
                  <a:cubicBezTo>
                    <a:pt x="571" y="197"/>
                    <a:pt x="566" y="210"/>
                    <a:pt x="559" y="222"/>
                  </a:cubicBezTo>
                  <a:cubicBezTo>
                    <a:pt x="552" y="233"/>
                    <a:pt x="543" y="242"/>
                    <a:pt x="532" y="248"/>
                  </a:cubicBezTo>
                  <a:cubicBezTo>
                    <a:pt x="520" y="254"/>
                    <a:pt x="506" y="258"/>
                    <a:pt x="490" y="258"/>
                  </a:cubicBezTo>
                  <a:cubicBezTo>
                    <a:pt x="474" y="258"/>
                    <a:pt x="461" y="255"/>
                    <a:pt x="450" y="249"/>
                  </a:cubicBezTo>
                  <a:cubicBezTo>
                    <a:pt x="439" y="243"/>
                    <a:pt x="430" y="235"/>
                    <a:pt x="424" y="224"/>
                  </a:cubicBezTo>
                  <a:cubicBezTo>
                    <a:pt x="417" y="213"/>
                    <a:pt x="413" y="200"/>
                    <a:pt x="410" y="184"/>
                  </a:cubicBezTo>
                  <a:cubicBezTo>
                    <a:pt x="407" y="168"/>
                    <a:pt x="406" y="150"/>
                    <a:pt x="406" y="129"/>
                  </a:cubicBezTo>
                  <a:cubicBezTo>
                    <a:pt x="406" y="110"/>
                    <a:pt x="407" y="93"/>
                    <a:pt x="410" y="77"/>
                  </a:cubicBezTo>
                  <a:cubicBezTo>
                    <a:pt x="413" y="61"/>
                    <a:pt x="418" y="47"/>
                    <a:pt x="425" y="36"/>
                  </a:cubicBezTo>
                  <a:cubicBezTo>
                    <a:pt x="432" y="25"/>
                    <a:pt x="442" y="16"/>
                    <a:pt x="453" y="9"/>
                  </a:cubicBezTo>
                  <a:cubicBezTo>
                    <a:pt x="464" y="3"/>
                    <a:pt x="478" y="0"/>
                    <a:pt x="495" y="0"/>
                  </a:cubicBezTo>
                  <a:cubicBezTo>
                    <a:pt x="510" y="0"/>
                    <a:pt x="524" y="3"/>
                    <a:pt x="535" y="9"/>
                  </a:cubicBezTo>
                  <a:cubicBezTo>
                    <a:pt x="545" y="14"/>
                    <a:pt x="554" y="22"/>
                    <a:pt x="561" y="33"/>
                  </a:cubicBezTo>
                  <a:cubicBezTo>
                    <a:pt x="567" y="44"/>
                    <a:pt x="572" y="58"/>
                    <a:pt x="575" y="73"/>
                  </a:cubicBezTo>
                  <a:cubicBezTo>
                    <a:pt x="577" y="89"/>
                    <a:pt x="579" y="108"/>
                    <a:pt x="579" y="128"/>
                  </a:cubicBezTo>
                  <a:close/>
                  <a:moveTo>
                    <a:pt x="545" y="131"/>
                  </a:moveTo>
                  <a:cubicBezTo>
                    <a:pt x="545" y="118"/>
                    <a:pt x="544" y="107"/>
                    <a:pt x="543" y="97"/>
                  </a:cubicBezTo>
                  <a:cubicBezTo>
                    <a:pt x="542" y="87"/>
                    <a:pt x="541" y="78"/>
                    <a:pt x="539" y="71"/>
                  </a:cubicBezTo>
                  <a:cubicBezTo>
                    <a:pt x="538" y="63"/>
                    <a:pt x="535" y="56"/>
                    <a:pt x="533" y="51"/>
                  </a:cubicBezTo>
                  <a:cubicBezTo>
                    <a:pt x="530" y="46"/>
                    <a:pt x="527" y="41"/>
                    <a:pt x="523" y="38"/>
                  </a:cubicBezTo>
                  <a:cubicBezTo>
                    <a:pt x="519" y="34"/>
                    <a:pt x="514" y="31"/>
                    <a:pt x="509" y="30"/>
                  </a:cubicBezTo>
                  <a:cubicBezTo>
                    <a:pt x="504" y="28"/>
                    <a:pt x="499" y="27"/>
                    <a:pt x="493" y="27"/>
                  </a:cubicBezTo>
                  <a:cubicBezTo>
                    <a:pt x="482" y="27"/>
                    <a:pt x="473" y="30"/>
                    <a:pt x="466" y="35"/>
                  </a:cubicBezTo>
                  <a:cubicBezTo>
                    <a:pt x="459" y="40"/>
                    <a:pt x="454" y="47"/>
                    <a:pt x="450" y="56"/>
                  </a:cubicBezTo>
                  <a:cubicBezTo>
                    <a:pt x="446" y="65"/>
                    <a:pt x="443" y="76"/>
                    <a:pt x="442" y="88"/>
                  </a:cubicBezTo>
                  <a:cubicBezTo>
                    <a:pt x="440" y="100"/>
                    <a:pt x="440" y="113"/>
                    <a:pt x="440" y="127"/>
                  </a:cubicBezTo>
                  <a:cubicBezTo>
                    <a:pt x="440" y="146"/>
                    <a:pt x="441" y="162"/>
                    <a:pt x="443" y="175"/>
                  </a:cubicBezTo>
                  <a:cubicBezTo>
                    <a:pt x="445" y="188"/>
                    <a:pt x="448" y="198"/>
                    <a:pt x="452" y="207"/>
                  </a:cubicBezTo>
                  <a:cubicBezTo>
                    <a:pt x="456" y="215"/>
                    <a:pt x="461" y="221"/>
                    <a:pt x="468" y="225"/>
                  </a:cubicBezTo>
                  <a:cubicBezTo>
                    <a:pt x="474" y="228"/>
                    <a:pt x="482" y="230"/>
                    <a:pt x="492" y="230"/>
                  </a:cubicBezTo>
                  <a:cubicBezTo>
                    <a:pt x="499" y="230"/>
                    <a:pt x="505" y="229"/>
                    <a:pt x="511" y="227"/>
                  </a:cubicBezTo>
                  <a:cubicBezTo>
                    <a:pt x="516" y="224"/>
                    <a:pt x="521" y="221"/>
                    <a:pt x="525" y="217"/>
                  </a:cubicBezTo>
                  <a:cubicBezTo>
                    <a:pt x="529" y="213"/>
                    <a:pt x="532" y="207"/>
                    <a:pt x="534" y="201"/>
                  </a:cubicBezTo>
                  <a:cubicBezTo>
                    <a:pt x="537" y="195"/>
                    <a:pt x="539" y="189"/>
                    <a:pt x="541" y="181"/>
                  </a:cubicBezTo>
                  <a:cubicBezTo>
                    <a:pt x="542" y="174"/>
                    <a:pt x="543" y="166"/>
                    <a:pt x="544" y="157"/>
                  </a:cubicBezTo>
                  <a:cubicBezTo>
                    <a:pt x="544" y="149"/>
                    <a:pt x="545" y="140"/>
                    <a:pt x="545" y="131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4" name="Freeform 1776"/>
            <p:cNvSpPr>
              <a:spLocks noEditPoints="1"/>
            </p:cNvSpPr>
            <p:nvPr/>
          </p:nvSpPr>
          <p:spPr bwMode="auto">
            <a:xfrm>
              <a:off x="320017" y="2463621"/>
              <a:ext cx="259004" cy="117548"/>
            </a:xfrm>
            <a:custGeom>
              <a:avLst/>
              <a:gdLst/>
              <a:ahLst/>
              <a:cxnLst>
                <a:cxn ang="0">
                  <a:pos x="151" y="209"/>
                </a:cxn>
                <a:cxn ang="0">
                  <a:pos x="103" y="252"/>
                </a:cxn>
                <a:cxn ang="0">
                  <a:pos x="43" y="256"/>
                </a:cxn>
                <a:cxn ang="0">
                  <a:pos x="11" y="247"/>
                </a:cxn>
                <a:cxn ang="0">
                  <a:pos x="2" y="241"/>
                </a:cxn>
                <a:cxn ang="0">
                  <a:pos x="0" y="234"/>
                </a:cxn>
                <a:cxn ang="0">
                  <a:pos x="0" y="222"/>
                </a:cxn>
                <a:cxn ang="0">
                  <a:pos x="3" y="215"/>
                </a:cxn>
                <a:cxn ang="0">
                  <a:pos x="12" y="217"/>
                </a:cxn>
                <a:cxn ang="0">
                  <a:pos x="40" y="228"/>
                </a:cxn>
                <a:cxn ang="0">
                  <a:pos x="88" y="227"/>
                </a:cxn>
                <a:cxn ang="0">
                  <a:pos x="118" y="201"/>
                </a:cxn>
                <a:cxn ang="0">
                  <a:pos x="119" y="155"/>
                </a:cxn>
                <a:cxn ang="0">
                  <a:pos x="88" y="131"/>
                </a:cxn>
                <a:cxn ang="0">
                  <a:pos x="39" y="129"/>
                </a:cxn>
                <a:cxn ang="0">
                  <a:pos x="15" y="128"/>
                </a:cxn>
                <a:cxn ang="0">
                  <a:pos x="13" y="16"/>
                </a:cxn>
                <a:cxn ang="0">
                  <a:pos x="25" y="4"/>
                </a:cxn>
                <a:cxn ang="0">
                  <a:pos x="138" y="5"/>
                </a:cxn>
                <a:cxn ang="0">
                  <a:pos x="142" y="12"/>
                </a:cxn>
                <a:cxn ang="0">
                  <a:pos x="141" y="29"/>
                </a:cxn>
                <a:cxn ang="0">
                  <a:pos x="42" y="33"/>
                </a:cxn>
                <a:cxn ang="0">
                  <a:pos x="56" y="102"/>
                </a:cxn>
                <a:cxn ang="0">
                  <a:pos x="110" y="107"/>
                </a:cxn>
                <a:cxn ang="0">
                  <a:pos x="153" y="144"/>
                </a:cxn>
                <a:cxn ang="0">
                  <a:pos x="368" y="128"/>
                </a:cxn>
                <a:cxn ang="0">
                  <a:pos x="349" y="222"/>
                </a:cxn>
                <a:cxn ang="0">
                  <a:pos x="279" y="258"/>
                </a:cxn>
                <a:cxn ang="0">
                  <a:pos x="213" y="224"/>
                </a:cxn>
                <a:cxn ang="0">
                  <a:pos x="195" y="129"/>
                </a:cxn>
                <a:cxn ang="0">
                  <a:pos x="215" y="36"/>
                </a:cxn>
                <a:cxn ang="0">
                  <a:pos x="284" y="0"/>
                </a:cxn>
                <a:cxn ang="0">
                  <a:pos x="350" y="33"/>
                </a:cxn>
                <a:cxn ang="0">
                  <a:pos x="368" y="128"/>
                </a:cxn>
                <a:cxn ang="0">
                  <a:pos x="333" y="97"/>
                </a:cxn>
                <a:cxn ang="0">
                  <a:pos x="322" y="51"/>
                </a:cxn>
                <a:cxn ang="0">
                  <a:pos x="299" y="30"/>
                </a:cxn>
                <a:cxn ang="0">
                  <a:pos x="255" y="35"/>
                </a:cxn>
                <a:cxn ang="0">
                  <a:pos x="231" y="88"/>
                </a:cxn>
                <a:cxn ang="0">
                  <a:pos x="232" y="175"/>
                </a:cxn>
                <a:cxn ang="0">
                  <a:pos x="257" y="225"/>
                </a:cxn>
                <a:cxn ang="0">
                  <a:pos x="300" y="227"/>
                </a:cxn>
                <a:cxn ang="0">
                  <a:pos x="324" y="201"/>
                </a:cxn>
                <a:cxn ang="0">
                  <a:pos x="333" y="157"/>
                </a:cxn>
                <a:cxn ang="0">
                  <a:pos x="569" y="128"/>
                </a:cxn>
                <a:cxn ang="0">
                  <a:pos x="549" y="222"/>
                </a:cxn>
                <a:cxn ang="0">
                  <a:pos x="480" y="258"/>
                </a:cxn>
                <a:cxn ang="0">
                  <a:pos x="414" y="224"/>
                </a:cxn>
                <a:cxn ang="0">
                  <a:pos x="396" y="129"/>
                </a:cxn>
                <a:cxn ang="0">
                  <a:pos x="415" y="36"/>
                </a:cxn>
                <a:cxn ang="0">
                  <a:pos x="485" y="0"/>
                </a:cxn>
                <a:cxn ang="0">
                  <a:pos x="551" y="33"/>
                </a:cxn>
                <a:cxn ang="0">
                  <a:pos x="569" y="128"/>
                </a:cxn>
                <a:cxn ang="0">
                  <a:pos x="533" y="97"/>
                </a:cxn>
                <a:cxn ang="0">
                  <a:pos x="523" y="51"/>
                </a:cxn>
                <a:cxn ang="0">
                  <a:pos x="499" y="30"/>
                </a:cxn>
                <a:cxn ang="0">
                  <a:pos x="456" y="35"/>
                </a:cxn>
                <a:cxn ang="0">
                  <a:pos x="432" y="88"/>
                </a:cxn>
                <a:cxn ang="0">
                  <a:pos x="433" y="175"/>
                </a:cxn>
                <a:cxn ang="0">
                  <a:pos x="458" y="225"/>
                </a:cxn>
                <a:cxn ang="0">
                  <a:pos x="501" y="227"/>
                </a:cxn>
                <a:cxn ang="0">
                  <a:pos x="524" y="201"/>
                </a:cxn>
                <a:cxn ang="0">
                  <a:pos x="534" y="157"/>
                </a:cxn>
              </a:cxnLst>
              <a:rect l="0" t="0" r="r" b="b"/>
              <a:pathLst>
                <a:path w="569" h="258">
                  <a:moveTo>
                    <a:pt x="158" y="173"/>
                  </a:moveTo>
                  <a:cubicBezTo>
                    <a:pt x="158" y="187"/>
                    <a:pt x="156" y="199"/>
                    <a:pt x="151" y="209"/>
                  </a:cubicBezTo>
                  <a:cubicBezTo>
                    <a:pt x="147" y="220"/>
                    <a:pt x="140" y="228"/>
                    <a:pt x="132" y="236"/>
                  </a:cubicBezTo>
                  <a:cubicBezTo>
                    <a:pt x="124" y="243"/>
                    <a:pt x="114" y="248"/>
                    <a:pt x="103" y="252"/>
                  </a:cubicBezTo>
                  <a:cubicBezTo>
                    <a:pt x="91" y="256"/>
                    <a:pt x="79" y="258"/>
                    <a:pt x="65" y="258"/>
                  </a:cubicBezTo>
                  <a:cubicBezTo>
                    <a:pt x="57" y="258"/>
                    <a:pt x="50" y="257"/>
                    <a:pt x="43" y="256"/>
                  </a:cubicBezTo>
                  <a:cubicBezTo>
                    <a:pt x="36" y="255"/>
                    <a:pt x="30" y="253"/>
                    <a:pt x="24" y="252"/>
                  </a:cubicBezTo>
                  <a:cubicBezTo>
                    <a:pt x="19" y="250"/>
                    <a:pt x="14" y="249"/>
                    <a:pt x="11" y="247"/>
                  </a:cubicBezTo>
                  <a:cubicBezTo>
                    <a:pt x="7" y="246"/>
                    <a:pt x="5" y="244"/>
                    <a:pt x="4" y="243"/>
                  </a:cubicBezTo>
                  <a:cubicBezTo>
                    <a:pt x="3" y="242"/>
                    <a:pt x="3" y="242"/>
                    <a:pt x="2" y="241"/>
                  </a:cubicBezTo>
                  <a:cubicBezTo>
                    <a:pt x="2" y="240"/>
                    <a:pt x="1" y="239"/>
                    <a:pt x="1" y="238"/>
                  </a:cubicBezTo>
                  <a:cubicBezTo>
                    <a:pt x="1" y="237"/>
                    <a:pt x="1" y="236"/>
                    <a:pt x="0" y="234"/>
                  </a:cubicBezTo>
                  <a:cubicBezTo>
                    <a:pt x="0" y="232"/>
                    <a:pt x="0" y="230"/>
                    <a:pt x="0" y="228"/>
                  </a:cubicBezTo>
                  <a:cubicBezTo>
                    <a:pt x="0" y="226"/>
                    <a:pt x="0" y="224"/>
                    <a:pt x="0" y="222"/>
                  </a:cubicBezTo>
                  <a:cubicBezTo>
                    <a:pt x="1" y="220"/>
                    <a:pt x="1" y="219"/>
                    <a:pt x="2" y="218"/>
                  </a:cubicBezTo>
                  <a:cubicBezTo>
                    <a:pt x="2" y="217"/>
                    <a:pt x="3" y="216"/>
                    <a:pt x="3" y="215"/>
                  </a:cubicBezTo>
                  <a:cubicBezTo>
                    <a:pt x="4" y="215"/>
                    <a:pt x="5" y="215"/>
                    <a:pt x="6" y="215"/>
                  </a:cubicBezTo>
                  <a:cubicBezTo>
                    <a:pt x="7" y="215"/>
                    <a:pt x="9" y="215"/>
                    <a:pt x="12" y="217"/>
                  </a:cubicBezTo>
                  <a:cubicBezTo>
                    <a:pt x="15" y="219"/>
                    <a:pt x="18" y="220"/>
                    <a:pt x="23" y="222"/>
                  </a:cubicBezTo>
                  <a:cubicBezTo>
                    <a:pt x="27" y="224"/>
                    <a:pt x="33" y="226"/>
                    <a:pt x="40" y="228"/>
                  </a:cubicBezTo>
                  <a:cubicBezTo>
                    <a:pt x="47" y="229"/>
                    <a:pt x="54" y="230"/>
                    <a:pt x="64" y="230"/>
                  </a:cubicBezTo>
                  <a:cubicBezTo>
                    <a:pt x="72" y="230"/>
                    <a:pt x="80" y="229"/>
                    <a:pt x="88" y="227"/>
                  </a:cubicBezTo>
                  <a:cubicBezTo>
                    <a:pt x="95" y="225"/>
                    <a:pt x="101" y="222"/>
                    <a:pt x="106" y="217"/>
                  </a:cubicBezTo>
                  <a:cubicBezTo>
                    <a:pt x="111" y="213"/>
                    <a:pt x="116" y="207"/>
                    <a:pt x="118" y="201"/>
                  </a:cubicBezTo>
                  <a:cubicBezTo>
                    <a:pt x="121" y="194"/>
                    <a:pt x="123" y="186"/>
                    <a:pt x="123" y="177"/>
                  </a:cubicBezTo>
                  <a:cubicBezTo>
                    <a:pt x="123" y="169"/>
                    <a:pt x="122" y="161"/>
                    <a:pt x="119" y="155"/>
                  </a:cubicBezTo>
                  <a:cubicBezTo>
                    <a:pt x="117" y="149"/>
                    <a:pt x="113" y="144"/>
                    <a:pt x="108" y="140"/>
                  </a:cubicBezTo>
                  <a:cubicBezTo>
                    <a:pt x="102" y="136"/>
                    <a:pt x="96" y="133"/>
                    <a:pt x="88" y="131"/>
                  </a:cubicBezTo>
                  <a:cubicBezTo>
                    <a:pt x="80" y="129"/>
                    <a:pt x="70" y="128"/>
                    <a:pt x="59" y="128"/>
                  </a:cubicBezTo>
                  <a:cubicBezTo>
                    <a:pt x="51" y="128"/>
                    <a:pt x="45" y="128"/>
                    <a:pt x="39" y="129"/>
                  </a:cubicBezTo>
                  <a:cubicBezTo>
                    <a:pt x="33" y="130"/>
                    <a:pt x="28" y="130"/>
                    <a:pt x="23" y="130"/>
                  </a:cubicBezTo>
                  <a:cubicBezTo>
                    <a:pt x="19" y="130"/>
                    <a:pt x="17" y="129"/>
                    <a:pt x="15" y="128"/>
                  </a:cubicBezTo>
                  <a:cubicBezTo>
                    <a:pt x="14" y="126"/>
                    <a:pt x="13" y="123"/>
                    <a:pt x="13" y="118"/>
                  </a:cubicBezTo>
                  <a:lnTo>
                    <a:pt x="13" y="16"/>
                  </a:lnTo>
                  <a:cubicBezTo>
                    <a:pt x="13" y="12"/>
                    <a:pt x="14" y="9"/>
                    <a:pt x="16" y="7"/>
                  </a:cubicBezTo>
                  <a:cubicBezTo>
                    <a:pt x="18" y="5"/>
                    <a:pt x="21" y="4"/>
                    <a:pt x="25" y="4"/>
                  </a:cubicBezTo>
                  <a:lnTo>
                    <a:pt x="135" y="4"/>
                  </a:lnTo>
                  <a:cubicBezTo>
                    <a:pt x="136" y="4"/>
                    <a:pt x="137" y="4"/>
                    <a:pt x="138" y="5"/>
                  </a:cubicBezTo>
                  <a:cubicBezTo>
                    <a:pt x="139" y="5"/>
                    <a:pt x="140" y="6"/>
                    <a:pt x="141" y="7"/>
                  </a:cubicBezTo>
                  <a:cubicBezTo>
                    <a:pt x="141" y="8"/>
                    <a:pt x="142" y="10"/>
                    <a:pt x="142" y="12"/>
                  </a:cubicBezTo>
                  <a:cubicBezTo>
                    <a:pt x="142" y="13"/>
                    <a:pt x="143" y="16"/>
                    <a:pt x="143" y="18"/>
                  </a:cubicBezTo>
                  <a:cubicBezTo>
                    <a:pt x="143" y="23"/>
                    <a:pt x="142" y="26"/>
                    <a:pt x="141" y="29"/>
                  </a:cubicBezTo>
                  <a:cubicBezTo>
                    <a:pt x="139" y="31"/>
                    <a:pt x="138" y="33"/>
                    <a:pt x="135" y="33"/>
                  </a:cubicBezTo>
                  <a:lnTo>
                    <a:pt x="42" y="33"/>
                  </a:lnTo>
                  <a:lnTo>
                    <a:pt x="42" y="103"/>
                  </a:lnTo>
                  <a:cubicBezTo>
                    <a:pt x="46" y="102"/>
                    <a:pt x="51" y="102"/>
                    <a:pt x="56" y="102"/>
                  </a:cubicBezTo>
                  <a:cubicBezTo>
                    <a:pt x="60" y="102"/>
                    <a:pt x="66" y="102"/>
                    <a:pt x="72" y="102"/>
                  </a:cubicBezTo>
                  <a:cubicBezTo>
                    <a:pt x="86" y="102"/>
                    <a:pt x="99" y="103"/>
                    <a:pt x="110" y="107"/>
                  </a:cubicBezTo>
                  <a:cubicBezTo>
                    <a:pt x="120" y="110"/>
                    <a:pt x="129" y="115"/>
                    <a:pt x="136" y="121"/>
                  </a:cubicBezTo>
                  <a:cubicBezTo>
                    <a:pt x="143" y="127"/>
                    <a:pt x="149" y="135"/>
                    <a:pt x="153" y="144"/>
                  </a:cubicBezTo>
                  <a:cubicBezTo>
                    <a:pt x="156" y="153"/>
                    <a:pt x="158" y="163"/>
                    <a:pt x="158" y="173"/>
                  </a:cubicBezTo>
                  <a:close/>
                  <a:moveTo>
                    <a:pt x="368" y="128"/>
                  </a:moveTo>
                  <a:cubicBezTo>
                    <a:pt x="368" y="147"/>
                    <a:pt x="367" y="165"/>
                    <a:pt x="364" y="181"/>
                  </a:cubicBezTo>
                  <a:cubicBezTo>
                    <a:pt x="361" y="197"/>
                    <a:pt x="356" y="210"/>
                    <a:pt x="349" y="222"/>
                  </a:cubicBezTo>
                  <a:cubicBezTo>
                    <a:pt x="341" y="233"/>
                    <a:pt x="332" y="242"/>
                    <a:pt x="321" y="248"/>
                  </a:cubicBezTo>
                  <a:cubicBezTo>
                    <a:pt x="310" y="254"/>
                    <a:pt x="296" y="258"/>
                    <a:pt x="279" y="258"/>
                  </a:cubicBezTo>
                  <a:cubicBezTo>
                    <a:pt x="263" y="258"/>
                    <a:pt x="250" y="255"/>
                    <a:pt x="239" y="249"/>
                  </a:cubicBezTo>
                  <a:cubicBezTo>
                    <a:pt x="229" y="243"/>
                    <a:pt x="220" y="235"/>
                    <a:pt x="213" y="224"/>
                  </a:cubicBezTo>
                  <a:cubicBezTo>
                    <a:pt x="207" y="213"/>
                    <a:pt x="202" y="200"/>
                    <a:pt x="199" y="184"/>
                  </a:cubicBezTo>
                  <a:cubicBezTo>
                    <a:pt x="197" y="168"/>
                    <a:pt x="195" y="150"/>
                    <a:pt x="195" y="129"/>
                  </a:cubicBezTo>
                  <a:cubicBezTo>
                    <a:pt x="195" y="110"/>
                    <a:pt x="197" y="93"/>
                    <a:pt x="200" y="77"/>
                  </a:cubicBezTo>
                  <a:cubicBezTo>
                    <a:pt x="203" y="61"/>
                    <a:pt x="208" y="47"/>
                    <a:pt x="215" y="36"/>
                  </a:cubicBezTo>
                  <a:cubicBezTo>
                    <a:pt x="222" y="25"/>
                    <a:pt x="231" y="16"/>
                    <a:pt x="242" y="9"/>
                  </a:cubicBezTo>
                  <a:cubicBezTo>
                    <a:pt x="254" y="3"/>
                    <a:pt x="268" y="0"/>
                    <a:pt x="284" y="0"/>
                  </a:cubicBezTo>
                  <a:cubicBezTo>
                    <a:pt x="300" y="0"/>
                    <a:pt x="313" y="3"/>
                    <a:pt x="324" y="9"/>
                  </a:cubicBezTo>
                  <a:cubicBezTo>
                    <a:pt x="335" y="14"/>
                    <a:pt x="343" y="22"/>
                    <a:pt x="350" y="33"/>
                  </a:cubicBezTo>
                  <a:cubicBezTo>
                    <a:pt x="357" y="44"/>
                    <a:pt x="361" y="58"/>
                    <a:pt x="364" y="73"/>
                  </a:cubicBezTo>
                  <a:cubicBezTo>
                    <a:pt x="367" y="89"/>
                    <a:pt x="368" y="108"/>
                    <a:pt x="368" y="128"/>
                  </a:cubicBezTo>
                  <a:close/>
                  <a:moveTo>
                    <a:pt x="334" y="131"/>
                  </a:moveTo>
                  <a:cubicBezTo>
                    <a:pt x="334" y="118"/>
                    <a:pt x="334" y="107"/>
                    <a:pt x="333" y="97"/>
                  </a:cubicBezTo>
                  <a:cubicBezTo>
                    <a:pt x="332" y="87"/>
                    <a:pt x="331" y="78"/>
                    <a:pt x="329" y="71"/>
                  </a:cubicBezTo>
                  <a:cubicBezTo>
                    <a:pt x="327" y="63"/>
                    <a:pt x="325" y="56"/>
                    <a:pt x="322" y="51"/>
                  </a:cubicBezTo>
                  <a:cubicBezTo>
                    <a:pt x="319" y="46"/>
                    <a:pt x="316" y="41"/>
                    <a:pt x="312" y="37"/>
                  </a:cubicBezTo>
                  <a:cubicBezTo>
                    <a:pt x="308" y="34"/>
                    <a:pt x="304" y="31"/>
                    <a:pt x="299" y="30"/>
                  </a:cubicBezTo>
                  <a:cubicBezTo>
                    <a:pt x="294" y="28"/>
                    <a:pt x="288" y="27"/>
                    <a:pt x="282" y="27"/>
                  </a:cubicBezTo>
                  <a:cubicBezTo>
                    <a:pt x="271" y="27"/>
                    <a:pt x="262" y="30"/>
                    <a:pt x="255" y="35"/>
                  </a:cubicBezTo>
                  <a:cubicBezTo>
                    <a:pt x="249" y="40"/>
                    <a:pt x="243" y="47"/>
                    <a:pt x="239" y="56"/>
                  </a:cubicBezTo>
                  <a:cubicBezTo>
                    <a:pt x="235" y="65"/>
                    <a:pt x="233" y="76"/>
                    <a:pt x="231" y="88"/>
                  </a:cubicBezTo>
                  <a:cubicBezTo>
                    <a:pt x="230" y="100"/>
                    <a:pt x="229" y="113"/>
                    <a:pt x="229" y="127"/>
                  </a:cubicBezTo>
                  <a:cubicBezTo>
                    <a:pt x="229" y="146"/>
                    <a:pt x="230" y="162"/>
                    <a:pt x="232" y="175"/>
                  </a:cubicBezTo>
                  <a:cubicBezTo>
                    <a:pt x="234" y="188"/>
                    <a:pt x="237" y="198"/>
                    <a:pt x="241" y="207"/>
                  </a:cubicBezTo>
                  <a:cubicBezTo>
                    <a:pt x="245" y="215"/>
                    <a:pt x="251" y="221"/>
                    <a:pt x="257" y="225"/>
                  </a:cubicBezTo>
                  <a:cubicBezTo>
                    <a:pt x="264" y="228"/>
                    <a:pt x="272" y="230"/>
                    <a:pt x="281" y="230"/>
                  </a:cubicBezTo>
                  <a:cubicBezTo>
                    <a:pt x="288" y="230"/>
                    <a:pt x="295" y="229"/>
                    <a:pt x="300" y="227"/>
                  </a:cubicBezTo>
                  <a:cubicBezTo>
                    <a:pt x="305" y="224"/>
                    <a:pt x="310" y="221"/>
                    <a:pt x="314" y="217"/>
                  </a:cubicBezTo>
                  <a:cubicBezTo>
                    <a:pt x="318" y="213"/>
                    <a:pt x="321" y="207"/>
                    <a:pt x="324" y="201"/>
                  </a:cubicBezTo>
                  <a:cubicBezTo>
                    <a:pt x="326" y="195"/>
                    <a:pt x="328" y="189"/>
                    <a:pt x="330" y="181"/>
                  </a:cubicBezTo>
                  <a:cubicBezTo>
                    <a:pt x="332" y="174"/>
                    <a:pt x="333" y="166"/>
                    <a:pt x="333" y="157"/>
                  </a:cubicBezTo>
                  <a:cubicBezTo>
                    <a:pt x="334" y="149"/>
                    <a:pt x="334" y="140"/>
                    <a:pt x="334" y="131"/>
                  </a:cubicBezTo>
                  <a:close/>
                  <a:moveTo>
                    <a:pt x="569" y="128"/>
                  </a:moveTo>
                  <a:cubicBezTo>
                    <a:pt x="569" y="147"/>
                    <a:pt x="567" y="165"/>
                    <a:pt x="564" y="181"/>
                  </a:cubicBezTo>
                  <a:cubicBezTo>
                    <a:pt x="561" y="197"/>
                    <a:pt x="556" y="210"/>
                    <a:pt x="549" y="222"/>
                  </a:cubicBezTo>
                  <a:cubicBezTo>
                    <a:pt x="542" y="233"/>
                    <a:pt x="533" y="242"/>
                    <a:pt x="522" y="248"/>
                  </a:cubicBezTo>
                  <a:cubicBezTo>
                    <a:pt x="510" y="254"/>
                    <a:pt x="496" y="258"/>
                    <a:pt x="480" y="258"/>
                  </a:cubicBezTo>
                  <a:cubicBezTo>
                    <a:pt x="464" y="258"/>
                    <a:pt x="451" y="255"/>
                    <a:pt x="440" y="249"/>
                  </a:cubicBezTo>
                  <a:cubicBezTo>
                    <a:pt x="429" y="243"/>
                    <a:pt x="420" y="235"/>
                    <a:pt x="414" y="224"/>
                  </a:cubicBezTo>
                  <a:cubicBezTo>
                    <a:pt x="407" y="213"/>
                    <a:pt x="403" y="200"/>
                    <a:pt x="400" y="184"/>
                  </a:cubicBezTo>
                  <a:cubicBezTo>
                    <a:pt x="397" y="168"/>
                    <a:pt x="396" y="150"/>
                    <a:pt x="396" y="129"/>
                  </a:cubicBezTo>
                  <a:cubicBezTo>
                    <a:pt x="396" y="110"/>
                    <a:pt x="397" y="93"/>
                    <a:pt x="400" y="77"/>
                  </a:cubicBezTo>
                  <a:cubicBezTo>
                    <a:pt x="403" y="61"/>
                    <a:pt x="408" y="47"/>
                    <a:pt x="415" y="36"/>
                  </a:cubicBezTo>
                  <a:cubicBezTo>
                    <a:pt x="422" y="25"/>
                    <a:pt x="432" y="16"/>
                    <a:pt x="443" y="9"/>
                  </a:cubicBezTo>
                  <a:cubicBezTo>
                    <a:pt x="454" y="3"/>
                    <a:pt x="468" y="0"/>
                    <a:pt x="485" y="0"/>
                  </a:cubicBezTo>
                  <a:cubicBezTo>
                    <a:pt x="500" y="0"/>
                    <a:pt x="514" y="3"/>
                    <a:pt x="525" y="9"/>
                  </a:cubicBezTo>
                  <a:cubicBezTo>
                    <a:pt x="535" y="14"/>
                    <a:pt x="544" y="22"/>
                    <a:pt x="551" y="33"/>
                  </a:cubicBezTo>
                  <a:cubicBezTo>
                    <a:pt x="557" y="44"/>
                    <a:pt x="562" y="58"/>
                    <a:pt x="565" y="73"/>
                  </a:cubicBezTo>
                  <a:cubicBezTo>
                    <a:pt x="567" y="89"/>
                    <a:pt x="569" y="108"/>
                    <a:pt x="569" y="128"/>
                  </a:cubicBezTo>
                  <a:close/>
                  <a:moveTo>
                    <a:pt x="535" y="131"/>
                  </a:moveTo>
                  <a:cubicBezTo>
                    <a:pt x="535" y="118"/>
                    <a:pt x="534" y="107"/>
                    <a:pt x="533" y="97"/>
                  </a:cubicBezTo>
                  <a:cubicBezTo>
                    <a:pt x="532" y="87"/>
                    <a:pt x="531" y="78"/>
                    <a:pt x="529" y="71"/>
                  </a:cubicBezTo>
                  <a:cubicBezTo>
                    <a:pt x="528" y="63"/>
                    <a:pt x="525" y="56"/>
                    <a:pt x="523" y="51"/>
                  </a:cubicBezTo>
                  <a:cubicBezTo>
                    <a:pt x="520" y="46"/>
                    <a:pt x="517" y="41"/>
                    <a:pt x="513" y="37"/>
                  </a:cubicBezTo>
                  <a:cubicBezTo>
                    <a:pt x="509" y="34"/>
                    <a:pt x="504" y="31"/>
                    <a:pt x="499" y="30"/>
                  </a:cubicBezTo>
                  <a:cubicBezTo>
                    <a:pt x="494" y="28"/>
                    <a:pt x="489" y="27"/>
                    <a:pt x="483" y="27"/>
                  </a:cubicBezTo>
                  <a:cubicBezTo>
                    <a:pt x="472" y="27"/>
                    <a:pt x="463" y="30"/>
                    <a:pt x="456" y="35"/>
                  </a:cubicBezTo>
                  <a:cubicBezTo>
                    <a:pt x="449" y="40"/>
                    <a:pt x="444" y="47"/>
                    <a:pt x="440" y="56"/>
                  </a:cubicBezTo>
                  <a:cubicBezTo>
                    <a:pt x="436" y="65"/>
                    <a:pt x="433" y="76"/>
                    <a:pt x="432" y="88"/>
                  </a:cubicBezTo>
                  <a:cubicBezTo>
                    <a:pt x="430" y="100"/>
                    <a:pt x="430" y="113"/>
                    <a:pt x="430" y="127"/>
                  </a:cubicBezTo>
                  <a:cubicBezTo>
                    <a:pt x="430" y="146"/>
                    <a:pt x="431" y="162"/>
                    <a:pt x="433" y="175"/>
                  </a:cubicBezTo>
                  <a:cubicBezTo>
                    <a:pt x="435" y="188"/>
                    <a:pt x="438" y="198"/>
                    <a:pt x="442" y="207"/>
                  </a:cubicBezTo>
                  <a:cubicBezTo>
                    <a:pt x="446" y="215"/>
                    <a:pt x="451" y="221"/>
                    <a:pt x="458" y="225"/>
                  </a:cubicBezTo>
                  <a:cubicBezTo>
                    <a:pt x="464" y="228"/>
                    <a:pt x="472" y="230"/>
                    <a:pt x="482" y="230"/>
                  </a:cubicBezTo>
                  <a:cubicBezTo>
                    <a:pt x="489" y="230"/>
                    <a:pt x="495" y="229"/>
                    <a:pt x="501" y="227"/>
                  </a:cubicBezTo>
                  <a:cubicBezTo>
                    <a:pt x="506" y="224"/>
                    <a:pt x="511" y="221"/>
                    <a:pt x="515" y="217"/>
                  </a:cubicBezTo>
                  <a:cubicBezTo>
                    <a:pt x="519" y="213"/>
                    <a:pt x="522" y="207"/>
                    <a:pt x="524" y="201"/>
                  </a:cubicBezTo>
                  <a:cubicBezTo>
                    <a:pt x="527" y="195"/>
                    <a:pt x="529" y="189"/>
                    <a:pt x="531" y="181"/>
                  </a:cubicBezTo>
                  <a:cubicBezTo>
                    <a:pt x="532" y="174"/>
                    <a:pt x="533" y="166"/>
                    <a:pt x="534" y="157"/>
                  </a:cubicBezTo>
                  <a:cubicBezTo>
                    <a:pt x="534" y="149"/>
                    <a:pt x="535" y="140"/>
                    <a:pt x="535" y="131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5" name="Freeform 1777"/>
            <p:cNvSpPr>
              <a:spLocks noEditPoints="1"/>
            </p:cNvSpPr>
            <p:nvPr/>
          </p:nvSpPr>
          <p:spPr bwMode="auto">
            <a:xfrm>
              <a:off x="979482" y="3260557"/>
              <a:ext cx="111571" cy="779006"/>
            </a:xfrm>
            <a:custGeom>
              <a:avLst/>
              <a:gdLst/>
              <a:ahLst/>
              <a:cxnLst>
                <a:cxn ang="0">
                  <a:pos x="204" y="1654"/>
                </a:cxn>
                <a:cxn ang="0">
                  <a:pos x="3" y="1576"/>
                </a:cxn>
                <a:cxn ang="0">
                  <a:pos x="3" y="1545"/>
                </a:cxn>
                <a:cxn ang="0">
                  <a:pos x="167" y="1390"/>
                </a:cxn>
                <a:cxn ang="0">
                  <a:pos x="204" y="1331"/>
                </a:cxn>
                <a:cxn ang="0">
                  <a:pos x="204" y="1400"/>
                </a:cxn>
                <a:cxn ang="0">
                  <a:pos x="204" y="1475"/>
                </a:cxn>
                <a:cxn ang="0">
                  <a:pos x="130" y="1182"/>
                </a:cxn>
                <a:cxn ang="0">
                  <a:pos x="55" y="1267"/>
                </a:cxn>
                <a:cxn ang="0">
                  <a:pos x="30" y="1156"/>
                </a:cxn>
                <a:cxn ang="0">
                  <a:pos x="22" y="1209"/>
                </a:cxn>
                <a:cxn ang="0">
                  <a:pos x="91" y="1204"/>
                </a:cxn>
                <a:cxn ang="0">
                  <a:pos x="207" y="1208"/>
                </a:cxn>
                <a:cxn ang="0">
                  <a:pos x="146" y="1246"/>
                </a:cxn>
                <a:cxn ang="0">
                  <a:pos x="153" y="1174"/>
                </a:cxn>
                <a:cxn ang="0">
                  <a:pos x="98" y="1098"/>
                </a:cxn>
                <a:cxn ang="0">
                  <a:pos x="0" y="1063"/>
                </a:cxn>
                <a:cxn ang="0">
                  <a:pos x="61" y="1028"/>
                </a:cxn>
                <a:cxn ang="0">
                  <a:pos x="54" y="1095"/>
                </a:cxn>
                <a:cxn ang="0">
                  <a:pos x="153" y="1002"/>
                </a:cxn>
                <a:cxn ang="0">
                  <a:pos x="177" y="1117"/>
                </a:cxn>
                <a:cxn ang="0">
                  <a:pos x="185" y="1061"/>
                </a:cxn>
                <a:cxn ang="0">
                  <a:pos x="234" y="987"/>
                </a:cxn>
                <a:cxn ang="0">
                  <a:pos x="194" y="948"/>
                </a:cxn>
                <a:cxn ang="0">
                  <a:pos x="136" y="740"/>
                </a:cxn>
                <a:cxn ang="0">
                  <a:pos x="204" y="786"/>
                </a:cxn>
                <a:cxn ang="0">
                  <a:pos x="3" y="788"/>
                </a:cxn>
                <a:cxn ang="0">
                  <a:pos x="136" y="786"/>
                </a:cxn>
                <a:cxn ang="0">
                  <a:pos x="140" y="621"/>
                </a:cxn>
                <a:cxn ang="0">
                  <a:pos x="54" y="621"/>
                </a:cxn>
                <a:cxn ang="0">
                  <a:pos x="54" y="539"/>
                </a:cxn>
                <a:cxn ang="0">
                  <a:pos x="140" y="607"/>
                </a:cxn>
                <a:cxn ang="0">
                  <a:pos x="76" y="431"/>
                </a:cxn>
                <a:cxn ang="0">
                  <a:pos x="204" y="515"/>
                </a:cxn>
                <a:cxn ang="0">
                  <a:pos x="167" y="502"/>
                </a:cxn>
                <a:cxn ang="0">
                  <a:pos x="204" y="291"/>
                </a:cxn>
                <a:cxn ang="0">
                  <a:pos x="163" y="371"/>
                </a:cxn>
                <a:cxn ang="0">
                  <a:pos x="97" y="295"/>
                </a:cxn>
                <a:cxn ang="0">
                  <a:pos x="96" y="344"/>
                </a:cxn>
                <a:cxn ang="0">
                  <a:pos x="52" y="318"/>
                </a:cxn>
                <a:cxn ang="0">
                  <a:pos x="202" y="266"/>
                </a:cxn>
                <a:cxn ang="0">
                  <a:pos x="179" y="307"/>
                </a:cxn>
                <a:cxn ang="0">
                  <a:pos x="139" y="336"/>
                </a:cxn>
                <a:cxn ang="0">
                  <a:pos x="186" y="181"/>
                </a:cxn>
                <a:cxn ang="0">
                  <a:pos x="192" y="146"/>
                </a:cxn>
                <a:cxn ang="0">
                  <a:pos x="121" y="238"/>
                </a:cxn>
                <a:cxn ang="0">
                  <a:pos x="106" y="130"/>
                </a:cxn>
                <a:cxn ang="0">
                  <a:pos x="83" y="205"/>
                </a:cxn>
                <a:cxn ang="0">
                  <a:pos x="186" y="181"/>
                </a:cxn>
                <a:cxn ang="0">
                  <a:pos x="157" y="0"/>
                </a:cxn>
                <a:cxn ang="0">
                  <a:pos x="137" y="107"/>
                </a:cxn>
                <a:cxn ang="0">
                  <a:pos x="66" y="14"/>
                </a:cxn>
                <a:cxn ang="0">
                  <a:pos x="73" y="51"/>
                </a:cxn>
                <a:cxn ang="0">
                  <a:pos x="175" y="75"/>
                </a:cxn>
              </a:cxnLst>
              <a:rect l="0" t="0" r="r" b="b"/>
              <a:pathLst>
                <a:path w="244" h="1707">
                  <a:moveTo>
                    <a:pt x="25" y="1576"/>
                  </a:moveTo>
                  <a:lnTo>
                    <a:pt x="25" y="1629"/>
                  </a:lnTo>
                  <a:lnTo>
                    <a:pt x="204" y="1629"/>
                  </a:lnTo>
                  <a:lnTo>
                    <a:pt x="204" y="1654"/>
                  </a:lnTo>
                  <a:lnTo>
                    <a:pt x="25" y="1654"/>
                  </a:lnTo>
                  <a:lnTo>
                    <a:pt x="25" y="1707"/>
                  </a:lnTo>
                  <a:lnTo>
                    <a:pt x="3" y="1707"/>
                  </a:lnTo>
                  <a:lnTo>
                    <a:pt x="3" y="1576"/>
                  </a:lnTo>
                  <a:lnTo>
                    <a:pt x="25" y="1576"/>
                  </a:lnTo>
                  <a:close/>
                  <a:moveTo>
                    <a:pt x="204" y="1520"/>
                  </a:moveTo>
                  <a:lnTo>
                    <a:pt x="204" y="1545"/>
                  </a:lnTo>
                  <a:lnTo>
                    <a:pt x="3" y="1545"/>
                  </a:lnTo>
                  <a:lnTo>
                    <a:pt x="3" y="1520"/>
                  </a:lnTo>
                  <a:lnTo>
                    <a:pt x="204" y="1520"/>
                  </a:lnTo>
                  <a:close/>
                  <a:moveTo>
                    <a:pt x="3" y="1443"/>
                  </a:moveTo>
                  <a:lnTo>
                    <a:pt x="167" y="1390"/>
                  </a:lnTo>
                  <a:lnTo>
                    <a:pt x="3" y="1338"/>
                  </a:lnTo>
                  <a:lnTo>
                    <a:pt x="3" y="1305"/>
                  </a:lnTo>
                  <a:lnTo>
                    <a:pt x="204" y="1305"/>
                  </a:lnTo>
                  <a:lnTo>
                    <a:pt x="204" y="1331"/>
                  </a:lnTo>
                  <a:lnTo>
                    <a:pt x="126" y="1331"/>
                  </a:lnTo>
                  <a:lnTo>
                    <a:pt x="47" y="1328"/>
                  </a:lnTo>
                  <a:lnTo>
                    <a:pt x="204" y="1381"/>
                  </a:lnTo>
                  <a:lnTo>
                    <a:pt x="204" y="1400"/>
                  </a:lnTo>
                  <a:lnTo>
                    <a:pt x="48" y="1453"/>
                  </a:lnTo>
                  <a:lnTo>
                    <a:pt x="126" y="1450"/>
                  </a:lnTo>
                  <a:lnTo>
                    <a:pt x="204" y="1450"/>
                  </a:lnTo>
                  <a:lnTo>
                    <a:pt x="204" y="1475"/>
                  </a:lnTo>
                  <a:lnTo>
                    <a:pt x="3" y="1475"/>
                  </a:lnTo>
                  <a:lnTo>
                    <a:pt x="3" y="1443"/>
                  </a:lnTo>
                  <a:close/>
                  <a:moveTo>
                    <a:pt x="153" y="1174"/>
                  </a:moveTo>
                  <a:cubicBezTo>
                    <a:pt x="143" y="1174"/>
                    <a:pt x="135" y="1177"/>
                    <a:pt x="130" y="1182"/>
                  </a:cubicBezTo>
                  <a:cubicBezTo>
                    <a:pt x="125" y="1188"/>
                    <a:pt x="119" y="1198"/>
                    <a:pt x="114" y="1212"/>
                  </a:cubicBezTo>
                  <a:cubicBezTo>
                    <a:pt x="109" y="1226"/>
                    <a:pt x="104" y="1237"/>
                    <a:pt x="98" y="1244"/>
                  </a:cubicBezTo>
                  <a:cubicBezTo>
                    <a:pt x="93" y="1252"/>
                    <a:pt x="87" y="1257"/>
                    <a:pt x="79" y="1261"/>
                  </a:cubicBezTo>
                  <a:cubicBezTo>
                    <a:pt x="72" y="1265"/>
                    <a:pt x="64" y="1267"/>
                    <a:pt x="55" y="1267"/>
                  </a:cubicBezTo>
                  <a:cubicBezTo>
                    <a:pt x="39" y="1267"/>
                    <a:pt x="26" y="1261"/>
                    <a:pt x="16" y="1251"/>
                  </a:cubicBezTo>
                  <a:cubicBezTo>
                    <a:pt x="5" y="1240"/>
                    <a:pt x="0" y="1226"/>
                    <a:pt x="0" y="1209"/>
                  </a:cubicBezTo>
                  <a:cubicBezTo>
                    <a:pt x="0" y="1197"/>
                    <a:pt x="3" y="1187"/>
                    <a:pt x="8" y="1177"/>
                  </a:cubicBezTo>
                  <a:cubicBezTo>
                    <a:pt x="13" y="1168"/>
                    <a:pt x="21" y="1161"/>
                    <a:pt x="30" y="1156"/>
                  </a:cubicBezTo>
                  <a:cubicBezTo>
                    <a:pt x="39" y="1151"/>
                    <a:pt x="50" y="1149"/>
                    <a:pt x="61" y="1149"/>
                  </a:cubicBezTo>
                  <a:lnTo>
                    <a:pt x="61" y="1174"/>
                  </a:lnTo>
                  <a:cubicBezTo>
                    <a:pt x="49" y="1174"/>
                    <a:pt x="39" y="1177"/>
                    <a:pt x="32" y="1183"/>
                  </a:cubicBezTo>
                  <a:cubicBezTo>
                    <a:pt x="25" y="1189"/>
                    <a:pt x="22" y="1198"/>
                    <a:pt x="22" y="1209"/>
                  </a:cubicBezTo>
                  <a:cubicBezTo>
                    <a:pt x="22" y="1219"/>
                    <a:pt x="25" y="1227"/>
                    <a:pt x="31" y="1233"/>
                  </a:cubicBezTo>
                  <a:cubicBezTo>
                    <a:pt x="36" y="1238"/>
                    <a:pt x="44" y="1241"/>
                    <a:pt x="54" y="1241"/>
                  </a:cubicBezTo>
                  <a:cubicBezTo>
                    <a:pt x="63" y="1241"/>
                    <a:pt x="70" y="1238"/>
                    <a:pt x="76" y="1232"/>
                  </a:cubicBezTo>
                  <a:cubicBezTo>
                    <a:pt x="82" y="1226"/>
                    <a:pt x="87" y="1217"/>
                    <a:pt x="91" y="1204"/>
                  </a:cubicBezTo>
                  <a:cubicBezTo>
                    <a:pt x="98" y="1184"/>
                    <a:pt x="106" y="1170"/>
                    <a:pt x="115" y="1161"/>
                  </a:cubicBezTo>
                  <a:cubicBezTo>
                    <a:pt x="125" y="1153"/>
                    <a:pt x="137" y="1149"/>
                    <a:pt x="153" y="1149"/>
                  </a:cubicBezTo>
                  <a:cubicBezTo>
                    <a:pt x="169" y="1149"/>
                    <a:pt x="182" y="1154"/>
                    <a:pt x="192" y="1165"/>
                  </a:cubicBezTo>
                  <a:cubicBezTo>
                    <a:pt x="202" y="1175"/>
                    <a:pt x="207" y="1189"/>
                    <a:pt x="207" y="1208"/>
                  </a:cubicBezTo>
                  <a:cubicBezTo>
                    <a:pt x="207" y="1219"/>
                    <a:pt x="204" y="1230"/>
                    <a:pt x="199" y="1240"/>
                  </a:cubicBezTo>
                  <a:cubicBezTo>
                    <a:pt x="194" y="1250"/>
                    <a:pt x="187" y="1258"/>
                    <a:pt x="177" y="1263"/>
                  </a:cubicBezTo>
                  <a:cubicBezTo>
                    <a:pt x="168" y="1269"/>
                    <a:pt x="158" y="1272"/>
                    <a:pt x="146" y="1272"/>
                  </a:cubicBezTo>
                  <a:lnTo>
                    <a:pt x="146" y="1246"/>
                  </a:lnTo>
                  <a:cubicBezTo>
                    <a:pt x="158" y="1246"/>
                    <a:pt x="168" y="1243"/>
                    <a:pt x="175" y="1236"/>
                  </a:cubicBezTo>
                  <a:cubicBezTo>
                    <a:pt x="182" y="1229"/>
                    <a:pt x="185" y="1220"/>
                    <a:pt x="185" y="1208"/>
                  </a:cubicBezTo>
                  <a:cubicBezTo>
                    <a:pt x="185" y="1197"/>
                    <a:pt x="182" y="1188"/>
                    <a:pt x="176" y="1183"/>
                  </a:cubicBezTo>
                  <a:cubicBezTo>
                    <a:pt x="171" y="1177"/>
                    <a:pt x="163" y="1174"/>
                    <a:pt x="153" y="1174"/>
                  </a:cubicBezTo>
                  <a:close/>
                  <a:moveTo>
                    <a:pt x="153" y="1028"/>
                  </a:moveTo>
                  <a:cubicBezTo>
                    <a:pt x="143" y="1028"/>
                    <a:pt x="135" y="1030"/>
                    <a:pt x="130" y="1036"/>
                  </a:cubicBezTo>
                  <a:cubicBezTo>
                    <a:pt x="125" y="1041"/>
                    <a:pt x="119" y="1051"/>
                    <a:pt x="114" y="1065"/>
                  </a:cubicBezTo>
                  <a:cubicBezTo>
                    <a:pt x="109" y="1079"/>
                    <a:pt x="104" y="1090"/>
                    <a:pt x="98" y="1098"/>
                  </a:cubicBezTo>
                  <a:cubicBezTo>
                    <a:pt x="93" y="1105"/>
                    <a:pt x="87" y="1111"/>
                    <a:pt x="79" y="1115"/>
                  </a:cubicBezTo>
                  <a:cubicBezTo>
                    <a:pt x="72" y="1118"/>
                    <a:pt x="64" y="1120"/>
                    <a:pt x="55" y="1120"/>
                  </a:cubicBezTo>
                  <a:cubicBezTo>
                    <a:pt x="39" y="1120"/>
                    <a:pt x="26" y="1115"/>
                    <a:pt x="16" y="1104"/>
                  </a:cubicBezTo>
                  <a:cubicBezTo>
                    <a:pt x="5" y="1094"/>
                    <a:pt x="0" y="1080"/>
                    <a:pt x="0" y="1063"/>
                  </a:cubicBezTo>
                  <a:cubicBezTo>
                    <a:pt x="0" y="1051"/>
                    <a:pt x="3" y="1040"/>
                    <a:pt x="8" y="1031"/>
                  </a:cubicBezTo>
                  <a:cubicBezTo>
                    <a:pt x="13" y="1022"/>
                    <a:pt x="21" y="1015"/>
                    <a:pt x="30" y="1010"/>
                  </a:cubicBezTo>
                  <a:cubicBezTo>
                    <a:pt x="39" y="1005"/>
                    <a:pt x="50" y="1002"/>
                    <a:pt x="61" y="1002"/>
                  </a:cubicBezTo>
                  <a:lnTo>
                    <a:pt x="61" y="1028"/>
                  </a:lnTo>
                  <a:cubicBezTo>
                    <a:pt x="49" y="1028"/>
                    <a:pt x="39" y="1031"/>
                    <a:pt x="32" y="1037"/>
                  </a:cubicBezTo>
                  <a:cubicBezTo>
                    <a:pt x="25" y="1043"/>
                    <a:pt x="22" y="1051"/>
                    <a:pt x="22" y="1063"/>
                  </a:cubicBezTo>
                  <a:cubicBezTo>
                    <a:pt x="22" y="1073"/>
                    <a:pt x="25" y="1081"/>
                    <a:pt x="31" y="1086"/>
                  </a:cubicBezTo>
                  <a:cubicBezTo>
                    <a:pt x="36" y="1092"/>
                    <a:pt x="44" y="1095"/>
                    <a:pt x="54" y="1095"/>
                  </a:cubicBezTo>
                  <a:cubicBezTo>
                    <a:pt x="63" y="1095"/>
                    <a:pt x="70" y="1092"/>
                    <a:pt x="76" y="1086"/>
                  </a:cubicBezTo>
                  <a:cubicBezTo>
                    <a:pt x="82" y="1080"/>
                    <a:pt x="87" y="1070"/>
                    <a:pt x="91" y="1057"/>
                  </a:cubicBezTo>
                  <a:cubicBezTo>
                    <a:pt x="98" y="1038"/>
                    <a:pt x="106" y="1024"/>
                    <a:pt x="115" y="1015"/>
                  </a:cubicBezTo>
                  <a:cubicBezTo>
                    <a:pt x="125" y="1006"/>
                    <a:pt x="137" y="1002"/>
                    <a:pt x="153" y="1002"/>
                  </a:cubicBezTo>
                  <a:cubicBezTo>
                    <a:pt x="169" y="1002"/>
                    <a:pt x="182" y="1007"/>
                    <a:pt x="192" y="1018"/>
                  </a:cubicBezTo>
                  <a:cubicBezTo>
                    <a:pt x="202" y="1029"/>
                    <a:pt x="207" y="1043"/>
                    <a:pt x="207" y="1061"/>
                  </a:cubicBezTo>
                  <a:cubicBezTo>
                    <a:pt x="207" y="1073"/>
                    <a:pt x="204" y="1084"/>
                    <a:pt x="199" y="1094"/>
                  </a:cubicBezTo>
                  <a:cubicBezTo>
                    <a:pt x="194" y="1104"/>
                    <a:pt x="187" y="1111"/>
                    <a:pt x="177" y="1117"/>
                  </a:cubicBezTo>
                  <a:cubicBezTo>
                    <a:pt x="168" y="1123"/>
                    <a:pt x="158" y="1125"/>
                    <a:pt x="146" y="1125"/>
                  </a:cubicBezTo>
                  <a:lnTo>
                    <a:pt x="146" y="1100"/>
                  </a:lnTo>
                  <a:cubicBezTo>
                    <a:pt x="158" y="1100"/>
                    <a:pt x="168" y="1097"/>
                    <a:pt x="175" y="1090"/>
                  </a:cubicBezTo>
                  <a:cubicBezTo>
                    <a:pt x="182" y="1083"/>
                    <a:pt x="185" y="1073"/>
                    <a:pt x="185" y="1061"/>
                  </a:cubicBezTo>
                  <a:cubicBezTo>
                    <a:pt x="185" y="1050"/>
                    <a:pt x="182" y="1042"/>
                    <a:pt x="176" y="1036"/>
                  </a:cubicBezTo>
                  <a:cubicBezTo>
                    <a:pt x="171" y="1031"/>
                    <a:pt x="163" y="1028"/>
                    <a:pt x="153" y="1028"/>
                  </a:cubicBezTo>
                  <a:close/>
                  <a:moveTo>
                    <a:pt x="244" y="972"/>
                  </a:moveTo>
                  <a:lnTo>
                    <a:pt x="234" y="987"/>
                  </a:lnTo>
                  <a:cubicBezTo>
                    <a:pt x="222" y="978"/>
                    <a:pt x="209" y="974"/>
                    <a:pt x="197" y="973"/>
                  </a:cubicBezTo>
                  <a:lnTo>
                    <a:pt x="174" y="973"/>
                  </a:lnTo>
                  <a:lnTo>
                    <a:pt x="174" y="948"/>
                  </a:lnTo>
                  <a:lnTo>
                    <a:pt x="194" y="948"/>
                  </a:lnTo>
                  <a:cubicBezTo>
                    <a:pt x="203" y="948"/>
                    <a:pt x="212" y="951"/>
                    <a:pt x="221" y="955"/>
                  </a:cubicBezTo>
                  <a:cubicBezTo>
                    <a:pt x="231" y="960"/>
                    <a:pt x="238" y="965"/>
                    <a:pt x="244" y="972"/>
                  </a:cubicBezTo>
                  <a:close/>
                  <a:moveTo>
                    <a:pt x="136" y="762"/>
                  </a:moveTo>
                  <a:lnTo>
                    <a:pt x="136" y="740"/>
                  </a:lnTo>
                  <a:lnTo>
                    <a:pt x="157" y="740"/>
                  </a:lnTo>
                  <a:lnTo>
                    <a:pt x="157" y="762"/>
                  </a:lnTo>
                  <a:lnTo>
                    <a:pt x="204" y="762"/>
                  </a:lnTo>
                  <a:lnTo>
                    <a:pt x="204" y="786"/>
                  </a:lnTo>
                  <a:lnTo>
                    <a:pt x="157" y="786"/>
                  </a:lnTo>
                  <a:lnTo>
                    <a:pt x="157" y="862"/>
                  </a:lnTo>
                  <a:lnTo>
                    <a:pt x="142" y="862"/>
                  </a:lnTo>
                  <a:lnTo>
                    <a:pt x="3" y="788"/>
                  </a:lnTo>
                  <a:lnTo>
                    <a:pt x="3" y="762"/>
                  </a:lnTo>
                  <a:lnTo>
                    <a:pt x="136" y="762"/>
                  </a:lnTo>
                  <a:close/>
                  <a:moveTo>
                    <a:pt x="136" y="835"/>
                  </a:moveTo>
                  <a:lnTo>
                    <a:pt x="136" y="786"/>
                  </a:lnTo>
                  <a:lnTo>
                    <a:pt x="41" y="786"/>
                  </a:lnTo>
                  <a:lnTo>
                    <a:pt x="136" y="835"/>
                  </a:lnTo>
                  <a:close/>
                  <a:moveTo>
                    <a:pt x="140" y="607"/>
                  </a:moveTo>
                  <a:lnTo>
                    <a:pt x="140" y="621"/>
                  </a:lnTo>
                  <a:lnTo>
                    <a:pt x="204" y="621"/>
                  </a:lnTo>
                  <a:lnTo>
                    <a:pt x="204" y="646"/>
                  </a:lnTo>
                  <a:lnTo>
                    <a:pt x="54" y="646"/>
                  </a:lnTo>
                  <a:lnTo>
                    <a:pt x="54" y="621"/>
                  </a:lnTo>
                  <a:lnTo>
                    <a:pt x="118" y="621"/>
                  </a:lnTo>
                  <a:lnTo>
                    <a:pt x="118" y="609"/>
                  </a:lnTo>
                  <a:lnTo>
                    <a:pt x="54" y="568"/>
                  </a:lnTo>
                  <a:lnTo>
                    <a:pt x="54" y="539"/>
                  </a:lnTo>
                  <a:lnTo>
                    <a:pt x="126" y="589"/>
                  </a:lnTo>
                  <a:lnTo>
                    <a:pt x="204" y="536"/>
                  </a:lnTo>
                  <a:lnTo>
                    <a:pt x="204" y="566"/>
                  </a:lnTo>
                  <a:lnTo>
                    <a:pt x="140" y="607"/>
                  </a:lnTo>
                  <a:close/>
                  <a:moveTo>
                    <a:pt x="54" y="407"/>
                  </a:moveTo>
                  <a:lnTo>
                    <a:pt x="204" y="407"/>
                  </a:lnTo>
                  <a:lnTo>
                    <a:pt x="204" y="431"/>
                  </a:lnTo>
                  <a:lnTo>
                    <a:pt x="76" y="431"/>
                  </a:lnTo>
                  <a:lnTo>
                    <a:pt x="76" y="471"/>
                  </a:lnTo>
                  <a:lnTo>
                    <a:pt x="126" y="473"/>
                  </a:lnTo>
                  <a:cubicBezTo>
                    <a:pt x="154" y="474"/>
                    <a:pt x="174" y="478"/>
                    <a:pt x="186" y="484"/>
                  </a:cubicBezTo>
                  <a:cubicBezTo>
                    <a:pt x="198" y="491"/>
                    <a:pt x="204" y="501"/>
                    <a:pt x="204" y="515"/>
                  </a:cubicBezTo>
                  <a:lnTo>
                    <a:pt x="204" y="523"/>
                  </a:lnTo>
                  <a:lnTo>
                    <a:pt x="181" y="523"/>
                  </a:lnTo>
                  <a:lnTo>
                    <a:pt x="181" y="517"/>
                  </a:lnTo>
                  <a:cubicBezTo>
                    <a:pt x="180" y="510"/>
                    <a:pt x="175" y="505"/>
                    <a:pt x="167" y="502"/>
                  </a:cubicBezTo>
                  <a:cubicBezTo>
                    <a:pt x="159" y="499"/>
                    <a:pt x="143" y="497"/>
                    <a:pt x="118" y="496"/>
                  </a:cubicBezTo>
                  <a:lnTo>
                    <a:pt x="54" y="494"/>
                  </a:lnTo>
                  <a:lnTo>
                    <a:pt x="54" y="407"/>
                  </a:lnTo>
                  <a:close/>
                  <a:moveTo>
                    <a:pt x="204" y="291"/>
                  </a:moveTo>
                  <a:cubicBezTo>
                    <a:pt x="201" y="293"/>
                    <a:pt x="195" y="294"/>
                    <a:pt x="188" y="295"/>
                  </a:cubicBezTo>
                  <a:cubicBezTo>
                    <a:pt x="200" y="303"/>
                    <a:pt x="207" y="314"/>
                    <a:pt x="207" y="328"/>
                  </a:cubicBezTo>
                  <a:cubicBezTo>
                    <a:pt x="207" y="341"/>
                    <a:pt x="203" y="352"/>
                    <a:pt x="195" y="359"/>
                  </a:cubicBezTo>
                  <a:cubicBezTo>
                    <a:pt x="188" y="367"/>
                    <a:pt x="177" y="371"/>
                    <a:pt x="163" y="371"/>
                  </a:cubicBezTo>
                  <a:cubicBezTo>
                    <a:pt x="148" y="371"/>
                    <a:pt x="136" y="366"/>
                    <a:pt x="127" y="355"/>
                  </a:cubicBezTo>
                  <a:cubicBezTo>
                    <a:pt x="118" y="345"/>
                    <a:pt x="113" y="331"/>
                    <a:pt x="113" y="313"/>
                  </a:cubicBezTo>
                  <a:lnTo>
                    <a:pt x="113" y="295"/>
                  </a:lnTo>
                  <a:lnTo>
                    <a:pt x="97" y="295"/>
                  </a:lnTo>
                  <a:cubicBezTo>
                    <a:pt x="88" y="295"/>
                    <a:pt x="82" y="297"/>
                    <a:pt x="78" y="301"/>
                  </a:cubicBezTo>
                  <a:cubicBezTo>
                    <a:pt x="75" y="305"/>
                    <a:pt x="73" y="311"/>
                    <a:pt x="73" y="319"/>
                  </a:cubicBezTo>
                  <a:cubicBezTo>
                    <a:pt x="73" y="326"/>
                    <a:pt x="75" y="332"/>
                    <a:pt x="79" y="337"/>
                  </a:cubicBezTo>
                  <a:cubicBezTo>
                    <a:pt x="84" y="342"/>
                    <a:pt x="89" y="344"/>
                    <a:pt x="96" y="344"/>
                  </a:cubicBezTo>
                  <a:lnTo>
                    <a:pt x="96" y="368"/>
                  </a:lnTo>
                  <a:cubicBezTo>
                    <a:pt x="88" y="368"/>
                    <a:pt x="81" y="366"/>
                    <a:pt x="74" y="362"/>
                  </a:cubicBezTo>
                  <a:cubicBezTo>
                    <a:pt x="67" y="357"/>
                    <a:pt x="62" y="351"/>
                    <a:pt x="58" y="343"/>
                  </a:cubicBezTo>
                  <a:cubicBezTo>
                    <a:pt x="54" y="336"/>
                    <a:pt x="52" y="327"/>
                    <a:pt x="52" y="318"/>
                  </a:cubicBezTo>
                  <a:cubicBezTo>
                    <a:pt x="52" y="302"/>
                    <a:pt x="56" y="291"/>
                    <a:pt x="63" y="283"/>
                  </a:cubicBezTo>
                  <a:cubicBezTo>
                    <a:pt x="71" y="275"/>
                    <a:pt x="82" y="271"/>
                    <a:pt x="96" y="271"/>
                  </a:cubicBezTo>
                  <a:lnTo>
                    <a:pt x="172" y="271"/>
                  </a:lnTo>
                  <a:cubicBezTo>
                    <a:pt x="183" y="271"/>
                    <a:pt x="193" y="269"/>
                    <a:pt x="202" y="266"/>
                  </a:cubicBezTo>
                  <a:lnTo>
                    <a:pt x="204" y="266"/>
                  </a:lnTo>
                  <a:lnTo>
                    <a:pt x="204" y="291"/>
                  </a:lnTo>
                  <a:close/>
                  <a:moveTo>
                    <a:pt x="184" y="324"/>
                  </a:moveTo>
                  <a:cubicBezTo>
                    <a:pt x="184" y="318"/>
                    <a:pt x="183" y="312"/>
                    <a:pt x="179" y="307"/>
                  </a:cubicBezTo>
                  <a:cubicBezTo>
                    <a:pt x="176" y="301"/>
                    <a:pt x="172" y="297"/>
                    <a:pt x="167" y="295"/>
                  </a:cubicBezTo>
                  <a:lnTo>
                    <a:pt x="131" y="295"/>
                  </a:lnTo>
                  <a:lnTo>
                    <a:pt x="131" y="309"/>
                  </a:lnTo>
                  <a:cubicBezTo>
                    <a:pt x="132" y="320"/>
                    <a:pt x="134" y="330"/>
                    <a:pt x="139" y="336"/>
                  </a:cubicBezTo>
                  <a:cubicBezTo>
                    <a:pt x="144" y="343"/>
                    <a:pt x="151" y="346"/>
                    <a:pt x="160" y="346"/>
                  </a:cubicBezTo>
                  <a:cubicBezTo>
                    <a:pt x="169" y="346"/>
                    <a:pt x="175" y="345"/>
                    <a:pt x="179" y="341"/>
                  </a:cubicBezTo>
                  <a:cubicBezTo>
                    <a:pt x="182" y="338"/>
                    <a:pt x="184" y="332"/>
                    <a:pt x="184" y="324"/>
                  </a:cubicBezTo>
                  <a:close/>
                  <a:moveTo>
                    <a:pt x="186" y="181"/>
                  </a:moveTo>
                  <a:cubicBezTo>
                    <a:pt x="186" y="173"/>
                    <a:pt x="183" y="166"/>
                    <a:pt x="178" y="162"/>
                  </a:cubicBezTo>
                  <a:cubicBezTo>
                    <a:pt x="173" y="157"/>
                    <a:pt x="166" y="154"/>
                    <a:pt x="157" y="154"/>
                  </a:cubicBezTo>
                  <a:lnTo>
                    <a:pt x="157" y="130"/>
                  </a:lnTo>
                  <a:cubicBezTo>
                    <a:pt x="171" y="131"/>
                    <a:pt x="183" y="136"/>
                    <a:pt x="192" y="146"/>
                  </a:cubicBezTo>
                  <a:cubicBezTo>
                    <a:pt x="202" y="155"/>
                    <a:pt x="207" y="167"/>
                    <a:pt x="207" y="181"/>
                  </a:cubicBezTo>
                  <a:cubicBezTo>
                    <a:pt x="207" y="199"/>
                    <a:pt x="201" y="214"/>
                    <a:pt x="189" y="223"/>
                  </a:cubicBezTo>
                  <a:cubicBezTo>
                    <a:pt x="178" y="233"/>
                    <a:pt x="160" y="238"/>
                    <a:pt x="137" y="238"/>
                  </a:cubicBezTo>
                  <a:lnTo>
                    <a:pt x="121" y="238"/>
                  </a:lnTo>
                  <a:cubicBezTo>
                    <a:pt x="98" y="238"/>
                    <a:pt x="81" y="233"/>
                    <a:pt x="69" y="223"/>
                  </a:cubicBezTo>
                  <a:cubicBezTo>
                    <a:pt x="58" y="214"/>
                    <a:pt x="52" y="200"/>
                    <a:pt x="52" y="181"/>
                  </a:cubicBezTo>
                  <a:cubicBezTo>
                    <a:pt x="52" y="166"/>
                    <a:pt x="57" y="154"/>
                    <a:pt x="66" y="145"/>
                  </a:cubicBezTo>
                  <a:cubicBezTo>
                    <a:pt x="76" y="136"/>
                    <a:pt x="89" y="131"/>
                    <a:pt x="106" y="130"/>
                  </a:cubicBezTo>
                  <a:lnTo>
                    <a:pt x="106" y="154"/>
                  </a:lnTo>
                  <a:cubicBezTo>
                    <a:pt x="95" y="154"/>
                    <a:pt x="86" y="157"/>
                    <a:pt x="81" y="161"/>
                  </a:cubicBezTo>
                  <a:cubicBezTo>
                    <a:pt x="75" y="166"/>
                    <a:pt x="73" y="173"/>
                    <a:pt x="73" y="181"/>
                  </a:cubicBezTo>
                  <a:cubicBezTo>
                    <a:pt x="73" y="192"/>
                    <a:pt x="76" y="200"/>
                    <a:pt x="83" y="205"/>
                  </a:cubicBezTo>
                  <a:cubicBezTo>
                    <a:pt x="91" y="211"/>
                    <a:pt x="102" y="213"/>
                    <a:pt x="119" y="213"/>
                  </a:cubicBezTo>
                  <a:lnTo>
                    <a:pt x="138" y="213"/>
                  </a:lnTo>
                  <a:cubicBezTo>
                    <a:pt x="155" y="213"/>
                    <a:pt x="168" y="211"/>
                    <a:pt x="175" y="206"/>
                  </a:cubicBezTo>
                  <a:cubicBezTo>
                    <a:pt x="182" y="200"/>
                    <a:pt x="186" y="192"/>
                    <a:pt x="186" y="181"/>
                  </a:cubicBezTo>
                  <a:close/>
                  <a:moveTo>
                    <a:pt x="186" y="50"/>
                  </a:moveTo>
                  <a:cubicBezTo>
                    <a:pt x="186" y="42"/>
                    <a:pt x="183" y="36"/>
                    <a:pt x="178" y="31"/>
                  </a:cubicBezTo>
                  <a:cubicBezTo>
                    <a:pt x="173" y="26"/>
                    <a:pt x="166" y="23"/>
                    <a:pt x="157" y="23"/>
                  </a:cubicBezTo>
                  <a:lnTo>
                    <a:pt x="157" y="0"/>
                  </a:lnTo>
                  <a:cubicBezTo>
                    <a:pt x="171" y="0"/>
                    <a:pt x="183" y="6"/>
                    <a:pt x="192" y="15"/>
                  </a:cubicBezTo>
                  <a:cubicBezTo>
                    <a:pt x="202" y="25"/>
                    <a:pt x="207" y="37"/>
                    <a:pt x="207" y="50"/>
                  </a:cubicBezTo>
                  <a:cubicBezTo>
                    <a:pt x="207" y="69"/>
                    <a:pt x="201" y="83"/>
                    <a:pt x="189" y="93"/>
                  </a:cubicBezTo>
                  <a:cubicBezTo>
                    <a:pt x="178" y="102"/>
                    <a:pt x="160" y="107"/>
                    <a:pt x="137" y="107"/>
                  </a:cubicBezTo>
                  <a:lnTo>
                    <a:pt x="121" y="107"/>
                  </a:lnTo>
                  <a:cubicBezTo>
                    <a:pt x="98" y="107"/>
                    <a:pt x="81" y="102"/>
                    <a:pt x="69" y="93"/>
                  </a:cubicBezTo>
                  <a:cubicBezTo>
                    <a:pt x="58" y="83"/>
                    <a:pt x="52" y="69"/>
                    <a:pt x="52" y="51"/>
                  </a:cubicBezTo>
                  <a:cubicBezTo>
                    <a:pt x="52" y="35"/>
                    <a:pt x="57" y="23"/>
                    <a:pt x="66" y="14"/>
                  </a:cubicBezTo>
                  <a:cubicBezTo>
                    <a:pt x="76" y="5"/>
                    <a:pt x="89" y="0"/>
                    <a:pt x="106" y="0"/>
                  </a:cubicBezTo>
                  <a:lnTo>
                    <a:pt x="106" y="23"/>
                  </a:lnTo>
                  <a:cubicBezTo>
                    <a:pt x="95" y="24"/>
                    <a:pt x="86" y="26"/>
                    <a:pt x="81" y="31"/>
                  </a:cubicBezTo>
                  <a:cubicBezTo>
                    <a:pt x="75" y="36"/>
                    <a:pt x="73" y="42"/>
                    <a:pt x="73" y="51"/>
                  </a:cubicBezTo>
                  <a:cubicBezTo>
                    <a:pt x="73" y="61"/>
                    <a:pt x="76" y="69"/>
                    <a:pt x="83" y="75"/>
                  </a:cubicBezTo>
                  <a:cubicBezTo>
                    <a:pt x="91" y="80"/>
                    <a:pt x="102" y="83"/>
                    <a:pt x="119" y="83"/>
                  </a:cubicBezTo>
                  <a:lnTo>
                    <a:pt x="138" y="83"/>
                  </a:lnTo>
                  <a:cubicBezTo>
                    <a:pt x="155" y="83"/>
                    <a:pt x="168" y="80"/>
                    <a:pt x="175" y="75"/>
                  </a:cubicBezTo>
                  <a:cubicBezTo>
                    <a:pt x="182" y="70"/>
                    <a:pt x="186" y="62"/>
                    <a:pt x="186" y="50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6" name="Freeform 1778"/>
            <p:cNvSpPr>
              <a:spLocks noEditPoints="1"/>
            </p:cNvSpPr>
            <p:nvPr/>
          </p:nvSpPr>
          <p:spPr bwMode="auto">
            <a:xfrm>
              <a:off x="4103474" y="3260557"/>
              <a:ext cx="109579" cy="779006"/>
            </a:xfrm>
            <a:custGeom>
              <a:avLst/>
              <a:gdLst/>
              <a:ahLst/>
              <a:cxnLst>
                <a:cxn ang="0">
                  <a:pos x="204" y="1654"/>
                </a:cxn>
                <a:cxn ang="0">
                  <a:pos x="3" y="1576"/>
                </a:cxn>
                <a:cxn ang="0">
                  <a:pos x="3" y="1545"/>
                </a:cxn>
                <a:cxn ang="0">
                  <a:pos x="167" y="1390"/>
                </a:cxn>
                <a:cxn ang="0">
                  <a:pos x="204" y="1331"/>
                </a:cxn>
                <a:cxn ang="0">
                  <a:pos x="204" y="1400"/>
                </a:cxn>
                <a:cxn ang="0">
                  <a:pos x="204" y="1475"/>
                </a:cxn>
                <a:cxn ang="0">
                  <a:pos x="130" y="1182"/>
                </a:cxn>
                <a:cxn ang="0">
                  <a:pos x="55" y="1267"/>
                </a:cxn>
                <a:cxn ang="0">
                  <a:pos x="30" y="1156"/>
                </a:cxn>
                <a:cxn ang="0">
                  <a:pos x="22" y="1209"/>
                </a:cxn>
                <a:cxn ang="0">
                  <a:pos x="91" y="1204"/>
                </a:cxn>
                <a:cxn ang="0">
                  <a:pos x="206" y="1208"/>
                </a:cxn>
                <a:cxn ang="0">
                  <a:pos x="145" y="1246"/>
                </a:cxn>
                <a:cxn ang="0">
                  <a:pos x="153" y="1174"/>
                </a:cxn>
                <a:cxn ang="0">
                  <a:pos x="98" y="1098"/>
                </a:cxn>
                <a:cxn ang="0">
                  <a:pos x="0" y="1063"/>
                </a:cxn>
                <a:cxn ang="0">
                  <a:pos x="61" y="1028"/>
                </a:cxn>
                <a:cxn ang="0">
                  <a:pos x="54" y="1095"/>
                </a:cxn>
                <a:cxn ang="0">
                  <a:pos x="153" y="1002"/>
                </a:cxn>
                <a:cxn ang="0">
                  <a:pos x="177" y="1117"/>
                </a:cxn>
                <a:cxn ang="0">
                  <a:pos x="185" y="1061"/>
                </a:cxn>
                <a:cxn ang="0">
                  <a:pos x="234" y="987"/>
                </a:cxn>
                <a:cxn ang="0">
                  <a:pos x="193" y="948"/>
                </a:cxn>
                <a:cxn ang="0">
                  <a:pos x="136" y="740"/>
                </a:cxn>
                <a:cxn ang="0">
                  <a:pos x="204" y="786"/>
                </a:cxn>
                <a:cxn ang="0">
                  <a:pos x="3" y="788"/>
                </a:cxn>
                <a:cxn ang="0">
                  <a:pos x="136" y="786"/>
                </a:cxn>
                <a:cxn ang="0">
                  <a:pos x="140" y="621"/>
                </a:cxn>
                <a:cxn ang="0">
                  <a:pos x="54" y="621"/>
                </a:cxn>
                <a:cxn ang="0">
                  <a:pos x="54" y="539"/>
                </a:cxn>
                <a:cxn ang="0">
                  <a:pos x="140" y="607"/>
                </a:cxn>
                <a:cxn ang="0">
                  <a:pos x="75" y="431"/>
                </a:cxn>
                <a:cxn ang="0">
                  <a:pos x="204" y="515"/>
                </a:cxn>
                <a:cxn ang="0">
                  <a:pos x="167" y="502"/>
                </a:cxn>
                <a:cxn ang="0">
                  <a:pos x="204" y="291"/>
                </a:cxn>
                <a:cxn ang="0">
                  <a:pos x="163" y="371"/>
                </a:cxn>
                <a:cxn ang="0">
                  <a:pos x="97" y="295"/>
                </a:cxn>
                <a:cxn ang="0">
                  <a:pos x="96" y="344"/>
                </a:cxn>
                <a:cxn ang="0">
                  <a:pos x="52" y="318"/>
                </a:cxn>
                <a:cxn ang="0">
                  <a:pos x="201" y="266"/>
                </a:cxn>
                <a:cxn ang="0">
                  <a:pos x="179" y="307"/>
                </a:cxn>
                <a:cxn ang="0">
                  <a:pos x="139" y="336"/>
                </a:cxn>
                <a:cxn ang="0">
                  <a:pos x="186" y="181"/>
                </a:cxn>
                <a:cxn ang="0">
                  <a:pos x="192" y="146"/>
                </a:cxn>
                <a:cxn ang="0">
                  <a:pos x="121" y="238"/>
                </a:cxn>
                <a:cxn ang="0">
                  <a:pos x="106" y="130"/>
                </a:cxn>
                <a:cxn ang="0">
                  <a:pos x="83" y="205"/>
                </a:cxn>
                <a:cxn ang="0">
                  <a:pos x="186" y="181"/>
                </a:cxn>
                <a:cxn ang="0">
                  <a:pos x="157" y="0"/>
                </a:cxn>
                <a:cxn ang="0">
                  <a:pos x="137" y="107"/>
                </a:cxn>
                <a:cxn ang="0">
                  <a:pos x="66" y="14"/>
                </a:cxn>
                <a:cxn ang="0">
                  <a:pos x="73" y="51"/>
                </a:cxn>
                <a:cxn ang="0">
                  <a:pos x="175" y="75"/>
                </a:cxn>
              </a:cxnLst>
              <a:rect l="0" t="0" r="r" b="b"/>
              <a:pathLst>
                <a:path w="244" h="1707">
                  <a:moveTo>
                    <a:pt x="25" y="1576"/>
                  </a:moveTo>
                  <a:lnTo>
                    <a:pt x="25" y="1629"/>
                  </a:lnTo>
                  <a:lnTo>
                    <a:pt x="204" y="1629"/>
                  </a:lnTo>
                  <a:lnTo>
                    <a:pt x="204" y="1654"/>
                  </a:lnTo>
                  <a:lnTo>
                    <a:pt x="25" y="1654"/>
                  </a:lnTo>
                  <a:lnTo>
                    <a:pt x="25" y="1707"/>
                  </a:lnTo>
                  <a:lnTo>
                    <a:pt x="3" y="1707"/>
                  </a:lnTo>
                  <a:lnTo>
                    <a:pt x="3" y="1576"/>
                  </a:lnTo>
                  <a:lnTo>
                    <a:pt x="25" y="1576"/>
                  </a:lnTo>
                  <a:close/>
                  <a:moveTo>
                    <a:pt x="204" y="1520"/>
                  </a:moveTo>
                  <a:lnTo>
                    <a:pt x="204" y="1545"/>
                  </a:lnTo>
                  <a:lnTo>
                    <a:pt x="3" y="1545"/>
                  </a:lnTo>
                  <a:lnTo>
                    <a:pt x="3" y="1520"/>
                  </a:lnTo>
                  <a:lnTo>
                    <a:pt x="204" y="1520"/>
                  </a:lnTo>
                  <a:close/>
                  <a:moveTo>
                    <a:pt x="3" y="1443"/>
                  </a:moveTo>
                  <a:lnTo>
                    <a:pt x="167" y="1390"/>
                  </a:lnTo>
                  <a:lnTo>
                    <a:pt x="3" y="1338"/>
                  </a:lnTo>
                  <a:lnTo>
                    <a:pt x="3" y="1305"/>
                  </a:lnTo>
                  <a:lnTo>
                    <a:pt x="204" y="1305"/>
                  </a:lnTo>
                  <a:lnTo>
                    <a:pt x="204" y="1331"/>
                  </a:lnTo>
                  <a:lnTo>
                    <a:pt x="125" y="1331"/>
                  </a:lnTo>
                  <a:lnTo>
                    <a:pt x="47" y="1328"/>
                  </a:lnTo>
                  <a:lnTo>
                    <a:pt x="204" y="1381"/>
                  </a:lnTo>
                  <a:lnTo>
                    <a:pt x="204" y="1400"/>
                  </a:lnTo>
                  <a:lnTo>
                    <a:pt x="48" y="1453"/>
                  </a:lnTo>
                  <a:lnTo>
                    <a:pt x="125" y="1450"/>
                  </a:lnTo>
                  <a:lnTo>
                    <a:pt x="204" y="1450"/>
                  </a:lnTo>
                  <a:lnTo>
                    <a:pt x="204" y="1475"/>
                  </a:lnTo>
                  <a:lnTo>
                    <a:pt x="3" y="1475"/>
                  </a:lnTo>
                  <a:lnTo>
                    <a:pt x="3" y="1443"/>
                  </a:lnTo>
                  <a:close/>
                  <a:moveTo>
                    <a:pt x="153" y="1174"/>
                  </a:moveTo>
                  <a:cubicBezTo>
                    <a:pt x="143" y="1174"/>
                    <a:pt x="135" y="1177"/>
                    <a:pt x="130" y="1182"/>
                  </a:cubicBezTo>
                  <a:cubicBezTo>
                    <a:pt x="125" y="1188"/>
                    <a:pt x="119" y="1198"/>
                    <a:pt x="114" y="1212"/>
                  </a:cubicBezTo>
                  <a:cubicBezTo>
                    <a:pt x="109" y="1226"/>
                    <a:pt x="104" y="1237"/>
                    <a:pt x="98" y="1244"/>
                  </a:cubicBezTo>
                  <a:cubicBezTo>
                    <a:pt x="93" y="1252"/>
                    <a:pt x="86" y="1257"/>
                    <a:pt x="79" y="1261"/>
                  </a:cubicBezTo>
                  <a:cubicBezTo>
                    <a:pt x="72" y="1265"/>
                    <a:pt x="64" y="1267"/>
                    <a:pt x="55" y="1267"/>
                  </a:cubicBezTo>
                  <a:cubicBezTo>
                    <a:pt x="39" y="1267"/>
                    <a:pt x="26" y="1261"/>
                    <a:pt x="15" y="1251"/>
                  </a:cubicBezTo>
                  <a:cubicBezTo>
                    <a:pt x="5" y="1240"/>
                    <a:pt x="0" y="1226"/>
                    <a:pt x="0" y="1209"/>
                  </a:cubicBezTo>
                  <a:cubicBezTo>
                    <a:pt x="0" y="1197"/>
                    <a:pt x="3" y="1187"/>
                    <a:pt x="8" y="1177"/>
                  </a:cubicBezTo>
                  <a:cubicBezTo>
                    <a:pt x="13" y="1168"/>
                    <a:pt x="21" y="1161"/>
                    <a:pt x="30" y="1156"/>
                  </a:cubicBezTo>
                  <a:cubicBezTo>
                    <a:pt x="39" y="1151"/>
                    <a:pt x="50" y="1149"/>
                    <a:pt x="61" y="1149"/>
                  </a:cubicBezTo>
                  <a:lnTo>
                    <a:pt x="61" y="1174"/>
                  </a:lnTo>
                  <a:cubicBezTo>
                    <a:pt x="48" y="1174"/>
                    <a:pt x="39" y="1177"/>
                    <a:pt x="32" y="1183"/>
                  </a:cubicBezTo>
                  <a:cubicBezTo>
                    <a:pt x="25" y="1189"/>
                    <a:pt x="22" y="1198"/>
                    <a:pt x="22" y="1209"/>
                  </a:cubicBezTo>
                  <a:cubicBezTo>
                    <a:pt x="22" y="1219"/>
                    <a:pt x="25" y="1227"/>
                    <a:pt x="30" y="1233"/>
                  </a:cubicBezTo>
                  <a:cubicBezTo>
                    <a:pt x="36" y="1238"/>
                    <a:pt x="44" y="1241"/>
                    <a:pt x="54" y="1241"/>
                  </a:cubicBezTo>
                  <a:cubicBezTo>
                    <a:pt x="63" y="1241"/>
                    <a:pt x="70" y="1238"/>
                    <a:pt x="76" y="1232"/>
                  </a:cubicBezTo>
                  <a:cubicBezTo>
                    <a:pt x="81" y="1226"/>
                    <a:pt x="86" y="1217"/>
                    <a:pt x="91" y="1204"/>
                  </a:cubicBezTo>
                  <a:cubicBezTo>
                    <a:pt x="97" y="1184"/>
                    <a:pt x="106" y="1170"/>
                    <a:pt x="115" y="1161"/>
                  </a:cubicBezTo>
                  <a:cubicBezTo>
                    <a:pt x="125" y="1153"/>
                    <a:pt x="137" y="1149"/>
                    <a:pt x="153" y="1149"/>
                  </a:cubicBezTo>
                  <a:cubicBezTo>
                    <a:pt x="169" y="1149"/>
                    <a:pt x="182" y="1154"/>
                    <a:pt x="192" y="1165"/>
                  </a:cubicBezTo>
                  <a:cubicBezTo>
                    <a:pt x="202" y="1175"/>
                    <a:pt x="206" y="1189"/>
                    <a:pt x="206" y="1208"/>
                  </a:cubicBezTo>
                  <a:cubicBezTo>
                    <a:pt x="206" y="1219"/>
                    <a:pt x="204" y="1230"/>
                    <a:pt x="199" y="1240"/>
                  </a:cubicBezTo>
                  <a:cubicBezTo>
                    <a:pt x="194" y="1250"/>
                    <a:pt x="187" y="1258"/>
                    <a:pt x="177" y="1263"/>
                  </a:cubicBezTo>
                  <a:cubicBezTo>
                    <a:pt x="168" y="1269"/>
                    <a:pt x="157" y="1272"/>
                    <a:pt x="145" y="1272"/>
                  </a:cubicBezTo>
                  <a:lnTo>
                    <a:pt x="145" y="1246"/>
                  </a:lnTo>
                  <a:cubicBezTo>
                    <a:pt x="158" y="1246"/>
                    <a:pt x="168" y="1243"/>
                    <a:pt x="174" y="1236"/>
                  </a:cubicBezTo>
                  <a:cubicBezTo>
                    <a:pt x="181" y="1229"/>
                    <a:pt x="185" y="1220"/>
                    <a:pt x="185" y="1208"/>
                  </a:cubicBezTo>
                  <a:cubicBezTo>
                    <a:pt x="185" y="1197"/>
                    <a:pt x="182" y="1188"/>
                    <a:pt x="176" y="1183"/>
                  </a:cubicBezTo>
                  <a:cubicBezTo>
                    <a:pt x="171" y="1177"/>
                    <a:pt x="163" y="1174"/>
                    <a:pt x="153" y="1174"/>
                  </a:cubicBezTo>
                  <a:close/>
                  <a:moveTo>
                    <a:pt x="153" y="1028"/>
                  </a:moveTo>
                  <a:cubicBezTo>
                    <a:pt x="143" y="1028"/>
                    <a:pt x="135" y="1030"/>
                    <a:pt x="130" y="1036"/>
                  </a:cubicBezTo>
                  <a:cubicBezTo>
                    <a:pt x="125" y="1041"/>
                    <a:pt x="119" y="1051"/>
                    <a:pt x="114" y="1065"/>
                  </a:cubicBezTo>
                  <a:cubicBezTo>
                    <a:pt x="109" y="1079"/>
                    <a:pt x="104" y="1090"/>
                    <a:pt x="98" y="1098"/>
                  </a:cubicBezTo>
                  <a:cubicBezTo>
                    <a:pt x="93" y="1105"/>
                    <a:pt x="86" y="1111"/>
                    <a:pt x="79" y="1115"/>
                  </a:cubicBezTo>
                  <a:cubicBezTo>
                    <a:pt x="72" y="1118"/>
                    <a:pt x="64" y="1120"/>
                    <a:pt x="55" y="1120"/>
                  </a:cubicBezTo>
                  <a:cubicBezTo>
                    <a:pt x="39" y="1120"/>
                    <a:pt x="26" y="1115"/>
                    <a:pt x="15" y="1104"/>
                  </a:cubicBezTo>
                  <a:cubicBezTo>
                    <a:pt x="5" y="1094"/>
                    <a:pt x="0" y="1080"/>
                    <a:pt x="0" y="1063"/>
                  </a:cubicBezTo>
                  <a:cubicBezTo>
                    <a:pt x="0" y="1051"/>
                    <a:pt x="3" y="1040"/>
                    <a:pt x="8" y="1031"/>
                  </a:cubicBezTo>
                  <a:cubicBezTo>
                    <a:pt x="13" y="1022"/>
                    <a:pt x="21" y="1015"/>
                    <a:pt x="30" y="1010"/>
                  </a:cubicBezTo>
                  <a:cubicBezTo>
                    <a:pt x="39" y="1005"/>
                    <a:pt x="50" y="1002"/>
                    <a:pt x="61" y="1002"/>
                  </a:cubicBezTo>
                  <a:lnTo>
                    <a:pt x="61" y="1028"/>
                  </a:lnTo>
                  <a:cubicBezTo>
                    <a:pt x="48" y="1028"/>
                    <a:pt x="39" y="1031"/>
                    <a:pt x="32" y="1037"/>
                  </a:cubicBezTo>
                  <a:cubicBezTo>
                    <a:pt x="25" y="1043"/>
                    <a:pt x="22" y="1051"/>
                    <a:pt x="22" y="1063"/>
                  </a:cubicBezTo>
                  <a:cubicBezTo>
                    <a:pt x="22" y="1073"/>
                    <a:pt x="25" y="1081"/>
                    <a:pt x="30" y="1086"/>
                  </a:cubicBezTo>
                  <a:cubicBezTo>
                    <a:pt x="36" y="1092"/>
                    <a:pt x="44" y="1095"/>
                    <a:pt x="54" y="1095"/>
                  </a:cubicBezTo>
                  <a:cubicBezTo>
                    <a:pt x="63" y="1095"/>
                    <a:pt x="70" y="1092"/>
                    <a:pt x="76" y="1086"/>
                  </a:cubicBezTo>
                  <a:cubicBezTo>
                    <a:pt x="81" y="1080"/>
                    <a:pt x="86" y="1070"/>
                    <a:pt x="91" y="1057"/>
                  </a:cubicBezTo>
                  <a:cubicBezTo>
                    <a:pt x="97" y="1038"/>
                    <a:pt x="106" y="1023"/>
                    <a:pt x="115" y="1015"/>
                  </a:cubicBezTo>
                  <a:cubicBezTo>
                    <a:pt x="125" y="1006"/>
                    <a:pt x="137" y="1002"/>
                    <a:pt x="153" y="1002"/>
                  </a:cubicBezTo>
                  <a:cubicBezTo>
                    <a:pt x="169" y="1002"/>
                    <a:pt x="182" y="1007"/>
                    <a:pt x="192" y="1018"/>
                  </a:cubicBezTo>
                  <a:cubicBezTo>
                    <a:pt x="202" y="1029"/>
                    <a:pt x="206" y="1043"/>
                    <a:pt x="206" y="1061"/>
                  </a:cubicBezTo>
                  <a:cubicBezTo>
                    <a:pt x="206" y="1073"/>
                    <a:pt x="204" y="1084"/>
                    <a:pt x="199" y="1094"/>
                  </a:cubicBezTo>
                  <a:cubicBezTo>
                    <a:pt x="194" y="1104"/>
                    <a:pt x="187" y="1111"/>
                    <a:pt x="177" y="1117"/>
                  </a:cubicBezTo>
                  <a:cubicBezTo>
                    <a:pt x="168" y="1123"/>
                    <a:pt x="157" y="1125"/>
                    <a:pt x="145" y="1125"/>
                  </a:cubicBezTo>
                  <a:lnTo>
                    <a:pt x="145" y="1100"/>
                  </a:lnTo>
                  <a:cubicBezTo>
                    <a:pt x="158" y="1100"/>
                    <a:pt x="168" y="1097"/>
                    <a:pt x="174" y="1090"/>
                  </a:cubicBezTo>
                  <a:cubicBezTo>
                    <a:pt x="181" y="1083"/>
                    <a:pt x="185" y="1073"/>
                    <a:pt x="185" y="1061"/>
                  </a:cubicBezTo>
                  <a:cubicBezTo>
                    <a:pt x="185" y="1050"/>
                    <a:pt x="182" y="1042"/>
                    <a:pt x="176" y="1036"/>
                  </a:cubicBezTo>
                  <a:cubicBezTo>
                    <a:pt x="171" y="1031"/>
                    <a:pt x="163" y="1028"/>
                    <a:pt x="153" y="1028"/>
                  </a:cubicBezTo>
                  <a:close/>
                  <a:moveTo>
                    <a:pt x="244" y="972"/>
                  </a:moveTo>
                  <a:lnTo>
                    <a:pt x="234" y="987"/>
                  </a:lnTo>
                  <a:cubicBezTo>
                    <a:pt x="222" y="978"/>
                    <a:pt x="209" y="974"/>
                    <a:pt x="196" y="973"/>
                  </a:cubicBezTo>
                  <a:lnTo>
                    <a:pt x="173" y="973"/>
                  </a:lnTo>
                  <a:lnTo>
                    <a:pt x="173" y="948"/>
                  </a:lnTo>
                  <a:lnTo>
                    <a:pt x="193" y="948"/>
                  </a:lnTo>
                  <a:cubicBezTo>
                    <a:pt x="203" y="948"/>
                    <a:pt x="212" y="951"/>
                    <a:pt x="221" y="955"/>
                  </a:cubicBezTo>
                  <a:cubicBezTo>
                    <a:pt x="231" y="960"/>
                    <a:pt x="238" y="965"/>
                    <a:pt x="244" y="972"/>
                  </a:cubicBezTo>
                  <a:close/>
                  <a:moveTo>
                    <a:pt x="136" y="762"/>
                  </a:moveTo>
                  <a:lnTo>
                    <a:pt x="136" y="740"/>
                  </a:lnTo>
                  <a:lnTo>
                    <a:pt x="157" y="740"/>
                  </a:lnTo>
                  <a:lnTo>
                    <a:pt x="157" y="762"/>
                  </a:lnTo>
                  <a:lnTo>
                    <a:pt x="204" y="762"/>
                  </a:lnTo>
                  <a:lnTo>
                    <a:pt x="204" y="786"/>
                  </a:lnTo>
                  <a:lnTo>
                    <a:pt x="157" y="786"/>
                  </a:lnTo>
                  <a:lnTo>
                    <a:pt x="157" y="862"/>
                  </a:lnTo>
                  <a:lnTo>
                    <a:pt x="142" y="862"/>
                  </a:lnTo>
                  <a:lnTo>
                    <a:pt x="3" y="788"/>
                  </a:lnTo>
                  <a:lnTo>
                    <a:pt x="3" y="762"/>
                  </a:lnTo>
                  <a:lnTo>
                    <a:pt x="136" y="762"/>
                  </a:lnTo>
                  <a:close/>
                  <a:moveTo>
                    <a:pt x="136" y="835"/>
                  </a:moveTo>
                  <a:lnTo>
                    <a:pt x="136" y="786"/>
                  </a:lnTo>
                  <a:lnTo>
                    <a:pt x="41" y="786"/>
                  </a:lnTo>
                  <a:lnTo>
                    <a:pt x="136" y="835"/>
                  </a:lnTo>
                  <a:close/>
                  <a:moveTo>
                    <a:pt x="140" y="607"/>
                  </a:moveTo>
                  <a:lnTo>
                    <a:pt x="140" y="621"/>
                  </a:lnTo>
                  <a:lnTo>
                    <a:pt x="204" y="621"/>
                  </a:lnTo>
                  <a:lnTo>
                    <a:pt x="204" y="646"/>
                  </a:lnTo>
                  <a:lnTo>
                    <a:pt x="54" y="646"/>
                  </a:lnTo>
                  <a:lnTo>
                    <a:pt x="54" y="621"/>
                  </a:lnTo>
                  <a:lnTo>
                    <a:pt x="118" y="621"/>
                  </a:lnTo>
                  <a:lnTo>
                    <a:pt x="118" y="609"/>
                  </a:lnTo>
                  <a:lnTo>
                    <a:pt x="54" y="568"/>
                  </a:lnTo>
                  <a:lnTo>
                    <a:pt x="54" y="539"/>
                  </a:lnTo>
                  <a:lnTo>
                    <a:pt x="125" y="589"/>
                  </a:lnTo>
                  <a:lnTo>
                    <a:pt x="204" y="536"/>
                  </a:lnTo>
                  <a:lnTo>
                    <a:pt x="204" y="566"/>
                  </a:lnTo>
                  <a:lnTo>
                    <a:pt x="140" y="607"/>
                  </a:lnTo>
                  <a:close/>
                  <a:moveTo>
                    <a:pt x="54" y="407"/>
                  </a:moveTo>
                  <a:lnTo>
                    <a:pt x="204" y="407"/>
                  </a:lnTo>
                  <a:lnTo>
                    <a:pt x="204" y="431"/>
                  </a:lnTo>
                  <a:lnTo>
                    <a:pt x="75" y="431"/>
                  </a:lnTo>
                  <a:lnTo>
                    <a:pt x="75" y="471"/>
                  </a:lnTo>
                  <a:lnTo>
                    <a:pt x="126" y="473"/>
                  </a:lnTo>
                  <a:cubicBezTo>
                    <a:pt x="154" y="474"/>
                    <a:pt x="174" y="478"/>
                    <a:pt x="186" y="484"/>
                  </a:cubicBezTo>
                  <a:cubicBezTo>
                    <a:pt x="198" y="491"/>
                    <a:pt x="204" y="501"/>
                    <a:pt x="204" y="515"/>
                  </a:cubicBezTo>
                  <a:lnTo>
                    <a:pt x="204" y="523"/>
                  </a:lnTo>
                  <a:lnTo>
                    <a:pt x="181" y="523"/>
                  </a:lnTo>
                  <a:lnTo>
                    <a:pt x="181" y="516"/>
                  </a:lnTo>
                  <a:cubicBezTo>
                    <a:pt x="180" y="510"/>
                    <a:pt x="175" y="505"/>
                    <a:pt x="167" y="502"/>
                  </a:cubicBezTo>
                  <a:cubicBezTo>
                    <a:pt x="159" y="499"/>
                    <a:pt x="142" y="497"/>
                    <a:pt x="118" y="496"/>
                  </a:cubicBezTo>
                  <a:lnTo>
                    <a:pt x="54" y="494"/>
                  </a:lnTo>
                  <a:lnTo>
                    <a:pt x="54" y="407"/>
                  </a:lnTo>
                  <a:close/>
                  <a:moveTo>
                    <a:pt x="204" y="291"/>
                  </a:moveTo>
                  <a:cubicBezTo>
                    <a:pt x="200" y="293"/>
                    <a:pt x="195" y="294"/>
                    <a:pt x="187" y="295"/>
                  </a:cubicBezTo>
                  <a:cubicBezTo>
                    <a:pt x="200" y="303"/>
                    <a:pt x="206" y="314"/>
                    <a:pt x="206" y="328"/>
                  </a:cubicBezTo>
                  <a:cubicBezTo>
                    <a:pt x="206" y="341"/>
                    <a:pt x="203" y="352"/>
                    <a:pt x="195" y="359"/>
                  </a:cubicBezTo>
                  <a:cubicBezTo>
                    <a:pt x="187" y="367"/>
                    <a:pt x="177" y="371"/>
                    <a:pt x="163" y="371"/>
                  </a:cubicBezTo>
                  <a:cubicBezTo>
                    <a:pt x="148" y="371"/>
                    <a:pt x="136" y="366"/>
                    <a:pt x="127" y="355"/>
                  </a:cubicBezTo>
                  <a:cubicBezTo>
                    <a:pt x="118" y="345"/>
                    <a:pt x="113" y="331"/>
                    <a:pt x="113" y="313"/>
                  </a:cubicBezTo>
                  <a:lnTo>
                    <a:pt x="113" y="295"/>
                  </a:lnTo>
                  <a:lnTo>
                    <a:pt x="97" y="295"/>
                  </a:lnTo>
                  <a:cubicBezTo>
                    <a:pt x="88" y="295"/>
                    <a:pt x="82" y="297"/>
                    <a:pt x="78" y="301"/>
                  </a:cubicBezTo>
                  <a:cubicBezTo>
                    <a:pt x="74" y="305"/>
                    <a:pt x="73" y="311"/>
                    <a:pt x="73" y="319"/>
                  </a:cubicBezTo>
                  <a:cubicBezTo>
                    <a:pt x="73" y="326"/>
                    <a:pt x="75" y="332"/>
                    <a:pt x="79" y="337"/>
                  </a:cubicBezTo>
                  <a:cubicBezTo>
                    <a:pt x="83" y="342"/>
                    <a:pt x="89" y="344"/>
                    <a:pt x="96" y="344"/>
                  </a:cubicBezTo>
                  <a:lnTo>
                    <a:pt x="96" y="368"/>
                  </a:lnTo>
                  <a:cubicBezTo>
                    <a:pt x="88" y="368"/>
                    <a:pt x="81" y="366"/>
                    <a:pt x="74" y="361"/>
                  </a:cubicBezTo>
                  <a:cubicBezTo>
                    <a:pt x="67" y="357"/>
                    <a:pt x="61" y="351"/>
                    <a:pt x="58" y="343"/>
                  </a:cubicBezTo>
                  <a:cubicBezTo>
                    <a:pt x="54" y="336"/>
                    <a:pt x="52" y="327"/>
                    <a:pt x="52" y="318"/>
                  </a:cubicBezTo>
                  <a:cubicBezTo>
                    <a:pt x="52" y="302"/>
                    <a:pt x="55" y="291"/>
                    <a:pt x="63" y="283"/>
                  </a:cubicBezTo>
                  <a:cubicBezTo>
                    <a:pt x="71" y="275"/>
                    <a:pt x="82" y="271"/>
                    <a:pt x="96" y="271"/>
                  </a:cubicBezTo>
                  <a:lnTo>
                    <a:pt x="172" y="271"/>
                  </a:lnTo>
                  <a:cubicBezTo>
                    <a:pt x="183" y="271"/>
                    <a:pt x="193" y="269"/>
                    <a:pt x="201" y="266"/>
                  </a:cubicBezTo>
                  <a:lnTo>
                    <a:pt x="204" y="266"/>
                  </a:lnTo>
                  <a:lnTo>
                    <a:pt x="204" y="291"/>
                  </a:lnTo>
                  <a:close/>
                  <a:moveTo>
                    <a:pt x="184" y="324"/>
                  </a:moveTo>
                  <a:cubicBezTo>
                    <a:pt x="184" y="318"/>
                    <a:pt x="183" y="312"/>
                    <a:pt x="179" y="307"/>
                  </a:cubicBezTo>
                  <a:cubicBezTo>
                    <a:pt x="176" y="301"/>
                    <a:pt x="172" y="297"/>
                    <a:pt x="167" y="295"/>
                  </a:cubicBezTo>
                  <a:lnTo>
                    <a:pt x="131" y="295"/>
                  </a:lnTo>
                  <a:lnTo>
                    <a:pt x="131" y="309"/>
                  </a:lnTo>
                  <a:cubicBezTo>
                    <a:pt x="131" y="320"/>
                    <a:pt x="134" y="330"/>
                    <a:pt x="139" y="336"/>
                  </a:cubicBezTo>
                  <a:cubicBezTo>
                    <a:pt x="144" y="343"/>
                    <a:pt x="151" y="346"/>
                    <a:pt x="160" y="346"/>
                  </a:cubicBezTo>
                  <a:cubicBezTo>
                    <a:pt x="169" y="346"/>
                    <a:pt x="175" y="345"/>
                    <a:pt x="178" y="341"/>
                  </a:cubicBezTo>
                  <a:cubicBezTo>
                    <a:pt x="182" y="338"/>
                    <a:pt x="184" y="332"/>
                    <a:pt x="184" y="324"/>
                  </a:cubicBezTo>
                  <a:close/>
                  <a:moveTo>
                    <a:pt x="186" y="181"/>
                  </a:moveTo>
                  <a:cubicBezTo>
                    <a:pt x="186" y="173"/>
                    <a:pt x="183" y="166"/>
                    <a:pt x="178" y="162"/>
                  </a:cubicBezTo>
                  <a:cubicBezTo>
                    <a:pt x="173" y="157"/>
                    <a:pt x="166" y="154"/>
                    <a:pt x="157" y="154"/>
                  </a:cubicBezTo>
                  <a:lnTo>
                    <a:pt x="157" y="130"/>
                  </a:lnTo>
                  <a:cubicBezTo>
                    <a:pt x="171" y="131"/>
                    <a:pt x="183" y="136"/>
                    <a:pt x="192" y="146"/>
                  </a:cubicBezTo>
                  <a:cubicBezTo>
                    <a:pt x="202" y="155"/>
                    <a:pt x="206" y="167"/>
                    <a:pt x="206" y="181"/>
                  </a:cubicBezTo>
                  <a:cubicBezTo>
                    <a:pt x="206" y="199"/>
                    <a:pt x="201" y="214"/>
                    <a:pt x="189" y="223"/>
                  </a:cubicBezTo>
                  <a:cubicBezTo>
                    <a:pt x="177" y="233"/>
                    <a:pt x="160" y="238"/>
                    <a:pt x="137" y="238"/>
                  </a:cubicBezTo>
                  <a:lnTo>
                    <a:pt x="121" y="238"/>
                  </a:lnTo>
                  <a:cubicBezTo>
                    <a:pt x="98" y="238"/>
                    <a:pt x="81" y="233"/>
                    <a:pt x="69" y="223"/>
                  </a:cubicBezTo>
                  <a:cubicBezTo>
                    <a:pt x="57" y="214"/>
                    <a:pt x="52" y="200"/>
                    <a:pt x="52" y="181"/>
                  </a:cubicBezTo>
                  <a:cubicBezTo>
                    <a:pt x="52" y="166"/>
                    <a:pt x="56" y="154"/>
                    <a:pt x="66" y="145"/>
                  </a:cubicBezTo>
                  <a:cubicBezTo>
                    <a:pt x="76" y="136"/>
                    <a:pt x="89" y="131"/>
                    <a:pt x="106" y="130"/>
                  </a:cubicBezTo>
                  <a:lnTo>
                    <a:pt x="106" y="154"/>
                  </a:lnTo>
                  <a:cubicBezTo>
                    <a:pt x="95" y="154"/>
                    <a:pt x="86" y="157"/>
                    <a:pt x="81" y="161"/>
                  </a:cubicBezTo>
                  <a:cubicBezTo>
                    <a:pt x="75" y="166"/>
                    <a:pt x="73" y="173"/>
                    <a:pt x="73" y="181"/>
                  </a:cubicBezTo>
                  <a:cubicBezTo>
                    <a:pt x="73" y="192"/>
                    <a:pt x="76" y="200"/>
                    <a:pt x="83" y="205"/>
                  </a:cubicBezTo>
                  <a:cubicBezTo>
                    <a:pt x="90" y="211"/>
                    <a:pt x="102" y="213"/>
                    <a:pt x="118" y="213"/>
                  </a:cubicBezTo>
                  <a:lnTo>
                    <a:pt x="137" y="213"/>
                  </a:lnTo>
                  <a:cubicBezTo>
                    <a:pt x="155" y="213"/>
                    <a:pt x="167" y="211"/>
                    <a:pt x="175" y="206"/>
                  </a:cubicBezTo>
                  <a:cubicBezTo>
                    <a:pt x="182" y="200"/>
                    <a:pt x="186" y="192"/>
                    <a:pt x="186" y="181"/>
                  </a:cubicBezTo>
                  <a:close/>
                  <a:moveTo>
                    <a:pt x="186" y="50"/>
                  </a:moveTo>
                  <a:cubicBezTo>
                    <a:pt x="186" y="42"/>
                    <a:pt x="183" y="36"/>
                    <a:pt x="178" y="31"/>
                  </a:cubicBezTo>
                  <a:cubicBezTo>
                    <a:pt x="173" y="26"/>
                    <a:pt x="166" y="23"/>
                    <a:pt x="157" y="23"/>
                  </a:cubicBezTo>
                  <a:lnTo>
                    <a:pt x="157" y="0"/>
                  </a:lnTo>
                  <a:cubicBezTo>
                    <a:pt x="171" y="0"/>
                    <a:pt x="183" y="6"/>
                    <a:pt x="192" y="15"/>
                  </a:cubicBezTo>
                  <a:cubicBezTo>
                    <a:pt x="202" y="25"/>
                    <a:pt x="206" y="37"/>
                    <a:pt x="206" y="50"/>
                  </a:cubicBezTo>
                  <a:cubicBezTo>
                    <a:pt x="206" y="69"/>
                    <a:pt x="201" y="83"/>
                    <a:pt x="189" y="93"/>
                  </a:cubicBezTo>
                  <a:cubicBezTo>
                    <a:pt x="177" y="102"/>
                    <a:pt x="160" y="107"/>
                    <a:pt x="137" y="107"/>
                  </a:cubicBezTo>
                  <a:lnTo>
                    <a:pt x="121" y="107"/>
                  </a:lnTo>
                  <a:cubicBezTo>
                    <a:pt x="98" y="107"/>
                    <a:pt x="81" y="102"/>
                    <a:pt x="69" y="93"/>
                  </a:cubicBezTo>
                  <a:cubicBezTo>
                    <a:pt x="57" y="83"/>
                    <a:pt x="52" y="69"/>
                    <a:pt x="52" y="51"/>
                  </a:cubicBezTo>
                  <a:cubicBezTo>
                    <a:pt x="52" y="35"/>
                    <a:pt x="56" y="23"/>
                    <a:pt x="66" y="14"/>
                  </a:cubicBezTo>
                  <a:cubicBezTo>
                    <a:pt x="76" y="5"/>
                    <a:pt x="89" y="0"/>
                    <a:pt x="106" y="0"/>
                  </a:cubicBezTo>
                  <a:lnTo>
                    <a:pt x="106" y="23"/>
                  </a:lnTo>
                  <a:cubicBezTo>
                    <a:pt x="95" y="24"/>
                    <a:pt x="86" y="26"/>
                    <a:pt x="81" y="31"/>
                  </a:cubicBezTo>
                  <a:cubicBezTo>
                    <a:pt x="75" y="36"/>
                    <a:pt x="73" y="42"/>
                    <a:pt x="73" y="51"/>
                  </a:cubicBezTo>
                  <a:cubicBezTo>
                    <a:pt x="73" y="61"/>
                    <a:pt x="76" y="69"/>
                    <a:pt x="83" y="75"/>
                  </a:cubicBezTo>
                  <a:cubicBezTo>
                    <a:pt x="90" y="80"/>
                    <a:pt x="102" y="83"/>
                    <a:pt x="118" y="83"/>
                  </a:cubicBezTo>
                  <a:lnTo>
                    <a:pt x="137" y="83"/>
                  </a:lnTo>
                  <a:cubicBezTo>
                    <a:pt x="155" y="83"/>
                    <a:pt x="167" y="80"/>
                    <a:pt x="175" y="75"/>
                  </a:cubicBezTo>
                  <a:cubicBezTo>
                    <a:pt x="182" y="70"/>
                    <a:pt x="186" y="62"/>
                    <a:pt x="186" y="50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7" name="Freeform 1779"/>
            <p:cNvSpPr>
              <a:spLocks noEditPoints="1"/>
            </p:cNvSpPr>
            <p:nvPr/>
          </p:nvSpPr>
          <p:spPr bwMode="auto">
            <a:xfrm>
              <a:off x="6846929" y="3260557"/>
              <a:ext cx="111571" cy="779006"/>
            </a:xfrm>
            <a:custGeom>
              <a:avLst/>
              <a:gdLst/>
              <a:ahLst/>
              <a:cxnLst>
                <a:cxn ang="0">
                  <a:pos x="204" y="1654"/>
                </a:cxn>
                <a:cxn ang="0">
                  <a:pos x="3" y="1576"/>
                </a:cxn>
                <a:cxn ang="0">
                  <a:pos x="3" y="1545"/>
                </a:cxn>
                <a:cxn ang="0">
                  <a:pos x="167" y="1390"/>
                </a:cxn>
                <a:cxn ang="0">
                  <a:pos x="204" y="1331"/>
                </a:cxn>
                <a:cxn ang="0">
                  <a:pos x="204" y="1400"/>
                </a:cxn>
                <a:cxn ang="0">
                  <a:pos x="204" y="1475"/>
                </a:cxn>
                <a:cxn ang="0">
                  <a:pos x="130" y="1182"/>
                </a:cxn>
                <a:cxn ang="0">
                  <a:pos x="55" y="1267"/>
                </a:cxn>
                <a:cxn ang="0">
                  <a:pos x="30" y="1156"/>
                </a:cxn>
                <a:cxn ang="0">
                  <a:pos x="22" y="1209"/>
                </a:cxn>
                <a:cxn ang="0">
                  <a:pos x="91" y="1204"/>
                </a:cxn>
                <a:cxn ang="0">
                  <a:pos x="206" y="1208"/>
                </a:cxn>
                <a:cxn ang="0">
                  <a:pos x="145" y="1246"/>
                </a:cxn>
                <a:cxn ang="0">
                  <a:pos x="153" y="1174"/>
                </a:cxn>
                <a:cxn ang="0">
                  <a:pos x="98" y="1098"/>
                </a:cxn>
                <a:cxn ang="0">
                  <a:pos x="0" y="1063"/>
                </a:cxn>
                <a:cxn ang="0">
                  <a:pos x="61" y="1028"/>
                </a:cxn>
                <a:cxn ang="0">
                  <a:pos x="54" y="1095"/>
                </a:cxn>
                <a:cxn ang="0">
                  <a:pos x="153" y="1002"/>
                </a:cxn>
                <a:cxn ang="0">
                  <a:pos x="177" y="1117"/>
                </a:cxn>
                <a:cxn ang="0">
                  <a:pos x="185" y="1061"/>
                </a:cxn>
                <a:cxn ang="0">
                  <a:pos x="234" y="987"/>
                </a:cxn>
                <a:cxn ang="0">
                  <a:pos x="193" y="948"/>
                </a:cxn>
                <a:cxn ang="0">
                  <a:pos x="136" y="740"/>
                </a:cxn>
                <a:cxn ang="0">
                  <a:pos x="204" y="786"/>
                </a:cxn>
                <a:cxn ang="0">
                  <a:pos x="3" y="788"/>
                </a:cxn>
                <a:cxn ang="0">
                  <a:pos x="136" y="786"/>
                </a:cxn>
                <a:cxn ang="0">
                  <a:pos x="140" y="621"/>
                </a:cxn>
                <a:cxn ang="0">
                  <a:pos x="54" y="621"/>
                </a:cxn>
                <a:cxn ang="0">
                  <a:pos x="54" y="539"/>
                </a:cxn>
                <a:cxn ang="0">
                  <a:pos x="140" y="607"/>
                </a:cxn>
                <a:cxn ang="0">
                  <a:pos x="75" y="431"/>
                </a:cxn>
                <a:cxn ang="0">
                  <a:pos x="204" y="515"/>
                </a:cxn>
                <a:cxn ang="0">
                  <a:pos x="167" y="502"/>
                </a:cxn>
                <a:cxn ang="0">
                  <a:pos x="204" y="291"/>
                </a:cxn>
                <a:cxn ang="0">
                  <a:pos x="163" y="371"/>
                </a:cxn>
                <a:cxn ang="0">
                  <a:pos x="97" y="295"/>
                </a:cxn>
                <a:cxn ang="0">
                  <a:pos x="96" y="344"/>
                </a:cxn>
                <a:cxn ang="0">
                  <a:pos x="51" y="318"/>
                </a:cxn>
                <a:cxn ang="0">
                  <a:pos x="201" y="266"/>
                </a:cxn>
                <a:cxn ang="0">
                  <a:pos x="179" y="307"/>
                </a:cxn>
                <a:cxn ang="0">
                  <a:pos x="139" y="336"/>
                </a:cxn>
                <a:cxn ang="0">
                  <a:pos x="186" y="181"/>
                </a:cxn>
                <a:cxn ang="0">
                  <a:pos x="192" y="146"/>
                </a:cxn>
                <a:cxn ang="0">
                  <a:pos x="121" y="238"/>
                </a:cxn>
                <a:cxn ang="0">
                  <a:pos x="106" y="130"/>
                </a:cxn>
                <a:cxn ang="0">
                  <a:pos x="83" y="205"/>
                </a:cxn>
                <a:cxn ang="0">
                  <a:pos x="186" y="181"/>
                </a:cxn>
                <a:cxn ang="0">
                  <a:pos x="157" y="0"/>
                </a:cxn>
                <a:cxn ang="0">
                  <a:pos x="137" y="107"/>
                </a:cxn>
                <a:cxn ang="0">
                  <a:pos x="66" y="14"/>
                </a:cxn>
                <a:cxn ang="0">
                  <a:pos x="72" y="51"/>
                </a:cxn>
                <a:cxn ang="0">
                  <a:pos x="175" y="75"/>
                </a:cxn>
              </a:cxnLst>
              <a:rect l="0" t="0" r="r" b="b"/>
              <a:pathLst>
                <a:path w="244" h="1707">
                  <a:moveTo>
                    <a:pt x="24" y="1576"/>
                  </a:moveTo>
                  <a:lnTo>
                    <a:pt x="24" y="1629"/>
                  </a:lnTo>
                  <a:lnTo>
                    <a:pt x="204" y="1629"/>
                  </a:lnTo>
                  <a:lnTo>
                    <a:pt x="204" y="1654"/>
                  </a:lnTo>
                  <a:lnTo>
                    <a:pt x="24" y="1654"/>
                  </a:lnTo>
                  <a:lnTo>
                    <a:pt x="24" y="1707"/>
                  </a:lnTo>
                  <a:lnTo>
                    <a:pt x="3" y="1707"/>
                  </a:lnTo>
                  <a:lnTo>
                    <a:pt x="3" y="1576"/>
                  </a:lnTo>
                  <a:lnTo>
                    <a:pt x="24" y="1576"/>
                  </a:lnTo>
                  <a:close/>
                  <a:moveTo>
                    <a:pt x="204" y="1520"/>
                  </a:moveTo>
                  <a:lnTo>
                    <a:pt x="204" y="1545"/>
                  </a:lnTo>
                  <a:lnTo>
                    <a:pt x="3" y="1545"/>
                  </a:lnTo>
                  <a:lnTo>
                    <a:pt x="3" y="1520"/>
                  </a:lnTo>
                  <a:lnTo>
                    <a:pt x="204" y="1520"/>
                  </a:lnTo>
                  <a:close/>
                  <a:moveTo>
                    <a:pt x="3" y="1443"/>
                  </a:moveTo>
                  <a:lnTo>
                    <a:pt x="167" y="1390"/>
                  </a:lnTo>
                  <a:lnTo>
                    <a:pt x="3" y="1338"/>
                  </a:lnTo>
                  <a:lnTo>
                    <a:pt x="3" y="1305"/>
                  </a:lnTo>
                  <a:lnTo>
                    <a:pt x="204" y="1305"/>
                  </a:lnTo>
                  <a:lnTo>
                    <a:pt x="204" y="1331"/>
                  </a:lnTo>
                  <a:lnTo>
                    <a:pt x="125" y="1331"/>
                  </a:lnTo>
                  <a:lnTo>
                    <a:pt x="47" y="1328"/>
                  </a:lnTo>
                  <a:lnTo>
                    <a:pt x="204" y="1381"/>
                  </a:lnTo>
                  <a:lnTo>
                    <a:pt x="204" y="1400"/>
                  </a:lnTo>
                  <a:lnTo>
                    <a:pt x="47" y="1453"/>
                  </a:lnTo>
                  <a:lnTo>
                    <a:pt x="125" y="1450"/>
                  </a:lnTo>
                  <a:lnTo>
                    <a:pt x="204" y="1450"/>
                  </a:lnTo>
                  <a:lnTo>
                    <a:pt x="204" y="1475"/>
                  </a:lnTo>
                  <a:lnTo>
                    <a:pt x="3" y="1475"/>
                  </a:lnTo>
                  <a:lnTo>
                    <a:pt x="3" y="1443"/>
                  </a:lnTo>
                  <a:close/>
                  <a:moveTo>
                    <a:pt x="153" y="1174"/>
                  </a:moveTo>
                  <a:cubicBezTo>
                    <a:pt x="143" y="1174"/>
                    <a:pt x="135" y="1177"/>
                    <a:pt x="130" y="1182"/>
                  </a:cubicBezTo>
                  <a:cubicBezTo>
                    <a:pt x="124" y="1188"/>
                    <a:pt x="119" y="1198"/>
                    <a:pt x="114" y="1212"/>
                  </a:cubicBezTo>
                  <a:cubicBezTo>
                    <a:pt x="109" y="1226"/>
                    <a:pt x="104" y="1237"/>
                    <a:pt x="98" y="1244"/>
                  </a:cubicBezTo>
                  <a:cubicBezTo>
                    <a:pt x="93" y="1252"/>
                    <a:pt x="86" y="1257"/>
                    <a:pt x="79" y="1261"/>
                  </a:cubicBezTo>
                  <a:cubicBezTo>
                    <a:pt x="72" y="1265"/>
                    <a:pt x="64" y="1267"/>
                    <a:pt x="55" y="1267"/>
                  </a:cubicBezTo>
                  <a:cubicBezTo>
                    <a:pt x="39" y="1267"/>
                    <a:pt x="26" y="1261"/>
                    <a:pt x="15" y="1251"/>
                  </a:cubicBezTo>
                  <a:cubicBezTo>
                    <a:pt x="5" y="1240"/>
                    <a:pt x="0" y="1226"/>
                    <a:pt x="0" y="1209"/>
                  </a:cubicBezTo>
                  <a:cubicBezTo>
                    <a:pt x="0" y="1197"/>
                    <a:pt x="3" y="1187"/>
                    <a:pt x="8" y="1177"/>
                  </a:cubicBezTo>
                  <a:cubicBezTo>
                    <a:pt x="13" y="1168"/>
                    <a:pt x="20" y="1161"/>
                    <a:pt x="30" y="1156"/>
                  </a:cubicBezTo>
                  <a:cubicBezTo>
                    <a:pt x="39" y="1151"/>
                    <a:pt x="50" y="1149"/>
                    <a:pt x="61" y="1149"/>
                  </a:cubicBezTo>
                  <a:lnTo>
                    <a:pt x="61" y="1174"/>
                  </a:lnTo>
                  <a:cubicBezTo>
                    <a:pt x="48" y="1174"/>
                    <a:pt x="39" y="1177"/>
                    <a:pt x="32" y="1183"/>
                  </a:cubicBezTo>
                  <a:cubicBezTo>
                    <a:pt x="25" y="1189"/>
                    <a:pt x="22" y="1198"/>
                    <a:pt x="22" y="1209"/>
                  </a:cubicBezTo>
                  <a:cubicBezTo>
                    <a:pt x="22" y="1219"/>
                    <a:pt x="25" y="1227"/>
                    <a:pt x="30" y="1233"/>
                  </a:cubicBezTo>
                  <a:cubicBezTo>
                    <a:pt x="36" y="1238"/>
                    <a:pt x="44" y="1241"/>
                    <a:pt x="54" y="1241"/>
                  </a:cubicBezTo>
                  <a:cubicBezTo>
                    <a:pt x="63" y="1241"/>
                    <a:pt x="70" y="1238"/>
                    <a:pt x="76" y="1232"/>
                  </a:cubicBezTo>
                  <a:cubicBezTo>
                    <a:pt x="81" y="1226"/>
                    <a:pt x="86" y="1217"/>
                    <a:pt x="91" y="1204"/>
                  </a:cubicBezTo>
                  <a:cubicBezTo>
                    <a:pt x="97" y="1184"/>
                    <a:pt x="105" y="1170"/>
                    <a:pt x="115" y="1161"/>
                  </a:cubicBezTo>
                  <a:cubicBezTo>
                    <a:pt x="125" y="1153"/>
                    <a:pt x="137" y="1149"/>
                    <a:pt x="153" y="1149"/>
                  </a:cubicBezTo>
                  <a:cubicBezTo>
                    <a:pt x="169" y="1149"/>
                    <a:pt x="182" y="1154"/>
                    <a:pt x="192" y="1165"/>
                  </a:cubicBezTo>
                  <a:cubicBezTo>
                    <a:pt x="201" y="1175"/>
                    <a:pt x="206" y="1189"/>
                    <a:pt x="206" y="1208"/>
                  </a:cubicBezTo>
                  <a:cubicBezTo>
                    <a:pt x="206" y="1219"/>
                    <a:pt x="204" y="1230"/>
                    <a:pt x="199" y="1240"/>
                  </a:cubicBezTo>
                  <a:cubicBezTo>
                    <a:pt x="194" y="1250"/>
                    <a:pt x="186" y="1258"/>
                    <a:pt x="177" y="1263"/>
                  </a:cubicBezTo>
                  <a:cubicBezTo>
                    <a:pt x="168" y="1269"/>
                    <a:pt x="157" y="1272"/>
                    <a:pt x="145" y="1272"/>
                  </a:cubicBezTo>
                  <a:lnTo>
                    <a:pt x="145" y="1246"/>
                  </a:lnTo>
                  <a:cubicBezTo>
                    <a:pt x="158" y="1246"/>
                    <a:pt x="167" y="1243"/>
                    <a:pt x="174" y="1236"/>
                  </a:cubicBezTo>
                  <a:cubicBezTo>
                    <a:pt x="181" y="1229"/>
                    <a:pt x="185" y="1220"/>
                    <a:pt x="185" y="1208"/>
                  </a:cubicBezTo>
                  <a:cubicBezTo>
                    <a:pt x="185" y="1197"/>
                    <a:pt x="182" y="1188"/>
                    <a:pt x="176" y="1183"/>
                  </a:cubicBezTo>
                  <a:cubicBezTo>
                    <a:pt x="170" y="1177"/>
                    <a:pt x="163" y="1174"/>
                    <a:pt x="153" y="1174"/>
                  </a:cubicBezTo>
                  <a:close/>
                  <a:moveTo>
                    <a:pt x="153" y="1028"/>
                  </a:moveTo>
                  <a:cubicBezTo>
                    <a:pt x="143" y="1028"/>
                    <a:pt x="135" y="1030"/>
                    <a:pt x="130" y="1036"/>
                  </a:cubicBezTo>
                  <a:cubicBezTo>
                    <a:pt x="124" y="1041"/>
                    <a:pt x="119" y="1051"/>
                    <a:pt x="114" y="1065"/>
                  </a:cubicBezTo>
                  <a:cubicBezTo>
                    <a:pt x="109" y="1079"/>
                    <a:pt x="104" y="1090"/>
                    <a:pt x="98" y="1098"/>
                  </a:cubicBezTo>
                  <a:cubicBezTo>
                    <a:pt x="93" y="1105"/>
                    <a:pt x="86" y="1111"/>
                    <a:pt x="79" y="1115"/>
                  </a:cubicBezTo>
                  <a:cubicBezTo>
                    <a:pt x="72" y="1118"/>
                    <a:pt x="64" y="1120"/>
                    <a:pt x="55" y="1120"/>
                  </a:cubicBezTo>
                  <a:cubicBezTo>
                    <a:pt x="39" y="1120"/>
                    <a:pt x="26" y="1115"/>
                    <a:pt x="15" y="1104"/>
                  </a:cubicBezTo>
                  <a:cubicBezTo>
                    <a:pt x="5" y="1094"/>
                    <a:pt x="0" y="1080"/>
                    <a:pt x="0" y="1063"/>
                  </a:cubicBezTo>
                  <a:cubicBezTo>
                    <a:pt x="0" y="1051"/>
                    <a:pt x="3" y="1040"/>
                    <a:pt x="8" y="1031"/>
                  </a:cubicBezTo>
                  <a:cubicBezTo>
                    <a:pt x="13" y="1022"/>
                    <a:pt x="20" y="1015"/>
                    <a:pt x="30" y="1010"/>
                  </a:cubicBezTo>
                  <a:cubicBezTo>
                    <a:pt x="39" y="1005"/>
                    <a:pt x="50" y="1002"/>
                    <a:pt x="61" y="1002"/>
                  </a:cubicBezTo>
                  <a:lnTo>
                    <a:pt x="61" y="1028"/>
                  </a:lnTo>
                  <a:cubicBezTo>
                    <a:pt x="48" y="1028"/>
                    <a:pt x="39" y="1031"/>
                    <a:pt x="32" y="1037"/>
                  </a:cubicBezTo>
                  <a:cubicBezTo>
                    <a:pt x="25" y="1043"/>
                    <a:pt x="22" y="1051"/>
                    <a:pt x="22" y="1063"/>
                  </a:cubicBezTo>
                  <a:cubicBezTo>
                    <a:pt x="22" y="1073"/>
                    <a:pt x="25" y="1081"/>
                    <a:pt x="30" y="1086"/>
                  </a:cubicBezTo>
                  <a:cubicBezTo>
                    <a:pt x="36" y="1092"/>
                    <a:pt x="44" y="1095"/>
                    <a:pt x="54" y="1095"/>
                  </a:cubicBezTo>
                  <a:cubicBezTo>
                    <a:pt x="63" y="1095"/>
                    <a:pt x="70" y="1092"/>
                    <a:pt x="76" y="1086"/>
                  </a:cubicBezTo>
                  <a:cubicBezTo>
                    <a:pt x="81" y="1080"/>
                    <a:pt x="86" y="1070"/>
                    <a:pt x="91" y="1057"/>
                  </a:cubicBezTo>
                  <a:cubicBezTo>
                    <a:pt x="97" y="1038"/>
                    <a:pt x="105" y="1023"/>
                    <a:pt x="115" y="1015"/>
                  </a:cubicBezTo>
                  <a:cubicBezTo>
                    <a:pt x="125" y="1006"/>
                    <a:pt x="137" y="1002"/>
                    <a:pt x="153" y="1002"/>
                  </a:cubicBezTo>
                  <a:cubicBezTo>
                    <a:pt x="169" y="1002"/>
                    <a:pt x="182" y="1007"/>
                    <a:pt x="192" y="1018"/>
                  </a:cubicBezTo>
                  <a:cubicBezTo>
                    <a:pt x="201" y="1029"/>
                    <a:pt x="206" y="1043"/>
                    <a:pt x="206" y="1061"/>
                  </a:cubicBezTo>
                  <a:cubicBezTo>
                    <a:pt x="206" y="1073"/>
                    <a:pt x="204" y="1084"/>
                    <a:pt x="199" y="1094"/>
                  </a:cubicBezTo>
                  <a:cubicBezTo>
                    <a:pt x="194" y="1104"/>
                    <a:pt x="186" y="1111"/>
                    <a:pt x="177" y="1117"/>
                  </a:cubicBezTo>
                  <a:cubicBezTo>
                    <a:pt x="168" y="1123"/>
                    <a:pt x="157" y="1125"/>
                    <a:pt x="145" y="1125"/>
                  </a:cubicBezTo>
                  <a:lnTo>
                    <a:pt x="145" y="1100"/>
                  </a:lnTo>
                  <a:cubicBezTo>
                    <a:pt x="158" y="1100"/>
                    <a:pt x="167" y="1097"/>
                    <a:pt x="174" y="1090"/>
                  </a:cubicBezTo>
                  <a:cubicBezTo>
                    <a:pt x="181" y="1083"/>
                    <a:pt x="185" y="1073"/>
                    <a:pt x="185" y="1061"/>
                  </a:cubicBezTo>
                  <a:cubicBezTo>
                    <a:pt x="185" y="1050"/>
                    <a:pt x="182" y="1042"/>
                    <a:pt x="176" y="1036"/>
                  </a:cubicBezTo>
                  <a:cubicBezTo>
                    <a:pt x="170" y="1031"/>
                    <a:pt x="163" y="1028"/>
                    <a:pt x="153" y="1028"/>
                  </a:cubicBezTo>
                  <a:close/>
                  <a:moveTo>
                    <a:pt x="244" y="972"/>
                  </a:moveTo>
                  <a:lnTo>
                    <a:pt x="234" y="987"/>
                  </a:lnTo>
                  <a:cubicBezTo>
                    <a:pt x="222" y="978"/>
                    <a:pt x="209" y="974"/>
                    <a:pt x="196" y="973"/>
                  </a:cubicBezTo>
                  <a:lnTo>
                    <a:pt x="173" y="973"/>
                  </a:lnTo>
                  <a:lnTo>
                    <a:pt x="173" y="948"/>
                  </a:lnTo>
                  <a:lnTo>
                    <a:pt x="193" y="948"/>
                  </a:lnTo>
                  <a:cubicBezTo>
                    <a:pt x="203" y="948"/>
                    <a:pt x="212" y="951"/>
                    <a:pt x="221" y="955"/>
                  </a:cubicBezTo>
                  <a:cubicBezTo>
                    <a:pt x="231" y="960"/>
                    <a:pt x="238" y="965"/>
                    <a:pt x="244" y="972"/>
                  </a:cubicBezTo>
                  <a:close/>
                  <a:moveTo>
                    <a:pt x="136" y="762"/>
                  </a:moveTo>
                  <a:lnTo>
                    <a:pt x="136" y="740"/>
                  </a:lnTo>
                  <a:lnTo>
                    <a:pt x="157" y="740"/>
                  </a:lnTo>
                  <a:lnTo>
                    <a:pt x="157" y="762"/>
                  </a:lnTo>
                  <a:lnTo>
                    <a:pt x="204" y="762"/>
                  </a:lnTo>
                  <a:lnTo>
                    <a:pt x="204" y="786"/>
                  </a:lnTo>
                  <a:lnTo>
                    <a:pt x="157" y="786"/>
                  </a:lnTo>
                  <a:lnTo>
                    <a:pt x="157" y="862"/>
                  </a:lnTo>
                  <a:lnTo>
                    <a:pt x="142" y="862"/>
                  </a:lnTo>
                  <a:lnTo>
                    <a:pt x="3" y="788"/>
                  </a:lnTo>
                  <a:lnTo>
                    <a:pt x="3" y="762"/>
                  </a:lnTo>
                  <a:lnTo>
                    <a:pt x="136" y="762"/>
                  </a:lnTo>
                  <a:close/>
                  <a:moveTo>
                    <a:pt x="136" y="835"/>
                  </a:moveTo>
                  <a:lnTo>
                    <a:pt x="136" y="786"/>
                  </a:lnTo>
                  <a:lnTo>
                    <a:pt x="41" y="786"/>
                  </a:lnTo>
                  <a:lnTo>
                    <a:pt x="136" y="835"/>
                  </a:lnTo>
                  <a:close/>
                  <a:moveTo>
                    <a:pt x="140" y="607"/>
                  </a:moveTo>
                  <a:lnTo>
                    <a:pt x="140" y="621"/>
                  </a:lnTo>
                  <a:lnTo>
                    <a:pt x="204" y="621"/>
                  </a:lnTo>
                  <a:lnTo>
                    <a:pt x="204" y="646"/>
                  </a:lnTo>
                  <a:lnTo>
                    <a:pt x="54" y="646"/>
                  </a:lnTo>
                  <a:lnTo>
                    <a:pt x="54" y="621"/>
                  </a:lnTo>
                  <a:lnTo>
                    <a:pt x="117" y="621"/>
                  </a:lnTo>
                  <a:lnTo>
                    <a:pt x="117" y="609"/>
                  </a:lnTo>
                  <a:lnTo>
                    <a:pt x="54" y="568"/>
                  </a:lnTo>
                  <a:lnTo>
                    <a:pt x="54" y="539"/>
                  </a:lnTo>
                  <a:lnTo>
                    <a:pt x="125" y="589"/>
                  </a:lnTo>
                  <a:lnTo>
                    <a:pt x="204" y="536"/>
                  </a:lnTo>
                  <a:lnTo>
                    <a:pt x="204" y="566"/>
                  </a:lnTo>
                  <a:lnTo>
                    <a:pt x="140" y="607"/>
                  </a:lnTo>
                  <a:close/>
                  <a:moveTo>
                    <a:pt x="54" y="407"/>
                  </a:moveTo>
                  <a:lnTo>
                    <a:pt x="204" y="407"/>
                  </a:lnTo>
                  <a:lnTo>
                    <a:pt x="204" y="431"/>
                  </a:lnTo>
                  <a:lnTo>
                    <a:pt x="75" y="431"/>
                  </a:lnTo>
                  <a:lnTo>
                    <a:pt x="75" y="471"/>
                  </a:lnTo>
                  <a:lnTo>
                    <a:pt x="126" y="473"/>
                  </a:lnTo>
                  <a:cubicBezTo>
                    <a:pt x="154" y="474"/>
                    <a:pt x="174" y="478"/>
                    <a:pt x="186" y="484"/>
                  </a:cubicBezTo>
                  <a:cubicBezTo>
                    <a:pt x="197" y="491"/>
                    <a:pt x="203" y="501"/>
                    <a:pt x="204" y="515"/>
                  </a:cubicBezTo>
                  <a:lnTo>
                    <a:pt x="204" y="523"/>
                  </a:lnTo>
                  <a:lnTo>
                    <a:pt x="181" y="523"/>
                  </a:lnTo>
                  <a:lnTo>
                    <a:pt x="181" y="516"/>
                  </a:lnTo>
                  <a:cubicBezTo>
                    <a:pt x="180" y="510"/>
                    <a:pt x="175" y="505"/>
                    <a:pt x="167" y="502"/>
                  </a:cubicBezTo>
                  <a:cubicBezTo>
                    <a:pt x="159" y="499"/>
                    <a:pt x="142" y="497"/>
                    <a:pt x="118" y="496"/>
                  </a:cubicBezTo>
                  <a:lnTo>
                    <a:pt x="54" y="494"/>
                  </a:lnTo>
                  <a:lnTo>
                    <a:pt x="54" y="407"/>
                  </a:lnTo>
                  <a:close/>
                  <a:moveTo>
                    <a:pt x="204" y="291"/>
                  </a:moveTo>
                  <a:cubicBezTo>
                    <a:pt x="200" y="293"/>
                    <a:pt x="195" y="294"/>
                    <a:pt x="187" y="295"/>
                  </a:cubicBezTo>
                  <a:cubicBezTo>
                    <a:pt x="200" y="303"/>
                    <a:pt x="206" y="314"/>
                    <a:pt x="206" y="328"/>
                  </a:cubicBezTo>
                  <a:cubicBezTo>
                    <a:pt x="206" y="341"/>
                    <a:pt x="203" y="352"/>
                    <a:pt x="195" y="359"/>
                  </a:cubicBezTo>
                  <a:cubicBezTo>
                    <a:pt x="187" y="367"/>
                    <a:pt x="177" y="371"/>
                    <a:pt x="163" y="371"/>
                  </a:cubicBezTo>
                  <a:cubicBezTo>
                    <a:pt x="148" y="371"/>
                    <a:pt x="136" y="366"/>
                    <a:pt x="127" y="355"/>
                  </a:cubicBezTo>
                  <a:cubicBezTo>
                    <a:pt x="118" y="345"/>
                    <a:pt x="113" y="331"/>
                    <a:pt x="113" y="313"/>
                  </a:cubicBezTo>
                  <a:lnTo>
                    <a:pt x="113" y="295"/>
                  </a:lnTo>
                  <a:lnTo>
                    <a:pt x="97" y="295"/>
                  </a:lnTo>
                  <a:cubicBezTo>
                    <a:pt x="88" y="295"/>
                    <a:pt x="82" y="297"/>
                    <a:pt x="78" y="301"/>
                  </a:cubicBezTo>
                  <a:cubicBezTo>
                    <a:pt x="74" y="305"/>
                    <a:pt x="72" y="311"/>
                    <a:pt x="72" y="319"/>
                  </a:cubicBezTo>
                  <a:cubicBezTo>
                    <a:pt x="72" y="326"/>
                    <a:pt x="75" y="332"/>
                    <a:pt x="79" y="337"/>
                  </a:cubicBezTo>
                  <a:cubicBezTo>
                    <a:pt x="83" y="342"/>
                    <a:pt x="89" y="344"/>
                    <a:pt x="96" y="344"/>
                  </a:cubicBezTo>
                  <a:lnTo>
                    <a:pt x="96" y="368"/>
                  </a:lnTo>
                  <a:cubicBezTo>
                    <a:pt x="88" y="368"/>
                    <a:pt x="81" y="366"/>
                    <a:pt x="74" y="361"/>
                  </a:cubicBezTo>
                  <a:cubicBezTo>
                    <a:pt x="67" y="357"/>
                    <a:pt x="61" y="351"/>
                    <a:pt x="57" y="343"/>
                  </a:cubicBezTo>
                  <a:cubicBezTo>
                    <a:pt x="53" y="336"/>
                    <a:pt x="51" y="327"/>
                    <a:pt x="51" y="318"/>
                  </a:cubicBezTo>
                  <a:cubicBezTo>
                    <a:pt x="51" y="302"/>
                    <a:pt x="55" y="291"/>
                    <a:pt x="63" y="283"/>
                  </a:cubicBezTo>
                  <a:cubicBezTo>
                    <a:pt x="70" y="275"/>
                    <a:pt x="82" y="271"/>
                    <a:pt x="96" y="271"/>
                  </a:cubicBezTo>
                  <a:lnTo>
                    <a:pt x="171" y="271"/>
                  </a:lnTo>
                  <a:cubicBezTo>
                    <a:pt x="183" y="271"/>
                    <a:pt x="193" y="269"/>
                    <a:pt x="201" y="266"/>
                  </a:cubicBezTo>
                  <a:lnTo>
                    <a:pt x="204" y="266"/>
                  </a:lnTo>
                  <a:lnTo>
                    <a:pt x="204" y="291"/>
                  </a:lnTo>
                  <a:close/>
                  <a:moveTo>
                    <a:pt x="184" y="324"/>
                  </a:moveTo>
                  <a:cubicBezTo>
                    <a:pt x="184" y="318"/>
                    <a:pt x="182" y="312"/>
                    <a:pt x="179" y="307"/>
                  </a:cubicBezTo>
                  <a:cubicBezTo>
                    <a:pt x="176" y="301"/>
                    <a:pt x="172" y="297"/>
                    <a:pt x="167" y="295"/>
                  </a:cubicBezTo>
                  <a:lnTo>
                    <a:pt x="131" y="295"/>
                  </a:lnTo>
                  <a:lnTo>
                    <a:pt x="131" y="309"/>
                  </a:lnTo>
                  <a:cubicBezTo>
                    <a:pt x="131" y="320"/>
                    <a:pt x="134" y="330"/>
                    <a:pt x="139" y="336"/>
                  </a:cubicBezTo>
                  <a:cubicBezTo>
                    <a:pt x="144" y="343"/>
                    <a:pt x="151" y="346"/>
                    <a:pt x="160" y="346"/>
                  </a:cubicBezTo>
                  <a:cubicBezTo>
                    <a:pt x="168" y="346"/>
                    <a:pt x="175" y="345"/>
                    <a:pt x="178" y="341"/>
                  </a:cubicBezTo>
                  <a:cubicBezTo>
                    <a:pt x="182" y="338"/>
                    <a:pt x="184" y="332"/>
                    <a:pt x="184" y="324"/>
                  </a:cubicBezTo>
                  <a:close/>
                  <a:moveTo>
                    <a:pt x="186" y="181"/>
                  </a:moveTo>
                  <a:cubicBezTo>
                    <a:pt x="186" y="173"/>
                    <a:pt x="183" y="166"/>
                    <a:pt x="178" y="162"/>
                  </a:cubicBezTo>
                  <a:cubicBezTo>
                    <a:pt x="173" y="157"/>
                    <a:pt x="166" y="154"/>
                    <a:pt x="157" y="154"/>
                  </a:cubicBezTo>
                  <a:lnTo>
                    <a:pt x="157" y="130"/>
                  </a:lnTo>
                  <a:cubicBezTo>
                    <a:pt x="171" y="131"/>
                    <a:pt x="183" y="136"/>
                    <a:pt x="192" y="146"/>
                  </a:cubicBezTo>
                  <a:cubicBezTo>
                    <a:pt x="202" y="155"/>
                    <a:pt x="206" y="167"/>
                    <a:pt x="206" y="181"/>
                  </a:cubicBezTo>
                  <a:cubicBezTo>
                    <a:pt x="206" y="199"/>
                    <a:pt x="201" y="214"/>
                    <a:pt x="189" y="223"/>
                  </a:cubicBezTo>
                  <a:cubicBezTo>
                    <a:pt x="177" y="233"/>
                    <a:pt x="160" y="238"/>
                    <a:pt x="137" y="238"/>
                  </a:cubicBezTo>
                  <a:lnTo>
                    <a:pt x="121" y="238"/>
                  </a:lnTo>
                  <a:cubicBezTo>
                    <a:pt x="98" y="238"/>
                    <a:pt x="81" y="233"/>
                    <a:pt x="69" y="223"/>
                  </a:cubicBezTo>
                  <a:cubicBezTo>
                    <a:pt x="57" y="214"/>
                    <a:pt x="51" y="200"/>
                    <a:pt x="51" y="181"/>
                  </a:cubicBezTo>
                  <a:cubicBezTo>
                    <a:pt x="51" y="166"/>
                    <a:pt x="56" y="154"/>
                    <a:pt x="66" y="145"/>
                  </a:cubicBezTo>
                  <a:cubicBezTo>
                    <a:pt x="76" y="136"/>
                    <a:pt x="89" y="131"/>
                    <a:pt x="106" y="130"/>
                  </a:cubicBezTo>
                  <a:lnTo>
                    <a:pt x="106" y="154"/>
                  </a:lnTo>
                  <a:cubicBezTo>
                    <a:pt x="95" y="154"/>
                    <a:pt x="86" y="157"/>
                    <a:pt x="81" y="161"/>
                  </a:cubicBezTo>
                  <a:cubicBezTo>
                    <a:pt x="75" y="166"/>
                    <a:pt x="72" y="173"/>
                    <a:pt x="72" y="181"/>
                  </a:cubicBezTo>
                  <a:cubicBezTo>
                    <a:pt x="72" y="192"/>
                    <a:pt x="76" y="200"/>
                    <a:pt x="83" y="205"/>
                  </a:cubicBezTo>
                  <a:cubicBezTo>
                    <a:pt x="90" y="211"/>
                    <a:pt x="102" y="213"/>
                    <a:pt x="118" y="213"/>
                  </a:cubicBezTo>
                  <a:lnTo>
                    <a:pt x="137" y="213"/>
                  </a:lnTo>
                  <a:cubicBezTo>
                    <a:pt x="155" y="213"/>
                    <a:pt x="167" y="211"/>
                    <a:pt x="175" y="206"/>
                  </a:cubicBezTo>
                  <a:cubicBezTo>
                    <a:pt x="182" y="200"/>
                    <a:pt x="186" y="192"/>
                    <a:pt x="186" y="181"/>
                  </a:cubicBezTo>
                  <a:close/>
                  <a:moveTo>
                    <a:pt x="186" y="50"/>
                  </a:moveTo>
                  <a:cubicBezTo>
                    <a:pt x="186" y="42"/>
                    <a:pt x="183" y="36"/>
                    <a:pt x="178" y="31"/>
                  </a:cubicBezTo>
                  <a:cubicBezTo>
                    <a:pt x="173" y="26"/>
                    <a:pt x="166" y="23"/>
                    <a:pt x="157" y="23"/>
                  </a:cubicBezTo>
                  <a:lnTo>
                    <a:pt x="157" y="0"/>
                  </a:lnTo>
                  <a:cubicBezTo>
                    <a:pt x="171" y="0"/>
                    <a:pt x="183" y="6"/>
                    <a:pt x="192" y="15"/>
                  </a:cubicBezTo>
                  <a:cubicBezTo>
                    <a:pt x="202" y="25"/>
                    <a:pt x="206" y="37"/>
                    <a:pt x="206" y="50"/>
                  </a:cubicBezTo>
                  <a:cubicBezTo>
                    <a:pt x="206" y="69"/>
                    <a:pt x="201" y="83"/>
                    <a:pt x="189" y="93"/>
                  </a:cubicBezTo>
                  <a:cubicBezTo>
                    <a:pt x="177" y="102"/>
                    <a:pt x="160" y="107"/>
                    <a:pt x="137" y="107"/>
                  </a:cubicBezTo>
                  <a:lnTo>
                    <a:pt x="121" y="107"/>
                  </a:lnTo>
                  <a:cubicBezTo>
                    <a:pt x="98" y="107"/>
                    <a:pt x="81" y="102"/>
                    <a:pt x="69" y="93"/>
                  </a:cubicBezTo>
                  <a:cubicBezTo>
                    <a:pt x="57" y="83"/>
                    <a:pt x="51" y="69"/>
                    <a:pt x="51" y="51"/>
                  </a:cubicBezTo>
                  <a:cubicBezTo>
                    <a:pt x="51" y="35"/>
                    <a:pt x="56" y="23"/>
                    <a:pt x="66" y="14"/>
                  </a:cubicBezTo>
                  <a:cubicBezTo>
                    <a:pt x="76" y="5"/>
                    <a:pt x="89" y="0"/>
                    <a:pt x="106" y="0"/>
                  </a:cubicBezTo>
                  <a:lnTo>
                    <a:pt x="106" y="23"/>
                  </a:lnTo>
                  <a:cubicBezTo>
                    <a:pt x="95" y="24"/>
                    <a:pt x="86" y="26"/>
                    <a:pt x="81" y="31"/>
                  </a:cubicBezTo>
                  <a:cubicBezTo>
                    <a:pt x="75" y="36"/>
                    <a:pt x="72" y="42"/>
                    <a:pt x="72" y="51"/>
                  </a:cubicBezTo>
                  <a:cubicBezTo>
                    <a:pt x="72" y="61"/>
                    <a:pt x="76" y="69"/>
                    <a:pt x="83" y="75"/>
                  </a:cubicBezTo>
                  <a:cubicBezTo>
                    <a:pt x="90" y="80"/>
                    <a:pt x="102" y="83"/>
                    <a:pt x="118" y="83"/>
                  </a:cubicBezTo>
                  <a:lnTo>
                    <a:pt x="137" y="83"/>
                  </a:lnTo>
                  <a:cubicBezTo>
                    <a:pt x="155" y="83"/>
                    <a:pt x="167" y="80"/>
                    <a:pt x="175" y="75"/>
                  </a:cubicBezTo>
                  <a:cubicBezTo>
                    <a:pt x="182" y="70"/>
                    <a:pt x="186" y="62"/>
                    <a:pt x="186" y="50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8" name="Freeform 1780"/>
            <p:cNvSpPr>
              <a:spLocks noEditPoints="1"/>
            </p:cNvSpPr>
            <p:nvPr/>
          </p:nvSpPr>
          <p:spPr bwMode="auto">
            <a:xfrm>
              <a:off x="2133048" y="3238642"/>
              <a:ext cx="111571" cy="816860"/>
            </a:xfrm>
            <a:custGeom>
              <a:avLst/>
              <a:gdLst/>
              <a:ahLst/>
              <a:cxnLst>
                <a:cxn ang="0">
                  <a:pos x="3" y="1790"/>
                </a:cxn>
                <a:cxn ang="0">
                  <a:pos x="109" y="1681"/>
                </a:cxn>
                <a:cxn ang="0">
                  <a:pos x="103" y="1726"/>
                </a:cxn>
                <a:cxn ang="0">
                  <a:pos x="25" y="1725"/>
                </a:cxn>
                <a:cxn ang="0">
                  <a:pos x="204" y="1632"/>
                </a:cxn>
                <a:cxn ang="0">
                  <a:pos x="153" y="1475"/>
                </a:cxn>
                <a:cxn ang="0">
                  <a:pos x="79" y="1561"/>
                </a:cxn>
                <a:cxn ang="0">
                  <a:pos x="8" y="1478"/>
                </a:cxn>
                <a:cxn ang="0">
                  <a:pos x="32" y="1483"/>
                </a:cxn>
                <a:cxn ang="0">
                  <a:pos x="76" y="1532"/>
                </a:cxn>
                <a:cxn ang="0">
                  <a:pos x="192" y="1465"/>
                </a:cxn>
                <a:cxn ang="0">
                  <a:pos x="146" y="1572"/>
                </a:cxn>
                <a:cxn ang="0">
                  <a:pos x="176" y="1483"/>
                </a:cxn>
                <a:cxn ang="0">
                  <a:pos x="204" y="1406"/>
                </a:cxn>
                <a:cxn ang="0">
                  <a:pos x="204" y="1280"/>
                </a:cxn>
                <a:cxn ang="0">
                  <a:pos x="130" y="1329"/>
                </a:cxn>
                <a:cxn ang="0">
                  <a:pos x="234" y="1271"/>
                </a:cxn>
                <a:cxn ang="0">
                  <a:pos x="194" y="1232"/>
                </a:cxn>
                <a:cxn ang="0">
                  <a:pos x="204" y="1090"/>
                </a:cxn>
                <a:cxn ang="0">
                  <a:pos x="2" y="1069"/>
                </a:cxn>
                <a:cxn ang="0">
                  <a:pos x="3" y="980"/>
                </a:cxn>
                <a:cxn ang="0">
                  <a:pos x="81" y="964"/>
                </a:cxn>
                <a:cxn ang="0">
                  <a:pos x="189" y="902"/>
                </a:cxn>
                <a:cxn ang="0">
                  <a:pos x="151" y="972"/>
                </a:cxn>
                <a:cxn ang="0">
                  <a:pos x="140" y="912"/>
                </a:cxn>
                <a:cxn ang="0">
                  <a:pos x="108" y="969"/>
                </a:cxn>
                <a:cxn ang="0">
                  <a:pos x="108" y="869"/>
                </a:cxn>
                <a:cxn ang="0">
                  <a:pos x="204" y="682"/>
                </a:cxn>
                <a:cxn ang="0">
                  <a:pos x="126" y="748"/>
                </a:cxn>
                <a:cxn ang="0">
                  <a:pos x="181" y="797"/>
                </a:cxn>
                <a:cxn ang="0">
                  <a:pos x="54" y="769"/>
                </a:cxn>
                <a:cxn ang="0">
                  <a:pos x="141" y="647"/>
                </a:cxn>
                <a:cxn ang="0">
                  <a:pos x="68" y="553"/>
                </a:cxn>
                <a:cxn ang="0">
                  <a:pos x="140" y="623"/>
                </a:cxn>
                <a:cxn ang="0">
                  <a:pos x="169" y="554"/>
                </a:cxn>
                <a:cxn ang="0">
                  <a:pos x="83" y="615"/>
                </a:cxn>
                <a:cxn ang="0">
                  <a:pos x="82" y="572"/>
                </a:cxn>
                <a:cxn ang="0">
                  <a:pos x="204" y="457"/>
                </a:cxn>
                <a:cxn ang="0">
                  <a:pos x="54" y="521"/>
                </a:cxn>
                <a:cxn ang="0">
                  <a:pos x="204" y="310"/>
                </a:cxn>
                <a:cxn ang="0">
                  <a:pos x="204" y="388"/>
                </a:cxn>
                <a:cxn ang="0">
                  <a:pos x="119" y="310"/>
                </a:cxn>
                <a:cxn ang="0">
                  <a:pos x="54" y="166"/>
                </a:cxn>
                <a:cxn ang="0">
                  <a:pos x="95" y="166"/>
                </a:cxn>
                <a:cxn ang="0">
                  <a:pos x="54" y="220"/>
                </a:cxn>
                <a:cxn ang="0">
                  <a:pos x="190" y="92"/>
                </a:cxn>
                <a:cxn ang="0">
                  <a:pos x="52" y="52"/>
                </a:cxn>
                <a:cxn ang="0">
                  <a:pos x="136" y="83"/>
                </a:cxn>
                <a:cxn ang="0">
                  <a:pos x="182" y="29"/>
                </a:cxn>
                <a:cxn ang="0">
                  <a:pos x="73" y="52"/>
                </a:cxn>
                <a:cxn ang="0">
                  <a:pos x="112" y="24"/>
                </a:cxn>
              </a:cxnLst>
              <a:rect l="0" t="0" r="r" b="b"/>
              <a:pathLst>
                <a:path w="244" h="1790">
                  <a:moveTo>
                    <a:pt x="125" y="1764"/>
                  </a:moveTo>
                  <a:lnTo>
                    <a:pt x="204" y="1764"/>
                  </a:lnTo>
                  <a:lnTo>
                    <a:pt x="204" y="1790"/>
                  </a:lnTo>
                  <a:lnTo>
                    <a:pt x="3" y="1790"/>
                  </a:lnTo>
                  <a:lnTo>
                    <a:pt x="3" y="1726"/>
                  </a:lnTo>
                  <a:cubicBezTo>
                    <a:pt x="3" y="1707"/>
                    <a:pt x="8" y="1692"/>
                    <a:pt x="20" y="1682"/>
                  </a:cubicBezTo>
                  <a:cubicBezTo>
                    <a:pt x="31" y="1671"/>
                    <a:pt x="46" y="1665"/>
                    <a:pt x="64" y="1665"/>
                  </a:cubicBezTo>
                  <a:cubicBezTo>
                    <a:pt x="84" y="1665"/>
                    <a:pt x="98" y="1671"/>
                    <a:pt x="109" y="1681"/>
                  </a:cubicBezTo>
                  <a:cubicBezTo>
                    <a:pt x="119" y="1691"/>
                    <a:pt x="125" y="1705"/>
                    <a:pt x="125" y="1724"/>
                  </a:cubicBezTo>
                  <a:lnTo>
                    <a:pt x="125" y="1764"/>
                  </a:lnTo>
                  <a:close/>
                  <a:moveTo>
                    <a:pt x="103" y="1764"/>
                  </a:moveTo>
                  <a:lnTo>
                    <a:pt x="103" y="1726"/>
                  </a:lnTo>
                  <a:cubicBezTo>
                    <a:pt x="103" y="1714"/>
                    <a:pt x="100" y="1706"/>
                    <a:pt x="93" y="1700"/>
                  </a:cubicBezTo>
                  <a:cubicBezTo>
                    <a:pt x="87" y="1694"/>
                    <a:pt x="77" y="1691"/>
                    <a:pt x="65" y="1691"/>
                  </a:cubicBezTo>
                  <a:cubicBezTo>
                    <a:pt x="52" y="1691"/>
                    <a:pt x="43" y="1694"/>
                    <a:pt x="35" y="1700"/>
                  </a:cubicBezTo>
                  <a:cubicBezTo>
                    <a:pt x="28" y="1706"/>
                    <a:pt x="25" y="1715"/>
                    <a:pt x="25" y="1725"/>
                  </a:cubicBezTo>
                  <a:lnTo>
                    <a:pt x="25" y="1764"/>
                  </a:lnTo>
                  <a:lnTo>
                    <a:pt x="103" y="1764"/>
                  </a:lnTo>
                  <a:close/>
                  <a:moveTo>
                    <a:pt x="204" y="1607"/>
                  </a:moveTo>
                  <a:lnTo>
                    <a:pt x="204" y="1632"/>
                  </a:lnTo>
                  <a:lnTo>
                    <a:pt x="3" y="1632"/>
                  </a:lnTo>
                  <a:lnTo>
                    <a:pt x="3" y="1607"/>
                  </a:lnTo>
                  <a:lnTo>
                    <a:pt x="204" y="1607"/>
                  </a:lnTo>
                  <a:close/>
                  <a:moveTo>
                    <a:pt x="153" y="1475"/>
                  </a:moveTo>
                  <a:cubicBezTo>
                    <a:pt x="143" y="1475"/>
                    <a:pt x="135" y="1477"/>
                    <a:pt x="130" y="1483"/>
                  </a:cubicBezTo>
                  <a:cubicBezTo>
                    <a:pt x="125" y="1488"/>
                    <a:pt x="119" y="1498"/>
                    <a:pt x="114" y="1512"/>
                  </a:cubicBezTo>
                  <a:cubicBezTo>
                    <a:pt x="109" y="1526"/>
                    <a:pt x="104" y="1537"/>
                    <a:pt x="98" y="1545"/>
                  </a:cubicBezTo>
                  <a:cubicBezTo>
                    <a:pt x="93" y="1552"/>
                    <a:pt x="87" y="1558"/>
                    <a:pt x="79" y="1561"/>
                  </a:cubicBezTo>
                  <a:cubicBezTo>
                    <a:pt x="72" y="1565"/>
                    <a:pt x="64" y="1567"/>
                    <a:pt x="55" y="1567"/>
                  </a:cubicBezTo>
                  <a:cubicBezTo>
                    <a:pt x="39" y="1567"/>
                    <a:pt x="26" y="1562"/>
                    <a:pt x="16" y="1551"/>
                  </a:cubicBezTo>
                  <a:cubicBezTo>
                    <a:pt x="5" y="1540"/>
                    <a:pt x="0" y="1526"/>
                    <a:pt x="0" y="1509"/>
                  </a:cubicBezTo>
                  <a:cubicBezTo>
                    <a:pt x="0" y="1497"/>
                    <a:pt x="3" y="1487"/>
                    <a:pt x="8" y="1478"/>
                  </a:cubicBezTo>
                  <a:cubicBezTo>
                    <a:pt x="13" y="1469"/>
                    <a:pt x="21" y="1462"/>
                    <a:pt x="30" y="1457"/>
                  </a:cubicBezTo>
                  <a:cubicBezTo>
                    <a:pt x="39" y="1452"/>
                    <a:pt x="50" y="1449"/>
                    <a:pt x="61" y="1449"/>
                  </a:cubicBezTo>
                  <a:lnTo>
                    <a:pt x="61" y="1475"/>
                  </a:lnTo>
                  <a:cubicBezTo>
                    <a:pt x="48" y="1475"/>
                    <a:pt x="39" y="1477"/>
                    <a:pt x="32" y="1483"/>
                  </a:cubicBezTo>
                  <a:cubicBezTo>
                    <a:pt x="25" y="1489"/>
                    <a:pt x="22" y="1498"/>
                    <a:pt x="22" y="1509"/>
                  </a:cubicBezTo>
                  <a:cubicBezTo>
                    <a:pt x="22" y="1519"/>
                    <a:pt x="25" y="1527"/>
                    <a:pt x="30" y="1533"/>
                  </a:cubicBezTo>
                  <a:cubicBezTo>
                    <a:pt x="36" y="1539"/>
                    <a:pt x="44" y="1541"/>
                    <a:pt x="54" y="1541"/>
                  </a:cubicBezTo>
                  <a:cubicBezTo>
                    <a:pt x="63" y="1541"/>
                    <a:pt x="70" y="1538"/>
                    <a:pt x="76" y="1532"/>
                  </a:cubicBezTo>
                  <a:cubicBezTo>
                    <a:pt x="81" y="1526"/>
                    <a:pt x="87" y="1517"/>
                    <a:pt x="91" y="1504"/>
                  </a:cubicBezTo>
                  <a:cubicBezTo>
                    <a:pt x="98" y="1484"/>
                    <a:pt x="106" y="1470"/>
                    <a:pt x="115" y="1462"/>
                  </a:cubicBezTo>
                  <a:cubicBezTo>
                    <a:pt x="125" y="1453"/>
                    <a:pt x="137" y="1449"/>
                    <a:pt x="153" y="1449"/>
                  </a:cubicBezTo>
                  <a:cubicBezTo>
                    <a:pt x="169" y="1449"/>
                    <a:pt x="182" y="1454"/>
                    <a:pt x="192" y="1465"/>
                  </a:cubicBezTo>
                  <a:cubicBezTo>
                    <a:pt x="202" y="1475"/>
                    <a:pt x="207" y="1490"/>
                    <a:pt x="207" y="1508"/>
                  </a:cubicBezTo>
                  <a:cubicBezTo>
                    <a:pt x="207" y="1520"/>
                    <a:pt x="204" y="1531"/>
                    <a:pt x="199" y="1540"/>
                  </a:cubicBezTo>
                  <a:cubicBezTo>
                    <a:pt x="194" y="1550"/>
                    <a:pt x="187" y="1558"/>
                    <a:pt x="177" y="1564"/>
                  </a:cubicBezTo>
                  <a:cubicBezTo>
                    <a:pt x="168" y="1569"/>
                    <a:pt x="157" y="1572"/>
                    <a:pt x="146" y="1572"/>
                  </a:cubicBezTo>
                  <a:lnTo>
                    <a:pt x="146" y="1547"/>
                  </a:lnTo>
                  <a:cubicBezTo>
                    <a:pt x="158" y="1547"/>
                    <a:pt x="168" y="1543"/>
                    <a:pt x="175" y="1536"/>
                  </a:cubicBezTo>
                  <a:cubicBezTo>
                    <a:pt x="181" y="1529"/>
                    <a:pt x="185" y="1520"/>
                    <a:pt x="185" y="1508"/>
                  </a:cubicBezTo>
                  <a:cubicBezTo>
                    <a:pt x="185" y="1497"/>
                    <a:pt x="182" y="1489"/>
                    <a:pt x="176" y="1483"/>
                  </a:cubicBezTo>
                  <a:cubicBezTo>
                    <a:pt x="171" y="1477"/>
                    <a:pt x="163" y="1475"/>
                    <a:pt x="153" y="1475"/>
                  </a:cubicBezTo>
                  <a:close/>
                  <a:moveTo>
                    <a:pt x="151" y="1322"/>
                  </a:moveTo>
                  <a:lnTo>
                    <a:pt x="151" y="1390"/>
                  </a:lnTo>
                  <a:lnTo>
                    <a:pt x="204" y="1406"/>
                  </a:lnTo>
                  <a:lnTo>
                    <a:pt x="204" y="1432"/>
                  </a:lnTo>
                  <a:lnTo>
                    <a:pt x="3" y="1367"/>
                  </a:lnTo>
                  <a:lnTo>
                    <a:pt x="3" y="1345"/>
                  </a:lnTo>
                  <a:lnTo>
                    <a:pt x="204" y="1280"/>
                  </a:lnTo>
                  <a:lnTo>
                    <a:pt x="204" y="1306"/>
                  </a:lnTo>
                  <a:lnTo>
                    <a:pt x="151" y="1322"/>
                  </a:lnTo>
                  <a:close/>
                  <a:moveTo>
                    <a:pt x="130" y="1383"/>
                  </a:moveTo>
                  <a:lnTo>
                    <a:pt x="130" y="1329"/>
                  </a:lnTo>
                  <a:lnTo>
                    <a:pt x="38" y="1356"/>
                  </a:lnTo>
                  <a:lnTo>
                    <a:pt x="130" y="1383"/>
                  </a:lnTo>
                  <a:close/>
                  <a:moveTo>
                    <a:pt x="244" y="1256"/>
                  </a:moveTo>
                  <a:lnTo>
                    <a:pt x="234" y="1271"/>
                  </a:lnTo>
                  <a:cubicBezTo>
                    <a:pt x="222" y="1262"/>
                    <a:pt x="209" y="1258"/>
                    <a:pt x="197" y="1257"/>
                  </a:cubicBezTo>
                  <a:lnTo>
                    <a:pt x="174" y="1257"/>
                  </a:lnTo>
                  <a:lnTo>
                    <a:pt x="174" y="1232"/>
                  </a:lnTo>
                  <a:lnTo>
                    <a:pt x="194" y="1232"/>
                  </a:lnTo>
                  <a:cubicBezTo>
                    <a:pt x="203" y="1232"/>
                    <a:pt x="212" y="1234"/>
                    <a:pt x="221" y="1239"/>
                  </a:cubicBezTo>
                  <a:cubicBezTo>
                    <a:pt x="231" y="1244"/>
                    <a:pt x="238" y="1249"/>
                    <a:pt x="244" y="1256"/>
                  </a:cubicBezTo>
                  <a:close/>
                  <a:moveTo>
                    <a:pt x="204" y="1066"/>
                  </a:moveTo>
                  <a:lnTo>
                    <a:pt x="204" y="1090"/>
                  </a:lnTo>
                  <a:lnTo>
                    <a:pt x="34" y="1090"/>
                  </a:lnTo>
                  <a:lnTo>
                    <a:pt x="52" y="1132"/>
                  </a:lnTo>
                  <a:lnTo>
                    <a:pt x="29" y="1132"/>
                  </a:lnTo>
                  <a:lnTo>
                    <a:pt x="2" y="1069"/>
                  </a:lnTo>
                  <a:lnTo>
                    <a:pt x="2" y="1066"/>
                  </a:lnTo>
                  <a:lnTo>
                    <a:pt x="204" y="1066"/>
                  </a:lnTo>
                  <a:close/>
                  <a:moveTo>
                    <a:pt x="103" y="989"/>
                  </a:moveTo>
                  <a:lnTo>
                    <a:pt x="3" y="980"/>
                  </a:lnTo>
                  <a:lnTo>
                    <a:pt x="3" y="893"/>
                  </a:lnTo>
                  <a:lnTo>
                    <a:pt x="26" y="893"/>
                  </a:lnTo>
                  <a:lnTo>
                    <a:pt x="26" y="960"/>
                  </a:lnTo>
                  <a:lnTo>
                    <a:pt x="81" y="964"/>
                  </a:lnTo>
                  <a:cubicBezTo>
                    <a:pt x="75" y="956"/>
                    <a:pt x="73" y="947"/>
                    <a:pt x="73" y="937"/>
                  </a:cubicBezTo>
                  <a:cubicBezTo>
                    <a:pt x="73" y="922"/>
                    <a:pt x="79" y="910"/>
                    <a:pt x="91" y="901"/>
                  </a:cubicBezTo>
                  <a:cubicBezTo>
                    <a:pt x="103" y="892"/>
                    <a:pt x="119" y="887"/>
                    <a:pt x="140" y="887"/>
                  </a:cubicBezTo>
                  <a:cubicBezTo>
                    <a:pt x="161" y="887"/>
                    <a:pt x="177" y="892"/>
                    <a:pt x="189" y="902"/>
                  </a:cubicBezTo>
                  <a:cubicBezTo>
                    <a:pt x="201" y="911"/>
                    <a:pt x="207" y="925"/>
                    <a:pt x="207" y="942"/>
                  </a:cubicBezTo>
                  <a:cubicBezTo>
                    <a:pt x="207" y="957"/>
                    <a:pt x="202" y="969"/>
                    <a:pt x="192" y="979"/>
                  </a:cubicBezTo>
                  <a:cubicBezTo>
                    <a:pt x="182" y="988"/>
                    <a:pt x="168" y="993"/>
                    <a:pt x="151" y="995"/>
                  </a:cubicBezTo>
                  <a:lnTo>
                    <a:pt x="151" y="972"/>
                  </a:lnTo>
                  <a:cubicBezTo>
                    <a:pt x="162" y="971"/>
                    <a:pt x="171" y="967"/>
                    <a:pt x="177" y="962"/>
                  </a:cubicBezTo>
                  <a:cubicBezTo>
                    <a:pt x="183" y="957"/>
                    <a:pt x="186" y="950"/>
                    <a:pt x="186" y="942"/>
                  </a:cubicBezTo>
                  <a:cubicBezTo>
                    <a:pt x="186" y="932"/>
                    <a:pt x="182" y="925"/>
                    <a:pt x="173" y="920"/>
                  </a:cubicBezTo>
                  <a:cubicBezTo>
                    <a:pt x="165" y="914"/>
                    <a:pt x="154" y="912"/>
                    <a:pt x="140" y="912"/>
                  </a:cubicBezTo>
                  <a:cubicBezTo>
                    <a:pt x="127" y="912"/>
                    <a:pt x="116" y="914"/>
                    <a:pt x="108" y="920"/>
                  </a:cubicBezTo>
                  <a:cubicBezTo>
                    <a:pt x="100" y="926"/>
                    <a:pt x="95" y="934"/>
                    <a:pt x="95" y="943"/>
                  </a:cubicBezTo>
                  <a:cubicBezTo>
                    <a:pt x="95" y="951"/>
                    <a:pt x="98" y="958"/>
                    <a:pt x="102" y="963"/>
                  </a:cubicBezTo>
                  <a:lnTo>
                    <a:pt x="108" y="969"/>
                  </a:lnTo>
                  <a:lnTo>
                    <a:pt x="103" y="989"/>
                  </a:lnTo>
                  <a:close/>
                  <a:moveTo>
                    <a:pt x="129" y="812"/>
                  </a:moveTo>
                  <a:lnTo>
                    <a:pt x="129" y="869"/>
                  </a:lnTo>
                  <a:lnTo>
                    <a:pt x="108" y="869"/>
                  </a:lnTo>
                  <a:lnTo>
                    <a:pt x="108" y="812"/>
                  </a:lnTo>
                  <a:lnTo>
                    <a:pt x="129" y="812"/>
                  </a:lnTo>
                  <a:close/>
                  <a:moveTo>
                    <a:pt x="54" y="682"/>
                  </a:moveTo>
                  <a:lnTo>
                    <a:pt x="204" y="682"/>
                  </a:lnTo>
                  <a:lnTo>
                    <a:pt x="204" y="706"/>
                  </a:lnTo>
                  <a:lnTo>
                    <a:pt x="76" y="706"/>
                  </a:lnTo>
                  <a:lnTo>
                    <a:pt x="76" y="745"/>
                  </a:lnTo>
                  <a:lnTo>
                    <a:pt x="126" y="748"/>
                  </a:lnTo>
                  <a:cubicBezTo>
                    <a:pt x="154" y="749"/>
                    <a:pt x="174" y="753"/>
                    <a:pt x="186" y="759"/>
                  </a:cubicBezTo>
                  <a:cubicBezTo>
                    <a:pt x="198" y="765"/>
                    <a:pt x="204" y="775"/>
                    <a:pt x="204" y="789"/>
                  </a:cubicBezTo>
                  <a:lnTo>
                    <a:pt x="204" y="797"/>
                  </a:lnTo>
                  <a:lnTo>
                    <a:pt x="181" y="797"/>
                  </a:lnTo>
                  <a:lnTo>
                    <a:pt x="181" y="791"/>
                  </a:lnTo>
                  <a:cubicBezTo>
                    <a:pt x="180" y="784"/>
                    <a:pt x="175" y="780"/>
                    <a:pt x="167" y="777"/>
                  </a:cubicBezTo>
                  <a:cubicBezTo>
                    <a:pt x="159" y="774"/>
                    <a:pt x="143" y="772"/>
                    <a:pt x="118" y="771"/>
                  </a:cubicBezTo>
                  <a:lnTo>
                    <a:pt x="54" y="769"/>
                  </a:lnTo>
                  <a:lnTo>
                    <a:pt x="54" y="682"/>
                  </a:lnTo>
                  <a:close/>
                  <a:moveTo>
                    <a:pt x="207" y="589"/>
                  </a:moveTo>
                  <a:cubicBezTo>
                    <a:pt x="207" y="608"/>
                    <a:pt x="201" y="622"/>
                    <a:pt x="190" y="632"/>
                  </a:cubicBezTo>
                  <a:cubicBezTo>
                    <a:pt x="179" y="642"/>
                    <a:pt x="163" y="647"/>
                    <a:pt x="141" y="647"/>
                  </a:cubicBezTo>
                  <a:lnTo>
                    <a:pt x="123" y="647"/>
                  </a:lnTo>
                  <a:cubicBezTo>
                    <a:pt x="101" y="647"/>
                    <a:pt x="83" y="643"/>
                    <a:pt x="71" y="633"/>
                  </a:cubicBezTo>
                  <a:cubicBezTo>
                    <a:pt x="58" y="623"/>
                    <a:pt x="52" y="610"/>
                    <a:pt x="52" y="592"/>
                  </a:cubicBezTo>
                  <a:cubicBezTo>
                    <a:pt x="52" y="575"/>
                    <a:pt x="57" y="562"/>
                    <a:pt x="68" y="553"/>
                  </a:cubicBezTo>
                  <a:cubicBezTo>
                    <a:pt x="79" y="544"/>
                    <a:pt x="97" y="540"/>
                    <a:pt x="120" y="540"/>
                  </a:cubicBezTo>
                  <a:lnTo>
                    <a:pt x="136" y="540"/>
                  </a:lnTo>
                  <a:lnTo>
                    <a:pt x="136" y="623"/>
                  </a:lnTo>
                  <a:lnTo>
                    <a:pt x="140" y="623"/>
                  </a:lnTo>
                  <a:cubicBezTo>
                    <a:pt x="156" y="623"/>
                    <a:pt x="168" y="620"/>
                    <a:pt x="175" y="614"/>
                  </a:cubicBezTo>
                  <a:cubicBezTo>
                    <a:pt x="182" y="608"/>
                    <a:pt x="186" y="599"/>
                    <a:pt x="186" y="588"/>
                  </a:cubicBezTo>
                  <a:cubicBezTo>
                    <a:pt x="186" y="581"/>
                    <a:pt x="184" y="575"/>
                    <a:pt x="182" y="569"/>
                  </a:cubicBezTo>
                  <a:cubicBezTo>
                    <a:pt x="179" y="564"/>
                    <a:pt x="175" y="559"/>
                    <a:pt x="169" y="554"/>
                  </a:cubicBezTo>
                  <a:lnTo>
                    <a:pt x="184" y="541"/>
                  </a:lnTo>
                  <a:cubicBezTo>
                    <a:pt x="199" y="552"/>
                    <a:pt x="207" y="568"/>
                    <a:pt x="207" y="589"/>
                  </a:cubicBezTo>
                  <a:close/>
                  <a:moveTo>
                    <a:pt x="73" y="592"/>
                  </a:moveTo>
                  <a:cubicBezTo>
                    <a:pt x="73" y="602"/>
                    <a:pt x="76" y="610"/>
                    <a:pt x="83" y="615"/>
                  </a:cubicBezTo>
                  <a:cubicBezTo>
                    <a:pt x="90" y="620"/>
                    <a:pt x="101" y="622"/>
                    <a:pt x="115" y="623"/>
                  </a:cubicBezTo>
                  <a:lnTo>
                    <a:pt x="115" y="564"/>
                  </a:lnTo>
                  <a:lnTo>
                    <a:pt x="112" y="564"/>
                  </a:lnTo>
                  <a:cubicBezTo>
                    <a:pt x="98" y="565"/>
                    <a:pt x="88" y="567"/>
                    <a:pt x="82" y="572"/>
                  </a:cubicBezTo>
                  <a:cubicBezTo>
                    <a:pt x="76" y="576"/>
                    <a:pt x="73" y="583"/>
                    <a:pt x="73" y="592"/>
                  </a:cubicBezTo>
                  <a:close/>
                  <a:moveTo>
                    <a:pt x="75" y="416"/>
                  </a:moveTo>
                  <a:lnTo>
                    <a:pt x="75" y="457"/>
                  </a:lnTo>
                  <a:lnTo>
                    <a:pt x="204" y="457"/>
                  </a:lnTo>
                  <a:lnTo>
                    <a:pt x="204" y="481"/>
                  </a:lnTo>
                  <a:lnTo>
                    <a:pt x="75" y="481"/>
                  </a:lnTo>
                  <a:lnTo>
                    <a:pt x="75" y="521"/>
                  </a:lnTo>
                  <a:lnTo>
                    <a:pt x="54" y="521"/>
                  </a:lnTo>
                  <a:lnTo>
                    <a:pt x="54" y="416"/>
                  </a:lnTo>
                  <a:lnTo>
                    <a:pt x="75" y="416"/>
                  </a:lnTo>
                  <a:close/>
                  <a:moveTo>
                    <a:pt x="204" y="286"/>
                  </a:moveTo>
                  <a:lnTo>
                    <a:pt x="204" y="310"/>
                  </a:lnTo>
                  <a:lnTo>
                    <a:pt x="140" y="310"/>
                  </a:lnTo>
                  <a:lnTo>
                    <a:pt x="140" y="364"/>
                  </a:lnTo>
                  <a:lnTo>
                    <a:pt x="204" y="364"/>
                  </a:lnTo>
                  <a:lnTo>
                    <a:pt x="204" y="388"/>
                  </a:lnTo>
                  <a:lnTo>
                    <a:pt x="54" y="388"/>
                  </a:lnTo>
                  <a:lnTo>
                    <a:pt x="54" y="364"/>
                  </a:lnTo>
                  <a:lnTo>
                    <a:pt x="119" y="364"/>
                  </a:lnTo>
                  <a:lnTo>
                    <a:pt x="119" y="310"/>
                  </a:lnTo>
                  <a:lnTo>
                    <a:pt x="54" y="310"/>
                  </a:lnTo>
                  <a:lnTo>
                    <a:pt x="54" y="286"/>
                  </a:lnTo>
                  <a:lnTo>
                    <a:pt x="204" y="286"/>
                  </a:lnTo>
                  <a:close/>
                  <a:moveTo>
                    <a:pt x="54" y="166"/>
                  </a:moveTo>
                  <a:lnTo>
                    <a:pt x="54" y="142"/>
                  </a:lnTo>
                  <a:lnTo>
                    <a:pt x="204" y="142"/>
                  </a:lnTo>
                  <a:lnTo>
                    <a:pt x="204" y="166"/>
                  </a:lnTo>
                  <a:lnTo>
                    <a:pt x="95" y="166"/>
                  </a:lnTo>
                  <a:lnTo>
                    <a:pt x="204" y="220"/>
                  </a:lnTo>
                  <a:lnTo>
                    <a:pt x="204" y="244"/>
                  </a:lnTo>
                  <a:lnTo>
                    <a:pt x="54" y="244"/>
                  </a:lnTo>
                  <a:lnTo>
                    <a:pt x="54" y="220"/>
                  </a:lnTo>
                  <a:lnTo>
                    <a:pt x="163" y="220"/>
                  </a:lnTo>
                  <a:lnTo>
                    <a:pt x="54" y="166"/>
                  </a:lnTo>
                  <a:close/>
                  <a:moveTo>
                    <a:pt x="207" y="49"/>
                  </a:moveTo>
                  <a:cubicBezTo>
                    <a:pt x="207" y="68"/>
                    <a:pt x="201" y="82"/>
                    <a:pt x="190" y="92"/>
                  </a:cubicBezTo>
                  <a:cubicBezTo>
                    <a:pt x="179" y="102"/>
                    <a:pt x="163" y="107"/>
                    <a:pt x="141" y="107"/>
                  </a:cubicBezTo>
                  <a:lnTo>
                    <a:pt x="123" y="107"/>
                  </a:lnTo>
                  <a:cubicBezTo>
                    <a:pt x="101" y="107"/>
                    <a:pt x="83" y="102"/>
                    <a:pt x="71" y="93"/>
                  </a:cubicBezTo>
                  <a:cubicBezTo>
                    <a:pt x="58" y="83"/>
                    <a:pt x="52" y="69"/>
                    <a:pt x="52" y="52"/>
                  </a:cubicBezTo>
                  <a:cubicBezTo>
                    <a:pt x="52" y="35"/>
                    <a:pt x="57" y="21"/>
                    <a:pt x="68" y="13"/>
                  </a:cubicBezTo>
                  <a:cubicBezTo>
                    <a:pt x="79" y="4"/>
                    <a:pt x="97" y="0"/>
                    <a:pt x="120" y="0"/>
                  </a:cubicBezTo>
                  <a:lnTo>
                    <a:pt x="136" y="0"/>
                  </a:lnTo>
                  <a:lnTo>
                    <a:pt x="136" y="83"/>
                  </a:lnTo>
                  <a:lnTo>
                    <a:pt x="140" y="83"/>
                  </a:lnTo>
                  <a:cubicBezTo>
                    <a:pt x="156" y="83"/>
                    <a:pt x="168" y="80"/>
                    <a:pt x="175" y="74"/>
                  </a:cubicBezTo>
                  <a:cubicBezTo>
                    <a:pt x="182" y="68"/>
                    <a:pt x="186" y="59"/>
                    <a:pt x="186" y="48"/>
                  </a:cubicBezTo>
                  <a:cubicBezTo>
                    <a:pt x="186" y="41"/>
                    <a:pt x="184" y="34"/>
                    <a:pt x="182" y="29"/>
                  </a:cubicBezTo>
                  <a:cubicBezTo>
                    <a:pt x="179" y="23"/>
                    <a:pt x="175" y="18"/>
                    <a:pt x="169" y="13"/>
                  </a:cubicBezTo>
                  <a:lnTo>
                    <a:pt x="184" y="1"/>
                  </a:lnTo>
                  <a:cubicBezTo>
                    <a:pt x="199" y="11"/>
                    <a:pt x="207" y="28"/>
                    <a:pt x="207" y="49"/>
                  </a:cubicBezTo>
                  <a:close/>
                  <a:moveTo>
                    <a:pt x="73" y="52"/>
                  </a:moveTo>
                  <a:cubicBezTo>
                    <a:pt x="73" y="62"/>
                    <a:pt x="76" y="70"/>
                    <a:pt x="83" y="74"/>
                  </a:cubicBezTo>
                  <a:cubicBezTo>
                    <a:pt x="90" y="79"/>
                    <a:pt x="101" y="82"/>
                    <a:pt x="115" y="83"/>
                  </a:cubicBezTo>
                  <a:lnTo>
                    <a:pt x="115" y="24"/>
                  </a:lnTo>
                  <a:lnTo>
                    <a:pt x="112" y="24"/>
                  </a:lnTo>
                  <a:cubicBezTo>
                    <a:pt x="98" y="25"/>
                    <a:pt x="88" y="27"/>
                    <a:pt x="82" y="32"/>
                  </a:cubicBezTo>
                  <a:cubicBezTo>
                    <a:pt x="76" y="36"/>
                    <a:pt x="73" y="43"/>
                    <a:pt x="73" y="52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29" name="Freeform 1781"/>
            <p:cNvSpPr>
              <a:spLocks noEditPoints="1"/>
            </p:cNvSpPr>
            <p:nvPr/>
          </p:nvSpPr>
          <p:spPr bwMode="auto">
            <a:xfrm>
              <a:off x="5362634" y="3238642"/>
              <a:ext cx="111571" cy="816860"/>
            </a:xfrm>
            <a:custGeom>
              <a:avLst/>
              <a:gdLst/>
              <a:ahLst/>
              <a:cxnLst>
                <a:cxn ang="0">
                  <a:pos x="2" y="1790"/>
                </a:cxn>
                <a:cxn ang="0">
                  <a:pos x="108" y="1681"/>
                </a:cxn>
                <a:cxn ang="0">
                  <a:pos x="103" y="1726"/>
                </a:cxn>
                <a:cxn ang="0">
                  <a:pos x="24" y="1725"/>
                </a:cxn>
                <a:cxn ang="0">
                  <a:pos x="203" y="1632"/>
                </a:cxn>
                <a:cxn ang="0">
                  <a:pos x="152" y="1475"/>
                </a:cxn>
                <a:cxn ang="0">
                  <a:pos x="79" y="1561"/>
                </a:cxn>
                <a:cxn ang="0">
                  <a:pos x="7" y="1478"/>
                </a:cxn>
                <a:cxn ang="0">
                  <a:pos x="32" y="1483"/>
                </a:cxn>
                <a:cxn ang="0">
                  <a:pos x="75" y="1532"/>
                </a:cxn>
                <a:cxn ang="0">
                  <a:pos x="191" y="1465"/>
                </a:cxn>
                <a:cxn ang="0">
                  <a:pos x="145" y="1572"/>
                </a:cxn>
                <a:cxn ang="0">
                  <a:pos x="176" y="1483"/>
                </a:cxn>
                <a:cxn ang="0">
                  <a:pos x="203" y="1406"/>
                </a:cxn>
                <a:cxn ang="0">
                  <a:pos x="203" y="1280"/>
                </a:cxn>
                <a:cxn ang="0">
                  <a:pos x="129" y="1329"/>
                </a:cxn>
                <a:cxn ang="0">
                  <a:pos x="233" y="1271"/>
                </a:cxn>
                <a:cxn ang="0">
                  <a:pos x="193" y="1232"/>
                </a:cxn>
                <a:cxn ang="0">
                  <a:pos x="203" y="1090"/>
                </a:cxn>
                <a:cxn ang="0">
                  <a:pos x="1" y="1069"/>
                </a:cxn>
                <a:cxn ang="0">
                  <a:pos x="2" y="980"/>
                </a:cxn>
                <a:cxn ang="0">
                  <a:pos x="81" y="964"/>
                </a:cxn>
                <a:cxn ang="0">
                  <a:pos x="188" y="902"/>
                </a:cxn>
                <a:cxn ang="0">
                  <a:pos x="150" y="972"/>
                </a:cxn>
                <a:cxn ang="0">
                  <a:pos x="140" y="912"/>
                </a:cxn>
                <a:cxn ang="0">
                  <a:pos x="108" y="969"/>
                </a:cxn>
                <a:cxn ang="0">
                  <a:pos x="107" y="869"/>
                </a:cxn>
                <a:cxn ang="0">
                  <a:pos x="203" y="682"/>
                </a:cxn>
                <a:cxn ang="0">
                  <a:pos x="126" y="748"/>
                </a:cxn>
                <a:cxn ang="0">
                  <a:pos x="181" y="797"/>
                </a:cxn>
                <a:cxn ang="0">
                  <a:pos x="54" y="769"/>
                </a:cxn>
                <a:cxn ang="0">
                  <a:pos x="141" y="647"/>
                </a:cxn>
                <a:cxn ang="0">
                  <a:pos x="68" y="553"/>
                </a:cxn>
                <a:cxn ang="0">
                  <a:pos x="139" y="623"/>
                </a:cxn>
                <a:cxn ang="0">
                  <a:pos x="168" y="554"/>
                </a:cxn>
                <a:cxn ang="0">
                  <a:pos x="83" y="615"/>
                </a:cxn>
                <a:cxn ang="0">
                  <a:pos x="81" y="572"/>
                </a:cxn>
                <a:cxn ang="0">
                  <a:pos x="203" y="457"/>
                </a:cxn>
                <a:cxn ang="0">
                  <a:pos x="54" y="521"/>
                </a:cxn>
                <a:cxn ang="0">
                  <a:pos x="203" y="310"/>
                </a:cxn>
                <a:cxn ang="0">
                  <a:pos x="203" y="388"/>
                </a:cxn>
                <a:cxn ang="0">
                  <a:pos x="119" y="310"/>
                </a:cxn>
                <a:cxn ang="0">
                  <a:pos x="54" y="166"/>
                </a:cxn>
                <a:cxn ang="0">
                  <a:pos x="94" y="166"/>
                </a:cxn>
                <a:cxn ang="0">
                  <a:pos x="54" y="220"/>
                </a:cxn>
                <a:cxn ang="0">
                  <a:pos x="189" y="92"/>
                </a:cxn>
                <a:cxn ang="0">
                  <a:pos x="51" y="52"/>
                </a:cxn>
                <a:cxn ang="0">
                  <a:pos x="136" y="83"/>
                </a:cxn>
                <a:cxn ang="0">
                  <a:pos x="181" y="29"/>
                </a:cxn>
                <a:cxn ang="0">
                  <a:pos x="72" y="52"/>
                </a:cxn>
                <a:cxn ang="0">
                  <a:pos x="112" y="24"/>
                </a:cxn>
              </a:cxnLst>
              <a:rect l="0" t="0" r="r" b="b"/>
              <a:pathLst>
                <a:path w="243" h="1790">
                  <a:moveTo>
                    <a:pt x="125" y="1764"/>
                  </a:moveTo>
                  <a:lnTo>
                    <a:pt x="203" y="1764"/>
                  </a:lnTo>
                  <a:lnTo>
                    <a:pt x="203" y="1790"/>
                  </a:lnTo>
                  <a:lnTo>
                    <a:pt x="2" y="1790"/>
                  </a:lnTo>
                  <a:lnTo>
                    <a:pt x="2" y="1726"/>
                  </a:lnTo>
                  <a:cubicBezTo>
                    <a:pt x="2" y="1707"/>
                    <a:pt x="8" y="1692"/>
                    <a:pt x="19" y="1682"/>
                  </a:cubicBezTo>
                  <a:cubicBezTo>
                    <a:pt x="30" y="1671"/>
                    <a:pt x="45" y="1665"/>
                    <a:pt x="64" y="1665"/>
                  </a:cubicBezTo>
                  <a:cubicBezTo>
                    <a:pt x="83" y="1665"/>
                    <a:pt x="98" y="1671"/>
                    <a:pt x="108" y="1681"/>
                  </a:cubicBezTo>
                  <a:cubicBezTo>
                    <a:pt x="119" y="1691"/>
                    <a:pt x="124" y="1705"/>
                    <a:pt x="125" y="1724"/>
                  </a:cubicBezTo>
                  <a:lnTo>
                    <a:pt x="125" y="1764"/>
                  </a:lnTo>
                  <a:close/>
                  <a:moveTo>
                    <a:pt x="103" y="1764"/>
                  </a:moveTo>
                  <a:lnTo>
                    <a:pt x="103" y="1726"/>
                  </a:lnTo>
                  <a:cubicBezTo>
                    <a:pt x="103" y="1714"/>
                    <a:pt x="100" y="1706"/>
                    <a:pt x="93" y="1700"/>
                  </a:cubicBezTo>
                  <a:cubicBezTo>
                    <a:pt x="86" y="1694"/>
                    <a:pt x="76" y="1691"/>
                    <a:pt x="64" y="1691"/>
                  </a:cubicBezTo>
                  <a:cubicBezTo>
                    <a:pt x="52" y="1691"/>
                    <a:pt x="42" y="1694"/>
                    <a:pt x="35" y="1700"/>
                  </a:cubicBezTo>
                  <a:cubicBezTo>
                    <a:pt x="28" y="1706"/>
                    <a:pt x="24" y="1715"/>
                    <a:pt x="24" y="1725"/>
                  </a:cubicBezTo>
                  <a:lnTo>
                    <a:pt x="24" y="1764"/>
                  </a:lnTo>
                  <a:lnTo>
                    <a:pt x="103" y="1764"/>
                  </a:lnTo>
                  <a:close/>
                  <a:moveTo>
                    <a:pt x="203" y="1607"/>
                  </a:moveTo>
                  <a:lnTo>
                    <a:pt x="203" y="1632"/>
                  </a:lnTo>
                  <a:lnTo>
                    <a:pt x="2" y="1632"/>
                  </a:lnTo>
                  <a:lnTo>
                    <a:pt x="2" y="1607"/>
                  </a:lnTo>
                  <a:lnTo>
                    <a:pt x="203" y="1607"/>
                  </a:lnTo>
                  <a:close/>
                  <a:moveTo>
                    <a:pt x="152" y="1475"/>
                  </a:moveTo>
                  <a:cubicBezTo>
                    <a:pt x="142" y="1475"/>
                    <a:pt x="135" y="1477"/>
                    <a:pt x="129" y="1483"/>
                  </a:cubicBezTo>
                  <a:cubicBezTo>
                    <a:pt x="124" y="1488"/>
                    <a:pt x="119" y="1498"/>
                    <a:pt x="114" y="1512"/>
                  </a:cubicBezTo>
                  <a:cubicBezTo>
                    <a:pt x="109" y="1526"/>
                    <a:pt x="103" y="1537"/>
                    <a:pt x="98" y="1545"/>
                  </a:cubicBezTo>
                  <a:cubicBezTo>
                    <a:pt x="92" y="1552"/>
                    <a:pt x="86" y="1558"/>
                    <a:pt x="79" y="1561"/>
                  </a:cubicBezTo>
                  <a:cubicBezTo>
                    <a:pt x="72" y="1565"/>
                    <a:pt x="64" y="1567"/>
                    <a:pt x="54" y="1567"/>
                  </a:cubicBezTo>
                  <a:cubicBezTo>
                    <a:pt x="38" y="1567"/>
                    <a:pt x="25" y="1562"/>
                    <a:pt x="15" y="1551"/>
                  </a:cubicBezTo>
                  <a:cubicBezTo>
                    <a:pt x="5" y="1540"/>
                    <a:pt x="0" y="1526"/>
                    <a:pt x="0" y="1509"/>
                  </a:cubicBezTo>
                  <a:cubicBezTo>
                    <a:pt x="0" y="1497"/>
                    <a:pt x="2" y="1487"/>
                    <a:pt x="7" y="1478"/>
                  </a:cubicBezTo>
                  <a:cubicBezTo>
                    <a:pt x="13" y="1469"/>
                    <a:pt x="20" y="1462"/>
                    <a:pt x="30" y="1457"/>
                  </a:cubicBezTo>
                  <a:cubicBezTo>
                    <a:pt x="39" y="1452"/>
                    <a:pt x="49" y="1449"/>
                    <a:pt x="60" y="1449"/>
                  </a:cubicBezTo>
                  <a:lnTo>
                    <a:pt x="60" y="1475"/>
                  </a:lnTo>
                  <a:cubicBezTo>
                    <a:pt x="48" y="1475"/>
                    <a:pt x="38" y="1477"/>
                    <a:pt x="32" y="1483"/>
                  </a:cubicBezTo>
                  <a:cubicBezTo>
                    <a:pt x="25" y="1489"/>
                    <a:pt x="21" y="1498"/>
                    <a:pt x="21" y="1509"/>
                  </a:cubicBezTo>
                  <a:cubicBezTo>
                    <a:pt x="21" y="1519"/>
                    <a:pt x="24" y="1527"/>
                    <a:pt x="30" y="1533"/>
                  </a:cubicBezTo>
                  <a:cubicBezTo>
                    <a:pt x="36" y="1539"/>
                    <a:pt x="44" y="1541"/>
                    <a:pt x="54" y="1541"/>
                  </a:cubicBezTo>
                  <a:cubicBezTo>
                    <a:pt x="62" y="1541"/>
                    <a:pt x="69" y="1538"/>
                    <a:pt x="75" y="1532"/>
                  </a:cubicBezTo>
                  <a:cubicBezTo>
                    <a:pt x="81" y="1526"/>
                    <a:pt x="86" y="1517"/>
                    <a:pt x="91" y="1504"/>
                  </a:cubicBezTo>
                  <a:cubicBezTo>
                    <a:pt x="97" y="1484"/>
                    <a:pt x="105" y="1470"/>
                    <a:pt x="115" y="1462"/>
                  </a:cubicBezTo>
                  <a:cubicBezTo>
                    <a:pt x="124" y="1453"/>
                    <a:pt x="137" y="1449"/>
                    <a:pt x="152" y="1449"/>
                  </a:cubicBezTo>
                  <a:cubicBezTo>
                    <a:pt x="168" y="1449"/>
                    <a:pt x="182" y="1454"/>
                    <a:pt x="191" y="1465"/>
                  </a:cubicBezTo>
                  <a:cubicBezTo>
                    <a:pt x="201" y="1475"/>
                    <a:pt x="206" y="1490"/>
                    <a:pt x="206" y="1508"/>
                  </a:cubicBezTo>
                  <a:cubicBezTo>
                    <a:pt x="206" y="1520"/>
                    <a:pt x="204" y="1531"/>
                    <a:pt x="198" y="1540"/>
                  </a:cubicBezTo>
                  <a:cubicBezTo>
                    <a:pt x="193" y="1550"/>
                    <a:pt x="186" y="1558"/>
                    <a:pt x="177" y="1564"/>
                  </a:cubicBezTo>
                  <a:cubicBezTo>
                    <a:pt x="168" y="1569"/>
                    <a:pt x="157" y="1572"/>
                    <a:pt x="145" y="1572"/>
                  </a:cubicBezTo>
                  <a:lnTo>
                    <a:pt x="145" y="1547"/>
                  </a:lnTo>
                  <a:cubicBezTo>
                    <a:pt x="157" y="1547"/>
                    <a:pt x="167" y="1543"/>
                    <a:pt x="174" y="1536"/>
                  </a:cubicBezTo>
                  <a:cubicBezTo>
                    <a:pt x="181" y="1529"/>
                    <a:pt x="184" y="1520"/>
                    <a:pt x="184" y="1508"/>
                  </a:cubicBezTo>
                  <a:cubicBezTo>
                    <a:pt x="184" y="1497"/>
                    <a:pt x="182" y="1489"/>
                    <a:pt x="176" y="1483"/>
                  </a:cubicBezTo>
                  <a:cubicBezTo>
                    <a:pt x="170" y="1477"/>
                    <a:pt x="162" y="1475"/>
                    <a:pt x="152" y="1475"/>
                  </a:cubicBezTo>
                  <a:close/>
                  <a:moveTo>
                    <a:pt x="151" y="1322"/>
                  </a:moveTo>
                  <a:lnTo>
                    <a:pt x="151" y="1390"/>
                  </a:lnTo>
                  <a:lnTo>
                    <a:pt x="203" y="1406"/>
                  </a:lnTo>
                  <a:lnTo>
                    <a:pt x="203" y="1432"/>
                  </a:lnTo>
                  <a:lnTo>
                    <a:pt x="2" y="1367"/>
                  </a:lnTo>
                  <a:lnTo>
                    <a:pt x="2" y="1345"/>
                  </a:lnTo>
                  <a:lnTo>
                    <a:pt x="203" y="1280"/>
                  </a:lnTo>
                  <a:lnTo>
                    <a:pt x="203" y="1306"/>
                  </a:lnTo>
                  <a:lnTo>
                    <a:pt x="151" y="1322"/>
                  </a:lnTo>
                  <a:close/>
                  <a:moveTo>
                    <a:pt x="129" y="1383"/>
                  </a:moveTo>
                  <a:lnTo>
                    <a:pt x="129" y="1329"/>
                  </a:lnTo>
                  <a:lnTo>
                    <a:pt x="38" y="1356"/>
                  </a:lnTo>
                  <a:lnTo>
                    <a:pt x="129" y="1383"/>
                  </a:lnTo>
                  <a:close/>
                  <a:moveTo>
                    <a:pt x="243" y="1256"/>
                  </a:moveTo>
                  <a:lnTo>
                    <a:pt x="233" y="1271"/>
                  </a:lnTo>
                  <a:cubicBezTo>
                    <a:pt x="221" y="1262"/>
                    <a:pt x="209" y="1258"/>
                    <a:pt x="196" y="1257"/>
                  </a:cubicBezTo>
                  <a:lnTo>
                    <a:pt x="173" y="1257"/>
                  </a:lnTo>
                  <a:lnTo>
                    <a:pt x="173" y="1232"/>
                  </a:lnTo>
                  <a:lnTo>
                    <a:pt x="193" y="1232"/>
                  </a:lnTo>
                  <a:cubicBezTo>
                    <a:pt x="202" y="1232"/>
                    <a:pt x="212" y="1234"/>
                    <a:pt x="221" y="1239"/>
                  </a:cubicBezTo>
                  <a:cubicBezTo>
                    <a:pt x="230" y="1244"/>
                    <a:pt x="238" y="1249"/>
                    <a:pt x="243" y="1256"/>
                  </a:cubicBezTo>
                  <a:close/>
                  <a:moveTo>
                    <a:pt x="203" y="1066"/>
                  </a:moveTo>
                  <a:lnTo>
                    <a:pt x="203" y="1090"/>
                  </a:lnTo>
                  <a:lnTo>
                    <a:pt x="33" y="1090"/>
                  </a:lnTo>
                  <a:lnTo>
                    <a:pt x="52" y="1132"/>
                  </a:lnTo>
                  <a:lnTo>
                    <a:pt x="29" y="1132"/>
                  </a:lnTo>
                  <a:lnTo>
                    <a:pt x="1" y="1069"/>
                  </a:lnTo>
                  <a:lnTo>
                    <a:pt x="1" y="1066"/>
                  </a:lnTo>
                  <a:lnTo>
                    <a:pt x="203" y="1066"/>
                  </a:lnTo>
                  <a:close/>
                  <a:moveTo>
                    <a:pt x="102" y="989"/>
                  </a:moveTo>
                  <a:lnTo>
                    <a:pt x="2" y="980"/>
                  </a:lnTo>
                  <a:lnTo>
                    <a:pt x="2" y="893"/>
                  </a:lnTo>
                  <a:lnTo>
                    <a:pt x="26" y="893"/>
                  </a:lnTo>
                  <a:lnTo>
                    <a:pt x="26" y="960"/>
                  </a:lnTo>
                  <a:lnTo>
                    <a:pt x="81" y="964"/>
                  </a:lnTo>
                  <a:cubicBezTo>
                    <a:pt x="75" y="956"/>
                    <a:pt x="72" y="947"/>
                    <a:pt x="72" y="937"/>
                  </a:cubicBezTo>
                  <a:cubicBezTo>
                    <a:pt x="72" y="922"/>
                    <a:pt x="78" y="910"/>
                    <a:pt x="90" y="901"/>
                  </a:cubicBezTo>
                  <a:cubicBezTo>
                    <a:pt x="102" y="892"/>
                    <a:pt x="119" y="887"/>
                    <a:pt x="139" y="887"/>
                  </a:cubicBezTo>
                  <a:cubicBezTo>
                    <a:pt x="160" y="887"/>
                    <a:pt x="176" y="892"/>
                    <a:pt x="188" y="902"/>
                  </a:cubicBezTo>
                  <a:cubicBezTo>
                    <a:pt x="200" y="911"/>
                    <a:pt x="206" y="925"/>
                    <a:pt x="206" y="942"/>
                  </a:cubicBezTo>
                  <a:cubicBezTo>
                    <a:pt x="206" y="957"/>
                    <a:pt x="201" y="969"/>
                    <a:pt x="191" y="979"/>
                  </a:cubicBezTo>
                  <a:cubicBezTo>
                    <a:pt x="181" y="988"/>
                    <a:pt x="168" y="993"/>
                    <a:pt x="150" y="995"/>
                  </a:cubicBezTo>
                  <a:lnTo>
                    <a:pt x="150" y="972"/>
                  </a:lnTo>
                  <a:cubicBezTo>
                    <a:pt x="162" y="971"/>
                    <a:pt x="171" y="967"/>
                    <a:pt x="176" y="962"/>
                  </a:cubicBezTo>
                  <a:cubicBezTo>
                    <a:pt x="182" y="957"/>
                    <a:pt x="185" y="950"/>
                    <a:pt x="185" y="942"/>
                  </a:cubicBezTo>
                  <a:cubicBezTo>
                    <a:pt x="185" y="932"/>
                    <a:pt x="181" y="925"/>
                    <a:pt x="173" y="920"/>
                  </a:cubicBezTo>
                  <a:cubicBezTo>
                    <a:pt x="165" y="914"/>
                    <a:pt x="154" y="912"/>
                    <a:pt x="140" y="912"/>
                  </a:cubicBezTo>
                  <a:cubicBezTo>
                    <a:pt x="126" y="912"/>
                    <a:pt x="116" y="914"/>
                    <a:pt x="107" y="920"/>
                  </a:cubicBezTo>
                  <a:cubicBezTo>
                    <a:pt x="99" y="926"/>
                    <a:pt x="95" y="934"/>
                    <a:pt x="95" y="943"/>
                  </a:cubicBezTo>
                  <a:cubicBezTo>
                    <a:pt x="95" y="951"/>
                    <a:pt x="97" y="958"/>
                    <a:pt x="101" y="963"/>
                  </a:cubicBezTo>
                  <a:lnTo>
                    <a:pt x="108" y="969"/>
                  </a:lnTo>
                  <a:lnTo>
                    <a:pt x="102" y="989"/>
                  </a:lnTo>
                  <a:close/>
                  <a:moveTo>
                    <a:pt x="128" y="812"/>
                  </a:moveTo>
                  <a:lnTo>
                    <a:pt x="128" y="869"/>
                  </a:lnTo>
                  <a:lnTo>
                    <a:pt x="107" y="869"/>
                  </a:lnTo>
                  <a:lnTo>
                    <a:pt x="107" y="812"/>
                  </a:lnTo>
                  <a:lnTo>
                    <a:pt x="128" y="812"/>
                  </a:lnTo>
                  <a:close/>
                  <a:moveTo>
                    <a:pt x="54" y="682"/>
                  </a:moveTo>
                  <a:lnTo>
                    <a:pt x="203" y="682"/>
                  </a:lnTo>
                  <a:lnTo>
                    <a:pt x="203" y="706"/>
                  </a:lnTo>
                  <a:lnTo>
                    <a:pt x="75" y="706"/>
                  </a:lnTo>
                  <a:lnTo>
                    <a:pt x="75" y="745"/>
                  </a:lnTo>
                  <a:lnTo>
                    <a:pt x="126" y="748"/>
                  </a:lnTo>
                  <a:cubicBezTo>
                    <a:pt x="154" y="749"/>
                    <a:pt x="174" y="753"/>
                    <a:pt x="185" y="759"/>
                  </a:cubicBezTo>
                  <a:cubicBezTo>
                    <a:pt x="197" y="765"/>
                    <a:pt x="203" y="775"/>
                    <a:pt x="203" y="789"/>
                  </a:cubicBezTo>
                  <a:lnTo>
                    <a:pt x="203" y="797"/>
                  </a:lnTo>
                  <a:lnTo>
                    <a:pt x="181" y="797"/>
                  </a:lnTo>
                  <a:lnTo>
                    <a:pt x="180" y="791"/>
                  </a:lnTo>
                  <a:cubicBezTo>
                    <a:pt x="179" y="784"/>
                    <a:pt x="175" y="780"/>
                    <a:pt x="166" y="777"/>
                  </a:cubicBezTo>
                  <a:cubicBezTo>
                    <a:pt x="158" y="774"/>
                    <a:pt x="142" y="772"/>
                    <a:pt x="118" y="771"/>
                  </a:cubicBezTo>
                  <a:lnTo>
                    <a:pt x="54" y="769"/>
                  </a:lnTo>
                  <a:lnTo>
                    <a:pt x="54" y="682"/>
                  </a:lnTo>
                  <a:close/>
                  <a:moveTo>
                    <a:pt x="206" y="589"/>
                  </a:moveTo>
                  <a:cubicBezTo>
                    <a:pt x="206" y="608"/>
                    <a:pt x="200" y="622"/>
                    <a:pt x="189" y="632"/>
                  </a:cubicBezTo>
                  <a:cubicBezTo>
                    <a:pt x="178" y="642"/>
                    <a:pt x="162" y="647"/>
                    <a:pt x="141" y="647"/>
                  </a:cubicBezTo>
                  <a:lnTo>
                    <a:pt x="123" y="647"/>
                  </a:lnTo>
                  <a:cubicBezTo>
                    <a:pt x="100" y="647"/>
                    <a:pt x="83" y="643"/>
                    <a:pt x="70" y="633"/>
                  </a:cubicBezTo>
                  <a:cubicBezTo>
                    <a:pt x="57" y="623"/>
                    <a:pt x="51" y="610"/>
                    <a:pt x="51" y="592"/>
                  </a:cubicBezTo>
                  <a:cubicBezTo>
                    <a:pt x="51" y="575"/>
                    <a:pt x="57" y="562"/>
                    <a:pt x="68" y="553"/>
                  </a:cubicBezTo>
                  <a:cubicBezTo>
                    <a:pt x="79" y="544"/>
                    <a:pt x="96" y="540"/>
                    <a:pt x="120" y="540"/>
                  </a:cubicBezTo>
                  <a:lnTo>
                    <a:pt x="136" y="540"/>
                  </a:lnTo>
                  <a:lnTo>
                    <a:pt x="136" y="623"/>
                  </a:lnTo>
                  <a:lnTo>
                    <a:pt x="139" y="623"/>
                  </a:lnTo>
                  <a:cubicBezTo>
                    <a:pt x="155" y="623"/>
                    <a:pt x="167" y="620"/>
                    <a:pt x="174" y="614"/>
                  </a:cubicBezTo>
                  <a:cubicBezTo>
                    <a:pt x="182" y="608"/>
                    <a:pt x="185" y="599"/>
                    <a:pt x="185" y="588"/>
                  </a:cubicBezTo>
                  <a:cubicBezTo>
                    <a:pt x="185" y="581"/>
                    <a:pt x="184" y="575"/>
                    <a:pt x="181" y="569"/>
                  </a:cubicBezTo>
                  <a:cubicBezTo>
                    <a:pt x="178" y="564"/>
                    <a:pt x="174" y="559"/>
                    <a:pt x="168" y="554"/>
                  </a:cubicBezTo>
                  <a:lnTo>
                    <a:pt x="184" y="541"/>
                  </a:lnTo>
                  <a:cubicBezTo>
                    <a:pt x="199" y="552"/>
                    <a:pt x="206" y="568"/>
                    <a:pt x="206" y="589"/>
                  </a:cubicBezTo>
                  <a:close/>
                  <a:moveTo>
                    <a:pt x="72" y="592"/>
                  </a:moveTo>
                  <a:cubicBezTo>
                    <a:pt x="72" y="602"/>
                    <a:pt x="76" y="610"/>
                    <a:pt x="83" y="615"/>
                  </a:cubicBezTo>
                  <a:cubicBezTo>
                    <a:pt x="89" y="620"/>
                    <a:pt x="100" y="622"/>
                    <a:pt x="115" y="623"/>
                  </a:cubicBezTo>
                  <a:lnTo>
                    <a:pt x="115" y="564"/>
                  </a:lnTo>
                  <a:lnTo>
                    <a:pt x="112" y="564"/>
                  </a:lnTo>
                  <a:cubicBezTo>
                    <a:pt x="97" y="565"/>
                    <a:pt x="87" y="567"/>
                    <a:pt x="81" y="572"/>
                  </a:cubicBezTo>
                  <a:cubicBezTo>
                    <a:pt x="75" y="576"/>
                    <a:pt x="72" y="583"/>
                    <a:pt x="72" y="592"/>
                  </a:cubicBezTo>
                  <a:close/>
                  <a:moveTo>
                    <a:pt x="75" y="416"/>
                  </a:moveTo>
                  <a:lnTo>
                    <a:pt x="75" y="457"/>
                  </a:lnTo>
                  <a:lnTo>
                    <a:pt x="203" y="457"/>
                  </a:lnTo>
                  <a:lnTo>
                    <a:pt x="203" y="481"/>
                  </a:lnTo>
                  <a:lnTo>
                    <a:pt x="75" y="481"/>
                  </a:lnTo>
                  <a:lnTo>
                    <a:pt x="75" y="521"/>
                  </a:lnTo>
                  <a:lnTo>
                    <a:pt x="54" y="521"/>
                  </a:lnTo>
                  <a:lnTo>
                    <a:pt x="54" y="416"/>
                  </a:lnTo>
                  <a:lnTo>
                    <a:pt x="75" y="416"/>
                  </a:lnTo>
                  <a:close/>
                  <a:moveTo>
                    <a:pt x="203" y="286"/>
                  </a:moveTo>
                  <a:lnTo>
                    <a:pt x="203" y="310"/>
                  </a:lnTo>
                  <a:lnTo>
                    <a:pt x="139" y="310"/>
                  </a:lnTo>
                  <a:lnTo>
                    <a:pt x="139" y="364"/>
                  </a:lnTo>
                  <a:lnTo>
                    <a:pt x="203" y="364"/>
                  </a:lnTo>
                  <a:lnTo>
                    <a:pt x="203" y="388"/>
                  </a:lnTo>
                  <a:lnTo>
                    <a:pt x="54" y="388"/>
                  </a:lnTo>
                  <a:lnTo>
                    <a:pt x="54" y="364"/>
                  </a:lnTo>
                  <a:lnTo>
                    <a:pt x="119" y="364"/>
                  </a:lnTo>
                  <a:lnTo>
                    <a:pt x="119" y="310"/>
                  </a:lnTo>
                  <a:lnTo>
                    <a:pt x="54" y="310"/>
                  </a:lnTo>
                  <a:lnTo>
                    <a:pt x="54" y="286"/>
                  </a:lnTo>
                  <a:lnTo>
                    <a:pt x="203" y="286"/>
                  </a:lnTo>
                  <a:close/>
                  <a:moveTo>
                    <a:pt x="54" y="166"/>
                  </a:moveTo>
                  <a:lnTo>
                    <a:pt x="54" y="142"/>
                  </a:lnTo>
                  <a:lnTo>
                    <a:pt x="203" y="142"/>
                  </a:lnTo>
                  <a:lnTo>
                    <a:pt x="203" y="166"/>
                  </a:lnTo>
                  <a:lnTo>
                    <a:pt x="94" y="166"/>
                  </a:lnTo>
                  <a:lnTo>
                    <a:pt x="203" y="220"/>
                  </a:lnTo>
                  <a:lnTo>
                    <a:pt x="203" y="244"/>
                  </a:lnTo>
                  <a:lnTo>
                    <a:pt x="54" y="244"/>
                  </a:lnTo>
                  <a:lnTo>
                    <a:pt x="54" y="220"/>
                  </a:lnTo>
                  <a:lnTo>
                    <a:pt x="163" y="220"/>
                  </a:lnTo>
                  <a:lnTo>
                    <a:pt x="54" y="166"/>
                  </a:lnTo>
                  <a:close/>
                  <a:moveTo>
                    <a:pt x="206" y="49"/>
                  </a:moveTo>
                  <a:cubicBezTo>
                    <a:pt x="206" y="68"/>
                    <a:pt x="200" y="82"/>
                    <a:pt x="189" y="92"/>
                  </a:cubicBezTo>
                  <a:cubicBezTo>
                    <a:pt x="178" y="102"/>
                    <a:pt x="162" y="107"/>
                    <a:pt x="141" y="107"/>
                  </a:cubicBezTo>
                  <a:lnTo>
                    <a:pt x="123" y="107"/>
                  </a:lnTo>
                  <a:cubicBezTo>
                    <a:pt x="100" y="107"/>
                    <a:pt x="83" y="102"/>
                    <a:pt x="70" y="93"/>
                  </a:cubicBezTo>
                  <a:cubicBezTo>
                    <a:pt x="57" y="83"/>
                    <a:pt x="51" y="69"/>
                    <a:pt x="51" y="52"/>
                  </a:cubicBezTo>
                  <a:cubicBezTo>
                    <a:pt x="51" y="35"/>
                    <a:pt x="57" y="21"/>
                    <a:pt x="68" y="13"/>
                  </a:cubicBezTo>
                  <a:cubicBezTo>
                    <a:pt x="79" y="4"/>
                    <a:pt x="96" y="0"/>
                    <a:pt x="120" y="0"/>
                  </a:cubicBezTo>
                  <a:lnTo>
                    <a:pt x="136" y="0"/>
                  </a:lnTo>
                  <a:lnTo>
                    <a:pt x="136" y="83"/>
                  </a:lnTo>
                  <a:lnTo>
                    <a:pt x="139" y="83"/>
                  </a:lnTo>
                  <a:cubicBezTo>
                    <a:pt x="155" y="83"/>
                    <a:pt x="167" y="80"/>
                    <a:pt x="174" y="74"/>
                  </a:cubicBezTo>
                  <a:cubicBezTo>
                    <a:pt x="182" y="68"/>
                    <a:pt x="185" y="59"/>
                    <a:pt x="185" y="48"/>
                  </a:cubicBezTo>
                  <a:cubicBezTo>
                    <a:pt x="185" y="41"/>
                    <a:pt x="184" y="34"/>
                    <a:pt x="181" y="29"/>
                  </a:cubicBezTo>
                  <a:cubicBezTo>
                    <a:pt x="178" y="23"/>
                    <a:pt x="174" y="18"/>
                    <a:pt x="168" y="13"/>
                  </a:cubicBezTo>
                  <a:lnTo>
                    <a:pt x="184" y="1"/>
                  </a:lnTo>
                  <a:cubicBezTo>
                    <a:pt x="199" y="11"/>
                    <a:pt x="206" y="28"/>
                    <a:pt x="206" y="49"/>
                  </a:cubicBezTo>
                  <a:close/>
                  <a:moveTo>
                    <a:pt x="72" y="52"/>
                  </a:moveTo>
                  <a:cubicBezTo>
                    <a:pt x="72" y="62"/>
                    <a:pt x="76" y="70"/>
                    <a:pt x="83" y="74"/>
                  </a:cubicBezTo>
                  <a:cubicBezTo>
                    <a:pt x="89" y="79"/>
                    <a:pt x="100" y="82"/>
                    <a:pt x="115" y="83"/>
                  </a:cubicBezTo>
                  <a:lnTo>
                    <a:pt x="115" y="24"/>
                  </a:lnTo>
                  <a:lnTo>
                    <a:pt x="112" y="24"/>
                  </a:lnTo>
                  <a:cubicBezTo>
                    <a:pt x="97" y="25"/>
                    <a:pt x="87" y="27"/>
                    <a:pt x="81" y="32"/>
                  </a:cubicBezTo>
                  <a:cubicBezTo>
                    <a:pt x="75" y="36"/>
                    <a:pt x="72" y="43"/>
                    <a:pt x="72" y="52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0" name="Freeform 1782"/>
            <p:cNvSpPr>
              <a:spLocks noEditPoints="1"/>
            </p:cNvSpPr>
            <p:nvPr/>
          </p:nvSpPr>
          <p:spPr bwMode="auto">
            <a:xfrm>
              <a:off x="7538272" y="3238642"/>
              <a:ext cx="111571" cy="816860"/>
            </a:xfrm>
            <a:custGeom>
              <a:avLst/>
              <a:gdLst/>
              <a:ahLst/>
              <a:cxnLst>
                <a:cxn ang="0">
                  <a:pos x="3" y="1790"/>
                </a:cxn>
                <a:cxn ang="0">
                  <a:pos x="109" y="1681"/>
                </a:cxn>
                <a:cxn ang="0">
                  <a:pos x="103" y="1726"/>
                </a:cxn>
                <a:cxn ang="0">
                  <a:pos x="25" y="1725"/>
                </a:cxn>
                <a:cxn ang="0">
                  <a:pos x="204" y="1632"/>
                </a:cxn>
                <a:cxn ang="0">
                  <a:pos x="153" y="1475"/>
                </a:cxn>
                <a:cxn ang="0">
                  <a:pos x="79" y="1561"/>
                </a:cxn>
                <a:cxn ang="0">
                  <a:pos x="8" y="1478"/>
                </a:cxn>
                <a:cxn ang="0">
                  <a:pos x="32" y="1483"/>
                </a:cxn>
                <a:cxn ang="0">
                  <a:pos x="76" y="1532"/>
                </a:cxn>
                <a:cxn ang="0">
                  <a:pos x="192" y="1465"/>
                </a:cxn>
                <a:cxn ang="0">
                  <a:pos x="146" y="1572"/>
                </a:cxn>
                <a:cxn ang="0">
                  <a:pos x="176" y="1483"/>
                </a:cxn>
                <a:cxn ang="0">
                  <a:pos x="204" y="1406"/>
                </a:cxn>
                <a:cxn ang="0">
                  <a:pos x="204" y="1280"/>
                </a:cxn>
                <a:cxn ang="0">
                  <a:pos x="130" y="1329"/>
                </a:cxn>
                <a:cxn ang="0">
                  <a:pos x="234" y="1271"/>
                </a:cxn>
                <a:cxn ang="0">
                  <a:pos x="194" y="1232"/>
                </a:cxn>
                <a:cxn ang="0">
                  <a:pos x="204" y="1090"/>
                </a:cxn>
                <a:cxn ang="0">
                  <a:pos x="2" y="1069"/>
                </a:cxn>
                <a:cxn ang="0">
                  <a:pos x="3" y="980"/>
                </a:cxn>
                <a:cxn ang="0">
                  <a:pos x="81" y="964"/>
                </a:cxn>
                <a:cxn ang="0">
                  <a:pos x="189" y="902"/>
                </a:cxn>
                <a:cxn ang="0">
                  <a:pos x="151" y="972"/>
                </a:cxn>
                <a:cxn ang="0">
                  <a:pos x="140" y="912"/>
                </a:cxn>
                <a:cxn ang="0">
                  <a:pos x="108" y="969"/>
                </a:cxn>
                <a:cxn ang="0">
                  <a:pos x="108" y="869"/>
                </a:cxn>
                <a:cxn ang="0">
                  <a:pos x="204" y="682"/>
                </a:cxn>
                <a:cxn ang="0">
                  <a:pos x="126" y="748"/>
                </a:cxn>
                <a:cxn ang="0">
                  <a:pos x="181" y="797"/>
                </a:cxn>
                <a:cxn ang="0">
                  <a:pos x="54" y="769"/>
                </a:cxn>
                <a:cxn ang="0">
                  <a:pos x="141" y="647"/>
                </a:cxn>
                <a:cxn ang="0">
                  <a:pos x="68" y="553"/>
                </a:cxn>
                <a:cxn ang="0">
                  <a:pos x="140" y="623"/>
                </a:cxn>
                <a:cxn ang="0">
                  <a:pos x="169" y="554"/>
                </a:cxn>
                <a:cxn ang="0">
                  <a:pos x="83" y="615"/>
                </a:cxn>
                <a:cxn ang="0">
                  <a:pos x="82" y="572"/>
                </a:cxn>
                <a:cxn ang="0">
                  <a:pos x="204" y="457"/>
                </a:cxn>
                <a:cxn ang="0">
                  <a:pos x="54" y="521"/>
                </a:cxn>
                <a:cxn ang="0">
                  <a:pos x="204" y="310"/>
                </a:cxn>
                <a:cxn ang="0">
                  <a:pos x="204" y="388"/>
                </a:cxn>
                <a:cxn ang="0">
                  <a:pos x="119" y="310"/>
                </a:cxn>
                <a:cxn ang="0">
                  <a:pos x="54" y="166"/>
                </a:cxn>
                <a:cxn ang="0">
                  <a:pos x="95" y="166"/>
                </a:cxn>
                <a:cxn ang="0">
                  <a:pos x="54" y="220"/>
                </a:cxn>
                <a:cxn ang="0">
                  <a:pos x="190" y="92"/>
                </a:cxn>
                <a:cxn ang="0">
                  <a:pos x="52" y="52"/>
                </a:cxn>
                <a:cxn ang="0">
                  <a:pos x="136" y="83"/>
                </a:cxn>
                <a:cxn ang="0">
                  <a:pos x="182" y="29"/>
                </a:cxn>
                <a:cxn ang="0">
                  <a:pos x="73" y="52"/>
                </a:cxn>
                <a:cxn ang="0">
                  <a:pos x="112" y="24"/>
                </a:cxn>
              </a:cxnLst>
              <a:rect l="0" t="0" r="r" b="b"/>
              <a:pathLst>
                <a:path w="244" h="1790">
                  <a:moveTo>
                    <a:pt x="125" y="1764"/>
                  </a:moveTo>
                  <a:lnTo>
                    <a:pt x="204" y="1764"/>
                  </a:lnTo>
                  <a:lnTo>
                    <a:pt x="204" y="1790"/>
                  </a:lnTo>
                  <a:lnTo>
                    <a:pt x="3" y="1790"/>
                  </a:lnTo>
                  <a:lnTo>
                    <a:pt x="3" y="1726"/>
                  </a:lnTo>
                  <a:cubicBezTo>
                    <a:pt x="3" y="1707"/>
                    <a:pt x="8" y="1692"/>
                    <a:pt x="20" y="1682"/>
                  </a:cubicBezTo>
                  <a:cubicBezTo>
                    <a:pt x="31" y="1671"/>
                    <a:pt x="46" y="1665"/>
                    <a:pt x="64" y="1665"/>
                  </a:cubicBezTo>
                  <a:cubicBezTo>
                    <a:pt x="84" y="1665"/>
                    <a:pt x="98" y="1671"/>
                    <a:pt x="109" y="1681"/>
                  </a:cubicBezTo>
                  <a:cubicBezTo>
                    <a:pt x="119" y="1691"/>
                    <a:pt x="125" y="1705"/>
                    <a:pt x="125" y="1724"/>
                  </a:cubicBezTo>
                  <a:lnTo>
                    <a:pt x="125" y="1764"/>
                  </a:lnTo>
                  <a:close/>
                  <a:moveTo>
                    <a:pt x="103" y="1764"/>
                  </a:moveTo>
                  <a:lnTo>
                    <a:pt x="103" y="1726"/>
                  </a:lnTo>
                  <a:cubicBezTo>
                    <a:pt x="103" y="1714"/>
                    <a:pt x="100" y="1706"/>
                    <a:pt x="93" y="1700"/>
                  </a:cubicBezTo>
                  <a:cubicBezTo>
                    <a:pt x="87" y="1694"/>
                    <a:pt x="77" y="1691"/>
                    <a:pt x="65" y="1691"/>
                  </a:cubicBezTo>
                  <a:cubicBezTo>
                    <a:pt x="52" y="1691"/>
                    <a:pt x="43" y="1694"/>
                    <a:pt x="36" y="1700"/>
                  </a:cubicBezTo>
                  <a:cubicBezTo>
                    <a:pt x="28" y="1706"/>
                    <a:pt x="25" y="1715"/>
                    <a:pt x="25" y="1725"/>
                  </a:cubicBezTo>
                  <a:lnTo>
                    <a:pt x="25" y="1764"/>
                  </a:lnTo>
                  <a:lnTo>
                    <a:pt x="103" y="1764"/>
                  </a:lnTo>
                  <a:close/>
                  <a:moveTo>
                    <a:pt x="204" y="1607"/>
                  </a:moveTo>
                  <a:lnTo>
                    <a:pt x="204" y="1632"/>
                  </a:lnTo>
                  <a:lnTo>
                    <a:pt x="3" y="1632"/>
                  </a:lnTo>
                  <a:lnTo>
                    <a:pt x="3" y="1607"/>
                  </a:lnTo>
                  <a:lnTo>
                    <a:pt x="204" y="1607"/>
                  </a:lnTo>
                  <a:close/>
                  <a:moveTo>
                    <a:pt x="153" y="1475"/>
                  </a:moveTo>
                  <a:cubicBezTo>
                    <a:pt x="143" y="1475"/>
                    <a:pt x="135" y="1477"/>
                    <a:pt x="130" y="1483"/>
                  </a:cubicBezTo>
                  <a:cubicBezTo>
                    <a:pt x="125" y="1488"/>
                    <a:pt x="119" y="1498"/>
                    <a:pt x="114" y="1512"/>
                  </a:cubicBezTo>
                  <a:cubicBezTo>
                    <a:pt x="109" y="1526"/>
                    <a:pt x="104" y="1537"/>
                    <a:pt x="98" y="1545"/>
                  </a:cubicBezTo>
                  <a:cubicBezTo>
                    <a:pt x="93" y="1552"/>
                    <a:pt x="87" y="1558"/>
                    <a:pt x="79" y="1561"/>
                  </a:cubicBezTo>
                  <a:cubicBezTo>
                    <a:pt x="72" y="1565"/>
                    <a:pt x="64" y="1567"/>
                    <a:pt x="55" y="1567"/>
                  </a:cubicBezTo>
                  <a:cubicBezTo>
                    <a:pt x="39" y="1567"/>
                    <a:pt x="26" y="1562"/>
                    <a:pt x="16" y="1551"/>
                  </a:cubicBezTo>
                  <a:cubicBezTo>
                    <a:pt x="5" y="1540"/>
                    <a:pt x="0" y="1526"/>
                    <a:pt x="0" y="1509"/>
                  </a:cubicBezTo>
                  <a:cubicBezTo>
                    <a:pt x="0" y="1497"/>
                    <a:pt x="3" y="1487"/>
                    <a:pt x="8" y="1478"/>
                  </a:cubicBezTo>
                  <a:cubicBezTo>
                    <a:pt x="13" y="1469"/>
                    <a:pt x="21" y="1462"/>
                    <a:pt x="30" y="1457"/>
                  </a:cubicBezTo>
                  <a:cubicBezTo>
                    <a:pt x="39" y="1452"/>
                    <a:pt x="50" y="1449"/>
                    <a:pt x="61" y="1449"/>
                  </a:cubicBezTo>
                  <a:lnTo>
                    <a:pt x="61" y="1475"/>
                  </a:lnTo>
                  <a:cubicBezTo>
                    <a:pt x="49" y="1475"/>
                    <a:pt x="39" y="1477"/>
                    <a:pt x="32" y="1483"/>
                  </a:cubicBezTo>
                  <a:cubicBezTo>
                    <a:pt x="25" y="1489"/>
                    <a:pt x="22" y="1498"/>
                    <a:pt x="22" y="1509"/>
                  </a:cubicBezTo>
                  <a:cubicBezTo>
                    <a:pt x="22" y="1519"/>
                    <a:pt x="25" y="1527"/>
                    <a:pt x="30" y="1533"/>
                  </a:cubicBezTo>
                  <a:cubicBezTo>
                    <a:pt x="36" y="1539"/>
                    <a:pt x="44" y="1541"/>
                    <a:pt x="54" y="1541"/>
                  </a:cubicBezTo>
                  <a:cubicBezTo>
                    <a:pt x="63" y="1541"/>
                    <a:pt x="70" y="1538"/>
                    <a:pt x="76" y="1532"/>
                  </a:cubicBezTo>
                  <a:cubicBezTo>
                    <a:pt x="81" y="1526"/>
                    <a:pt x="87" y="1517"/>
                    <a:pt x="91" y="1504"/>
                  </a:cubicBezTo>
                  <a:cubicBezTo>
                    <a:pt x="98" y="1484"/>
                    <a:pt x="106" y="1470"/>
                    <a:pt x="115" y="1462"/>
                  </a:cubicBezTo>
                  <a:cubicBezTo>
                    <a:pt x="125" y="1453"/>
                    <a:pt x="137" y="1449"/>
                    <a:pt x="153" y="1449"/>
                  </a:cubicBezTo>
                  <a:cubicBezTo>
                    <a:pt x="169" y="1449"/>
                    <a:pt x="182" y="1454"/>
                    <a:pt x="192" y="1465"/>
                  </a:cubicBezTo>
                  <a:cubicBezTo>
                    <a:pt x="202" y="1475"/>
                    <a:pt x="207" y="1490"/>
                    <a:pt x="207" y="1508"/>
                  </a:cubicBezTo>
                  <a:cubicBezTo>
                    <a:pt x="207" y="1520"/>
                    <a:pt x="204" y="1531"/>
                    <a:pt x="199" y="1540"/>
                  </a:cubicBezTo>
                  <a:cubicBezTo>
                    <a:pt x="194" y="1550"/>
                    <a:pt x="187" y="1558"/>
                    <a:pt x="177" y="1564"/>
                  </a:cubicBezTo>
                  <a:cubicBezTo>
                    <a:pt x="168" y="1569"/>
                    <a:pt x="158" y="1572"/>
                    <a:pt x="146" y="1572"/>
                  </a:cubicBezTo>
                  <a:lnTo>
                    <a:pt x="146" y="1547"/>
                  </a:lnTo>
                  <a:cubicBezTo>
                    <a:pt x="158" y="1547"/>
                    <a:pt x="168" y="1543"/>
                    <a:pt x="175" y="1536"/>
                  </a:cubicBezTo>
                  <a:cubicBezTo>
                    <a:pt x="181" y="1529"/>
                    <a:pt x="185" y="1520"/>
                    <a:pt x="185" y="1508"/>
                  </a:cubicBezTo>
                  <a:cubicBezTo>
                    <a:pt x="185" y="1497"/>
                    <a:pt x="182" y="1489"/>
                    <a:pt x="176" y="1483"/>
                  </a:cubicBezTo>
                  <a:cubicBezTo>
                    <a:pt x="171" y="1477"/>
                    <a:pt x="163" y="1475"/>
                    <a:pt x="153" y="1475"/>
                  </a:cubicBezTo>
                  <a:close/>
                  <a:moveTo>
                    <a:pt x="151" y="1322"/>
                  </a:moveTo>
                  <a:lnTo>
                    <a:pt x="151" y="1390"/>
                  </a:lnTo>
                  <a:lnTo>
                    <a:pt x="204" y="1406"/>
                  </a:lnTo>
                  <a:lnTo>
                    <a:pt x="204" y="1432"/>
                  </a:lnTo>
                  <a:lnTo>
                    <a:pt x="3" y="1367"/>
                  </a:lnTo>
                  <a:lnTo>
                    <a:pt x="3" y="1345"/>
                  </a:lnTo>
                  <a:lnTo>
                    <a:pt x="204" y="1280"/>
                  </a:lnTo>
                  <a:lnTo>
                    <a:pt x="204" y="1306"/>
                  </a:lnTo>
                  <a:lnTo>
                    <a:pt x="151" y="1322"/>
                  </a:lnTo>
                  <a:close/>
                  <a:moveTo>
                    <a:pt x="130" y="1383"/>
                  </a:moveTo>
                  <a:lnTo>
                    <a:pt x="130" y="1329"/>
                  </a:lnTo>
                  <a:lnTo>
                    <a:pt x="38" y="1356"/>
                  </a:lnTo>
                  <a:lnTo>
                    <a:pt x="130" y="1383"/>
                  </a:lnTo>
                  <a:close/>
                  <a:moveTo>
                    <a:pt x="244" y="1256"/>
                  </a:moveTo>
                  <a:lnTo>
                    <a:pt x="234" y="1271"/>
                  </a:lnTo>
                  <a:cubicBezTo>
                    <a:pt x="222" y="1262"/>
                    <a:pt x="209" y="1258"/>
                    <a:pt x="197" y="1257"/>
                  </a:cubicBezTo>
                  <a:lnTo>
                    <a:pt x="174" y="1257"/>
                  </a:lnTo>
                  <a:lnTo>
                    <a:pt x="174" y="1232"/>
                  </a:lnTo>
                  <a:lnTo>
                    <a:pt x="194" y="1232"/>
                  </a:lnTo>
                  <a:cubicBezTo>
                    <a:pt x="203" y="1232"/>
                    <a:pt x="212" y="1234"/>
                    <a:pt x="221" y="1239"/>
                  </a:cubicBezTo>
                  <a:cubicBezTo>
                    <a:pt x="231" y="1244"/>
                    <a:pt x="238" y="1249"/>
                    <a:pt x="244" y="1256"/>
                  </a:cubicBezTo>
                  <a:close/>
                  <a:moveTo>
                    <a:pt x="204" y="1066"/>
                  </a:moveTo>
                  <a:lnTo>
                    <a:pt x="204" y="1090"/>
                  </a:lnTo>
                  <a:lnTo>
                    <a:pt x="34" y="1090"/>
                  </a:lnTo>
                  <a:lnTo>
                    <a:pt x="53" y="1132"/>
                  </a:lnTo>
                  <a:lnTo>
                    <a:pt x="29" y="1132"/>
                  </a:lnTo>
                  <a:lnTo>
                    <a:pt x="2" y="1069"/>
                  </a:lnTo>
                  <a:lnTo>
                    <a:pt x="2" y="1066"/>
                  </a:lnTo>
                  <a:lnTo>
                    <a:pt x="204" y="1066"/>
                  </a:lnTo>
                  <a:close/>
                  <a:moveTo>
                    <a:pt x="103" y="989"/>
                  </a:moveTo>
                  <a:lnTo>
                    <a:pt x="3" y="980"/>
                  </a:lnTo>
                  <a:lnTo>
                    <a:pt x="3" y="893"/>
                  </a:lnTo>
                  <a:lnTo>
                    <a:pt x="26" y="893"/>
                  </a:lnTo>
                  <a:lnTo>
                    <a:pt x="26" y="960"/>
                  </a:lnTo>
                  <a:lnTo>
                    <a:pt x="81" y="964"/>
                  </a:lnTo>
                  <a:cubicBezTo>
                    <a:pt x="75" y="956"/>
                    <a:pt x="73" y="947"/>
                    <a:pt x="73" y="937"/>
                  </a:cubicBezTo>
                  <a:cubicBezTo>
                    <a:pt x="73" y="922"/>
                    <a:pt x="79" y="910"/>
                    <a:pt x="91" y="901"/>
                  </a:cubicBezTo>
                  <a:cubicBezTo>
                    <a:pt x="103" y="892"/>
                    <a:pt x="119" y="887"/>
                    <a:pt x="140" y="887"/>
                  </a:cubicBezTo>
                  <a:cubicBezTo>
                    <a:pt x="161" y="887"/>
                    <a:pt x="177" y="892"/>
                    <a:pt x="189" y="902"/>
                  </a:cubicBezTo>
                  <a:cubicBezTo>
                    <a:pt x="201" y="911"/>
                    <a:pt x="207" y="925"/>
                    <a:pt x="207" y="942"/>
                  </a:cubicBezTo>
                  <a:cubicBezTo>
                    <a:pt x="207" y="957"/>
                    <a:pt x="202" y="969"/>
                    <a:pt x="192" y="979"/>
                  </a:cubicBezTo>
                  <a:cubicBezTo>
                    <a:pt x="182" y="988"/>
                    <a:pt x="168" y="993"/>
                    <a:pt x="151" y="995"/>
                  </a:cubicBezTo>
                  <a:lnTo>
                    <a:pt x="151" y="972"/>
                  </a:lnTo>
                  <a:cubicBezTo>
                    <a:pt x="162" y="971"/>
                    <a:pt x="171" y="967"/>
                    <a:pt x="177" y="962"/>
                  </a:cubicBezTo>
                  <a:cubicBezTo>
                    <a:pt x="183" y="957"/>
                    <a:pt x="186" y="950"/>
                    <a:pt x="186" y="942"/>
                  </a:cubicBezTo>
                  <a:cubicBezTo>
                    <a:pt x="186" y="932"/>
                    <a:pt x="182" y="925"/>
                    <a:pt x="173" y="920"/>
                  </a:cubicBezTo>
                  <a:cubicBezTo>
                    <a:pt x="165" y="914"/>
                    <a:pt x="154" y="912"/>
                    <a:pt x="140" y="912"/>
                  </a:cubicBezTo>
                  <a:cubicBezTo>
                    <a:pt x="127" y="912"/>
                    <a:pt x="116" y="914"/>
                    <a:pt x="108" y="920"/>
                  </a:cubicBezTo>
                  <a:cubicBezTo>
                    <a:pt x="100" y="926"/>
                    <a:pt x="95" y="934"/>
                    <a:pt x="95" y="943"/>
                  </a:cubicBezTo>
                  <a:cubicBezTo>
                    <a:pt x="95" y="951"/>
                    <a:pt x="98" y="958"/>
                    <a:pt x="102" y="963"/>
                  </a:cubicBezTo>
                  <a:lnTo>
                    <a:pt x="108" y="969"/>
                  </a:lnTo>
                  <a:lnTo>
                    <a:pt x="103" y="989"/>
                  </a:lnTo>
                  <a:close/>
                  <a:moveTo>
                    <a:pt x="129" y="812"/>
                  </a:moveTo>
                  <a:lnTo>
                    <a:pt x="129" y="869"/>
                  </a:lnTo>
                  <a:lnTo>
                    <a:pt x="108" y="869"/>
                  </a:lnTo>
                  <a:lnTo>
                    <a:pt x="108" y="812"/>
                  </a:lnTo>
                  <a:lnTo>
                    <a:pt x="129" y="812"/>
                  </a:lnTo>
                  <a:close/>
                  <a:moveTo>
                    <a:pt x="54" y="682"/>
                  </a:moveTo>
                  <a:lnTo>
                    <a:pt x="204" y="682"/>
                  </a:lnTo>
                  <a:lnTo>
                    <a:pt x="204" y="706"/>
                  </a:lnTo>
                  <a:lnTo>
                    <a:pt x="76" y="706"/>
                  </a:lnTo>
                  <a:lnTo>
                    <a:pt x="76" y="745"/>
                  </a:lnTo>
                  <a:lnTo>
                    <a:pt x="126" y="748"/>
                  </a:lnTo>
                  <a:cubicBezTo>
                    <a:pt x="154" y="749"/>
                    <a:pt x="174" y="753"/>
                    <a:pt x="186" y="759"/>
                  </a:cubicBezTo>
                  <a:cubicBezTo>
                    <a:pt x="198" y="765"/>
                    <a:pt x="204" y="775"/>
                    <a:pt x="204" y="789"/>
                  </a:cubicBezTo>
                  <a:lnTo>
                    <a:pt x="204" y="797"/>
                  </a:lnTo>
                  <a:lnTo>
                    <a:pt x="181" y="797"/>
                  </a:lnTo>
                  <a:lnTo>
                    <a:pt x="181" y="791"/>
                  </a:lnTo>
                  <a:cubicBezTo>
                    <a:pt x="180" y="784"/>
                    <a:pt x="175" y="780"/>
                    <a:pt x="167" y="777"/>
                  </a:cubicBezTo>
                  <a:cubicBezTo>
                    <a:pt x="159" y="774"/>
                    <a:pt x="143" y="772"/>
                    <a:pt x="118" y="771"/>
                  </a:cubicBezTo>
                  <a:lnTo>
                    <a:pt x="54" y="769"/>
                  </a:lnTo>
                  <a:lnTo>
                    <a:pt x="54" y="682"/>
                  </a:lnTo>
                  <a:close/>
                  <a:moveTo>
                    <a:pt x="207" y="589"/>
                  </a:moveTo>
                  <a:cubicBezTo>
                    <a:pt x="207" y="608"/>
                    <a:pt x="201" y="622"/>
                    <a:pt x="190" y="632"/>
                  </a:cubicBezTo>
                  <a:cubicBezTo>
                    <a:pt x="179" y="642"/>
                    <a:pt x="163" y="647"/>
                    <a:pt x="141" y="647"/>
                  </a:cubicBezTo>
                  <a:lnTo>
                    <a:pt x="123" y="647"/>
                  </a:lnTo>
                  <a:cubicBezTo>
                    <a:pt x="101" y="647"/>
                    <a:pt x="83" y="643"/>
                    <a:pt x="71" y="633"/>
                  </a:cubicBezTo>
                  <a:cubicBezTo>
                    <a:pt x="58" y="623"/>
                    <a:pt x="52" y="610"/>
                    <a:pt x="52" y="592"/>
                  </a:cubicBezTo>
                  <a:cubicBezTo>
                    <a:pt x="52" y="575"/>
                    <a:pt x="57" y="562"/>
                    <a:pt x="68" y="553"/>
                  </a:cubicBezTo>
                  <a:cubicBezTo>
                    <a:pt x="80" y="544"/>
                    <a:pt x="97" y="540"/>
                    <a:pt x="120" y="540"/>
                  </a:cubicBezTo>
                  <a:lnTo>
                    <a:pt x="136" y="540"/>
                  </a:lnTo>
                  <a:lnTo>
                    <a:pt x="136" y="623"/>
                  </a:lnTo>
                  <a:lnTo>
                    <a:pt x="140" y="623"/>
                  </a:lnTo>
                  <a:cubicBezTo>
                    <a:pt x="156" y="623"/>
                    <a:pt x="168" y="620"/>
                    <a:pt x="175" y="614"/>
                  </a:cubicBezTo>
                  <a:cubicBezTo>
                    <a:pt x="182" y="608"/>
                    <a:pt x="186" y="599"/>
                    <a:pt x="186" y="588"/>
                  </a:cubicBezTo>
                  <a:cubicBezTo>
                    <a:pt x="186" y="581"/>
                    <a:pt x="184" y="575"/>
                    <a:pt x="182" y="569"/>
                  </a:cubicBezTo>
                  <a:cubicBezTo>
                    <a:pt x="179" y="564"/>
                    <a:pt x="175" y="559"/>
                    <a:pt x="169" y="554"/>
                  </a:cubicBezTo>
                  <a:lnTo>
                    <a:pt x="184" y="541"/>
                  </a:lnTo>
                  <a:cubicBezTo>
                    <a:pt x="199" y="552"/>
                    <a:pt x="207" y="568"/>
                    <a:pt x="207" y="589"/>
                  </a:cubicBezTo>
                  <a:close/>
                  <a:moveTo>
                    <a:pt x="73" y="592"/>
                  </a:moveTo>
                  <a:cubicBezTo>
                    <a:pt x="73" y="602"/>
                    <a:pt x="76" y="610"/>
                    <a:pt x="83" y="615"/>
                  </a:cubicBezTo>
                  <a:cubicBezTo>
                    <a:pt x="90" y="620"/>
                    <a:pt x="101" y="622"/>
                    <a:pt x="115" y="623"/>
                  </a:cubicBezTo>
                  <a:lnTo>
                    <a:pt x="115" y="564"/>
                  </a:lnTo>
                  <a:lnTo>
                    <a:pt x="112" y="564"/>
                  </a:lnTo>
                  <a:cubicBezTo>
                    <a:pt x="98" y="565"/>
                    <a:pt x="88" y="567"/>
                    <a:pt x="82" y="572"/>
                  </a:cubicBezTo>
                  <a:cubicBezTo>
                    <a:pt x="76" y="576"/>
                    <a:pt x="73" y="583"/>
                    <a:pt x="73" y="592"/>
                  </a:cubicBezTo>
                  <a:close/>
                  <a:moveTo>
                    <a:pt x="75" y="416"/>
                  </a:moveTo>
                  <a:lnTo>
                    <a:pt x="75" y="457"/>
                  </a:lnTo>
                  <a:lnTo>
                    <a:pt x="204" y="457"/>
                  </a:lnTo>
                  <a:lnTo>
                    <a:pt x="204" y="481"/>
                  </a:lnTo>
                  <a:lnTo>
                    <a:pt x="75" y="481"/>
                  </a:lnTo>
                  <a:lnTo>
                    <a:pt x="75" y="521"/>
                  </a:lnTo>
                  <a:lnTo>
                    <a:pt x="54" y="521"/>
                  </a:lnTo>
                  <a:lnTo>
                    <a:pt x="54" y="416"/>
                  </a:lnTo>
                  <a:lnTo>
                    <a:pt x="75" y="416"/>
                  </a:lnTo>
                  <a:close/>
                  <a:moveTo>
                    <a:pt x="204" y="286"/>
                  </a:moveTo>
                  <a:lnTo>
                    <a:pt x="204" y="310"/>
                  </a:lnTo>
                  <a:lnTo>
                    <a:pt x="140" y="310"/>
                  </a:lnTo>
                  <a:lnTo>
                    <a:pt x="140" y="364"/>
                  </a:lnTo>
                  <a:lnTo>
                    <a:pt x="204" y="364"/>
                  </a:lnTo>
                  <a:lnTo>
                    <a:pt x="204" y="388"/>
                  </a:lnTo>
                  <a:lnTo>
                    <a:pt x="54" y="388"/>
                  </a:lnTo>
                  <a:lnTo>
                    <a:pt x="54" y="364"/>
                  </a:lnTo>
                  <a:lnTo>
                    <a:pt x="119" y="364"/>
                  </a:lnTo>
                  <a:lnTo>
                    <a:pt x="119" y="310"/>
                  </a:lnTo>
                  <a:lnTo>
                    <a:pt x="54" y="310"/>
                  </a:lnTo>
                  <a:lnTo>
                    <a:pt x="54" y="286"/>
                  </a:lnTo>
                  <a:lnTo>
                    <a:pt x="204" y="286"/>
                  </a:lnTo>
                  <a:close/>
                  <a:moveTo>
                    <a:pt x="54" y="166"/>
                  </a:moveTo>
                  <a:lnTo>
                    <a:pt x="54" y="142"/>
                  </a:lnTo>
                  <a:lnTo>
                    <a:pt x="204" y="142"/>
                  </a:lnTo>
                  <a:lnTo>
                    <a:pt x="204" y="166"/>
                  </a:lnTo>
                  <a:lnTo>
                    <a:pt x="95" y="166"/>
                  </a:lnTo>
                  <a:lnTo>
                    <a:pt x="204" y="220"/>
                  </a:lnTo>
                  <a:lnTo>
                    <a:pt x="204" y="244"/>
                  </a:lnTo>
                  <a:lnTo>
                    <a:pt x="54" y="244"/>
                  </a:lnTo>
                  <a:lnTo>
                    <a:pt x="54" y="220"/>
                  </a:lnTo>
                  <a:lnTo>
                    <a:pt x="164" y="220"/>
                  </a:lnTo>
                  <a:lnTo>
                    <a:pt x="54" y="166"/>
                  </a:lnTo>
                  <a:close/>
                  <a:moveTo>
                    <a:pt x="207" y="49"/>
                  </a:moveTo>
                  <a:cubicBezTo>
                    <a:pt x="207" y="68"/>
                    <a:pt x="201" y="82"/>
                    <a:pt x="190" y="92"/>
                  </a:cubicBezTo>
                  <a:cubicBezTo>
                    <a:pt x="179" y="102"/>
                    <a:pt x="163" y="107"/>
                    <a:pt x="141" y="107"/>
                  </a:cubicBezTo>
                  <a:lnTo>
                    <a:pt x="123" y="107"/>
                  </a:lnTo>
                  <a:cubicBezTo>
                    <a:pt x="101" y="107"/>
                    <a:pt x="83" y="102"/>
                    <a:pt x="71" y="93"/>
                  </a:cubicBezTo>
                  <a:cubicBezTo>
                    <a:pt x="58" y="83"/>
                    <a:pt x="52" y="69"/>
                    <a:pt x="52" y="52"/>
                  </a:cubicBezTo>
                  <a:cubicBezTo>
                    <a:pt x="52" y="35"/>
                    <a:pt x="57" y="21"/>
                    <a:pt x="68" y="13"/>
                  </a:cubicBezTo>
                  <a:cubicBezTo>
                    <a:pt x="80" y="4"/>
                    <a:pt x="97" y="0"/>
                    <a:pt x="120" y="0"/>
                  </a:cubicBezTo>
                  <a:lnTo>
                    <a:pt x="136" y="0"/>
                  </a:lnTo>
                  <a:lnTo>
                    <a:pt x="136" y="83"/>
                  </a:lnTo>
                  <a:lnTo>
                    <a:pt x="140" y="83"/>
                  </a:lnTo>
                  <a:cubicBezTo>
                    <a:pt x="156" y="83"/>
                    <a:pt x="168" y="80"/>
                    <a:pt x="175" y="74"/>
                  </a:cubicBezTo>
                  <a:cubicBezTo>
                    <a:pt x="182" y="68"/>
                    <a:pt x="186" y="59"/>
                    <a:pt x="186" y="48"/>
                  </a:cubicBezTo>
                  <a:cubicBezTo>
                    <a:pt x="186" y="41"/>
                    <a:pt x="184" y="34"/>
                    <a:pt x="182" y="29"/>
                  </a:cubicBezTo>
                  <a:cubicBezTo>
                    <a:pt x="179" y="23"/>
                    <a:pt x="175" y="18"/>
                    <a:pt x="169" y="13"/>
                  </a:cubicBezTo>
                  <a:lnTo>
                    <a:pt x="184" y="1"/>
                  </a:lnTo>
                  <a:cubicBezTo>
                    <a:pt x="199" y="11"/>
                    <a:pt x="207" y="28"/>
                    <a:pt x="207" y="49"/>
                  </a:cubicBezTo>
                  <a:close/>
                  <a:moveTo>
                    <a:pt x="73" y="52"/>
                  </a:moveTo>
                  <a:cubicBezTo>
                    <a:pt x="73" y="62"/>
                    <a:pt x="76" y="70"/>
                    <a:pt x="83" y="74"/>
                  </a:cubicBezTo>
                  <a:cubicBezTo>
                    <a:pt x="90" y="79"/>
                    <a:pt x="101" y="82"/>
                    <a:pt x="115" y="83"/>
                  </a:cubicBezTo>
                  <a:lnTo>
                    <a:pt x="115" y="24"/>
                  </a:lnTo>
                  <a:lnTo>
                    <a:pt x="112" y="24"/>
                  </a:lnTo>
                  <a:cubicBezTo>
                    <a:pt x="98" y="25"/>
                    <a:pt x="88" y="27"/>
                    <a:pt x="82" y="32"/>
                  </a:cubicBezTo>
                  <a:cubicBezTo>
                    <a:pt x="76" y="36"/>
                    <a:pt x="73" y="43"/>
                    <a:pt x="73" y="52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1" name="Freeform 1783"/>
            <p:cNvSpPr>
              <a:spLocks noEditPoints="1"/>
            </p:cNvSpPr>
            <p:nvPr/>
          </p:nvSpPr>
          <p:spPr bwMode="auto">
            <a:xfrm>
              <a:off x="3202936" y="3226688"/>
              <a:ext cx="276936" cy="844753"/>
            </a:xfrm>
            <a:custGeom>
              <a:avLst/>
              <a:gdLst/>
              <a:ahLst/>
              <a:cxnLst>
                <a:cxn ang="0">
                  <a:pos x="3" y="1846"/>
                </a:cxn>
                <a:cxn ang="0">
                  <a:pos x="204" y="1659"/>
                </a:cxn>
                <a:cxn ang="0">
                  <a:pos x="125" y="1470"/>
                </a:cxn>
                <a:cxn ang="0">
                  <a:pos x="204" y="1615"/>
                </a:cxn>
                <a:cxn ang="0">
                  <a:pos x="79" y="1401"/>
                </a:cxn>
                <a:cxn ang="0">
                  <a:pos x="61" y="1314"/>
                </a:cxn>
                <a:cxn ang="0">
                  <a:pos x="115" y="1301"/>
                </a:cxn>
                <a:cxn ang="0">
                  <a:pos x="145" y="1386"/>
                </a:cxn>
                <a:cxn ang="0">
                  <a:pos x="114" y="1205"/>
                </a:cxn>
                <a:cxn ang="0">
                  <a:pos x="30" y="1150"/>
                </a:cxn>
                <a:cxn ang="0">
                  <a:pos x="76" y="1225"/>
                </a:cxn>
                <a:cxn ang="0">
                  <a:pos x="177" y="1257"/>
                </a:cxn>
                <a:cxn ang="0">
                  <a:pos x="244" y="1112"/>
                </a:cxn>
                <a:cxn ang="0">
                  <a:pos x="244" y="1112"/>
                </a:cxn>
                <a:cxn ang="0">
                  <a:pos x="2" y="921"/>
                </a:cxn>
                <a:cxn ang="0">
                  <a:pos x="2" y="786"/>
                </a:cxn>
                <a:cxn ang="0">
                  <a:pos x="54" y="646"/>
                </a:cxn>
                <a:cxn ang="0">
                  <a:pos x="204" y="536"/>
                </a:cxn>
                <a:cxn ang="0">
                  <a:pos x="75" y="471"/>
                </a:cxn>
                <a:cxn ang="0">
                  <a:pos x="167" y="502"/>
                </a:cxn>
                <a:cxn ang="0">
                  <a:pos x="195" y="360"/>
                </a:cxn>
                <a:cxn ang="0">
                  <a:pos x="72" y="319"/>
                </a:cxn>
                <a:cxn ang="0">
                  <a:pos x="63" y="283"/>
                </a:cxn>
                <a:cxn ang="0">
                  <a:pos x="179" y="307"/>
                </a:cxn>
                <a:cxn ang="0">
                  <a:pos x="184" y="324"/>
                </a:cxn>
                <a:cxn ang="0">
                  <a:pos x="189" y="224"/>
                </a:cxn>
                <a:cxn ang="0">
                  <a:pos x="106" y="154"/>
                </a:cxn>
                <a:cxn ang="0">
                  <a:pos x="186" y="181"/>
                </a:cxn>
                <a:cxn ang="0">
                  <a:pos x="189" y="93"/>
                </a:cxn>
                <a:cxn ang="0">
                  <a:pos x="106" y="23"/>
                </a:cxn>
                <a:cxn ang="0">
                  <a:pos x="186" y="51"/>
                </a:cxn>
                <a:cxn ang="0">
                  <a:pos x="452" y="1690"/>
                </a:cxn>
                <a:cxn ang="0">
                  <a:pos x="543" y="1521"/>
                </a:cxn>
                <a:cxn ang="0">
                  <a:pos x="394" y="1521"/>
                </a:cxn>
                <a:cxn ang="0">
                  <a:pos x="600" y="1482"/>
                </a:cxn>
                <a:cxn ang="0">
                  <a:pos x="475" y="1374"/>
                </a:cxn>
                <a:cxn ang="0">
                  <a:pos x="513" y="1406"/>
                </a:cxn>
                <a:cxn ang="0">
                  <a:pos x="460" y="1232"/>
                </a:cxn>
                <a:cxn ang="0">
                  <a:pos x="475" y="1323"/>
                </a:cxn>
                <a:cxn ang="0">
                  <a:pos x="425" y="1314"/>
                </a:cxn>
                <a:cxn ang="0">
                  <a:pos x="331" y="1143"/>
                </a:cxn>
                <a:cxn ang="0">
                  <a:pos x="546" y="1100"/>
                </a:cxn>
                <a:cxn ang="0">
                  <a:pos x="471" y="1205"/>
                </a:cxn>
                <a:cxn ang="0">
                  <a:pos x="512" y="1087"/>
                </a:cxn>
                <a:cxn ang="0">
                  <a:pos x="412" y="1153"/>
                </a:cxn>
                <a:cxn ang="0">
                  <a:pos x="434" y="942"/>
                </a:cxn>
                <a:cxn ang="0">
                  <a:pos x="394" y="773"/>
                </a:cxn>
                <a:cxn ang="0">
                  <a:pos x="543" y="881"/>
                </a:cxn>
                <a:cxn ang="0">
                  <a:pos x="394" y="773"/>
                </a:cxn>
                <a:cxn ang="0">
                  <a:pos x="543" y="732"/>
                </a:cxn>
                <a:cxn ang="0">
                  <a:pos x="515" y="661"/>
                </a:cxn>
                <a:cxn ang="0">
                  <a:pos x="479" y="519"/>
                </a:cxn>
                <a:cxn ang="0">
                  <a:pos x="458" y="519"/>
                </a:cxn>
                <a:cxn ang="0">
                  <a:pos x="534" y="447"/>
                </a:cxn>
                <a:cxn ang="0">
                  <a:pos x="412" y="406"/>
                </a:cxn>
                <a:cxn ang="0">
                  <a:pos x="402" y="370"/>
                </a:cxn>
                <a:cxn ang="0">
                  <a:pos x="518" y="394"/>
                </a:cxn>
                <a:cxn ang="0">
                  <a:pos x="523" y="411"/>
                </a:cxn>
                <a:cxn ang="0">
                  <a:pos x="543" y="332"/>
                </a:cxn>
                <a:cxn ang="0">
                  <a:pos x="439" y="300"/>
                </a:cxn>
                <a:cxn ang="0">
                  <a:pos x="439" y="300"/>
                </a:cxn>
                <a:cxn ang="0">
                  <a:pos x="461" y="156"/>
                </a:cxn>
              </a:cxnLst>
              <a:rect l="0" t="0" r="r" b="b"/>
              <a:pathLst>
                <a:path w="608" h="1846">
                  <a:moveTo>
                    <a:pt x="24" y="1716"/>
                  </a:moveTo>
                  <a:lnTo>
                    <a:pt x="24" y="1768"/>
                  </a:lnTo>
                  <a:lnTo>
                    <a:pt x="204" y="1768"/>
                  </a:lnTo>
                  <a:lnTo>
                    <a:pt x="204" y="1794"/>
                  </a:lnTo>
                  <a:lnTo>
                    <a:pt x="24" y="1794"/>
                  </a:lnTo>
                  <a:lnTo>
                    <a:pt x="24" y="1846"/>
                  </a:lnTo>
                  <a:lnTo>
                    <a:pt x="3" y="1846"/>
                  </a:lnTo>
                  <a:lnTo>
                    <a:pt x="3" y="1716"/>
                  </a:lnTo>
                  <a:lnTo>
                    <a:pt x="24" y="1716"/>
                  </a:lnTo>
                  <a:close/>
                  <a:moveTo>
                    <a:pt x="204" y="1659"/>
                  </a:moveTo>
                  <a:lnTo>
                    <a:pt x="204" y="1685"/>
                  </a:lnTo>
                  <a:lnTo>
                    <a:pt x="3" y="1685"/>
                  </a:lnTo>
                  <a:lnTo>
                    <a:pt x="3" y="1659"/>
                  </a:lnTo>
                  <a:lnTo>
                    <a:pt x="204" y="1659"/>
                  </a:lnTo>
                  <a:close/>
                  <a:moveTo>
                    <a:pt x="3" y="1583"/>
                  </a:moveTo>
                  <a:lnTo>
                    <a:pt x="167" y="1530"/>
                  </a:lnTo>
                  <a:lnTo>
                    <a:pt x="3" y="1478"/>
                  </a:lnTo>
                  <a:lnTo>
                    <a:pt x="3" y="1445"/>
                  </a:lnTo>
                  <a:lnTo>
                    <a:pt x="204" y="1445"/>
                  </a:lnTo>
                  <a:lnTo>
                    <a:pt x="204" y="1470"/>
                  </a:lnTo>
                  <a:lnTo>
                    <a:pt x="125" y="1470"/>
                  </a:lnTo>
                  <a:lnTo>
                    <a:pt x="47" y="1468"/>
                  </a:lnTo>
                  <a:lnTo>
                    <a:pt x="204" y="1521"/>
                  </a:lnTo>
                  <a:lnTo>
                    <a:pt x="204" y="1540"/>
                  </a:lnTo>
                  <a:lnTo>
                    <a:pt x="48" y="1592"/>
                  </a:lnTo>
                  <a:lnTo>
                    <a:pt x="125" y="1590"/>
                  </a:lnTo>
                  <a:lnTo>
                    <a:pt x="204" y="1590"/>
                  </a:lnTo>
                  <a:lnTo>
                    <a:pt x="204" y="1615"/>
                  </a:lnTo>
                  <a:lnTo>
                    <a:pt x="3" y="1615"/>
                  </a:lnTo>
                  <a:lnTo>
                    <a:pt x="3" y="1583"/>
                  </a:lnTo>
                  <a:close/>
                  <a:moveTo>
                    <a:pt x="153" y="1314"/>
                  </a:moveTo>
                  <a:cubicBezTo>
                    <a:pt x="143" y="1314"/>
                    <a:pt x="135" y="1317"/>
                    <a:pt x="130" y="1322"/>
                  </a:cubicBezTo>
                  <a:cubicBezTo>
                    <a:pt x="124" y="1327"/>
                    <a:pt x="119" y="1337"/>
                    <a:pt x="114" y="1351"/>
                  </a:cubicBezTo>
                  <a:cubicBezTo>
                    <a:pt x="109" y="1366"/>
                    <a:pt x="104" y="1377"/>
                    <a:pt x="98" y="1384"/>
                  </a:cubicBezTo>
                  <a:cubicBezTo>
                    <a:pt x="93" y="1391"/>
                    <a:pt x="86" y="1397"/>
                    <a:pt x="79" y="1401"/>
                  </a:cubicBezTo>
                  <a:cubicBezTo>
                    <a:pt x="72" y="1405"/>
                    <a:pt x="64" y="1406"/>
                    <a:pt x="55" y="1406"/>
                  </a:cubicBezTo>
                  <a:cubicBezTo>
                    <a:pt x="39" y="1406"/>
                    <a:pt x="26" y="1401"/>
                    <a:pt x="15" y="1390"/>
                  </a:cubicBezTo>
                  <a:cubicBezTo>
                    <a:pt x="5" y="1380"/>
                    <a:pt x="0" y="1366"/>
                    <a:pt x="0" y="1349"/>
                  </a:cubicBezTo>
                  <a:cubicBezTo>
                    <a:pt x="0" y="1337"/>
                    <a:pt x="3" y="1326"/>
                    <a:pt x="8" y="1317"/>
                  </a:cubicBezTo>
                  <a:cubicBezTo>
                    <a:pt x="13" y="1308"/>
                    <a:pt x="20" y="1301"/>
                    <a:pt x="30" y="1296"/>
                  </a:cubicBezTo>
                  <a:cubicBezTo>
                    <a:pt x="39" y="1291"/>
                    <a:pt x="50" y="1289"/>
                    <a:pt x="61" y="1289"/>
                  </a:cubicBezTo>
                  <a:lnTo>
                    <a:pt x="61" y="1314"/>
                  </a:lnTo>
                  <a:cubicBezTo>
                    <a:pt x="48" y="1314"/>
                    <a:pt x="39" y="1317"/>
                    <a:pt x="32" y="1323"/>
                  </a:cubicBezTo>
                  <a:cubicBezTo>
                    <a:pt x="25" y="1329"/>
                    <a:pt x="22" y="1337"/>
                    <a:pt x="22" y="1349"/>
                  </a:cubicBezTo>
                  <a:cubicBezTo>
                    <a:pt x="22" y="1359"/>
                    <a:pt x="25" y="1367"/>
                    <a:pt x="30" y="1372"/>
                  </a:cubicBezTo>
                  <a:cubicBezTo>
                    <a:pt x="36" y="1378"/>
                    <a:pt x="44" y="1381"/>
                    <a:pt x="54" y="1381"/>
                  </a:cubicBezTo>
                  <a:cubicBezTo>
                    <a:pt x="63" y="1381"/>
                    <a:pt x="70" y="1378"/>
                    <a:pt x="76" y="1372"/>
                  </a:cubicBezTo>
                  <a:cubicBezTo>
                    <a:pt x="81" y="1366"/>
                    <a:pt x="86" y="1356"/>
                    <a:pt x="91" y="1344"/>
                  </a:cubicBezTo>
                  <a:cubicBezTo>
                    <a:pt x="97" y="1324"/>
                    <a:pt x="105" y="1310"/>
                    <a:pt x="115" y="1301"/>
                  </a:cubicBezTo>
                  <a:cubicBezTo>
                    <a:pt x="125" y="1293"/>
                    <a:pt x="137" y="1288"/>
                    <a:pt x="153" y="1288"/>
                  </a:cubicBezTo>
                  <a:cubicBezTo>
                    <a:pt x="169" y="1288"/>
                    <a:pt x="182" y="1294"/>
                    <a:pt x="192" y="1304"/>
                  </a:cubicBezTo>
                  <a:cubicBezTo>
                    <a:pt x="202" y="1315"/>
                    <a:pt x="206" y="1329"/>
                    <a:pt x="206" y="1347"/>
                  </a:cubicBezTo>
                  <a:cubicBezTo>
                    <a:pt x="206" y="1359"/>
                    <a:pt x="204" y="1370"/>
                    <a:pt x="199" y="1380"/>
                  </a:cubicBezTo>
                  <a:cubicBezTo>
                    <a:pt x="194" y="1390"/>
                    <a:pt x="186" y="1398"/>
                    <a:pt x="177" y="1403"/>
                  </a:cubicBezTo>
                  <a:cubicBezTo>
                    <a:pt x="168" y="1409"/>
                    <a:pt x="157" y="1412"/>
                    <a:pt x="145" y="1412"/>
                  </a:cubicBezTo>
                  <a:lnTo>
                    <a:pt x="145" y="1386"/>
                  </a:lnTo>
                  <a:cubicBezTo>
                    <a:pt x="158" y="1386"/>
                    <a:pt x="167" y="1383"/>
                    <a:pt x="174" y="1376"/>
                  </a:cubicBezTo>
                  <a:cubicBezTo>
                    <a:pt x="181" y="1369"/>
                    <a:pt x="185" y="1359"/>
                    <a:pt x="185" y="1347"/>
                  </a:cubicBezTo>
                  <a:cubicBezTo>
                    <a:pt x="185" y="1336"/>
                    <a:pt x="182" y="1328"/>
                    <a:pt x="176" y="1322"/>
                  </a:cubicBezTo>
                  <a:cubicBezTo>
                    <a:pt x="170" y="1317"/>
                    <a:pt x="163" y="1314"/>
                    <a:pt x="153" y="1314"/>
                  </a:cubicBezTo>
                  <a:close/>
                  <a:moveTo>
                    <a:pt x="153" y="1168"/>
                  </a:moveTo>
                  <a:cubicBezTo>
                    <a:pt x="143" y="1168"/>
                    <a:pt x="135" y="1170"/>
                    <a:pt x="130" y="1176"/>
                  </a:cubicBezTo>
                  <a:cubicBezTo>
                    <a:pt x="124" y="1181"/>
                    <a:pt x="119" y="1191"/>
                    <a:pt x="114" y="1205"/>
                  </a:cubicBezTo>
                  <a:cubicBezTo>
                    <a:pt x="109" y="1219"/>
                    <a:pt x="104" y="1230"/>
                    <a:pt x="98" y="1238"/>
                  </a:cubicBezTo>
                  <a:cubicBezTo>
                    <a:pt x="93" y="1245"/>
                    <a:pt x="86" y="1251"/>
                    <a:pt x="79" y="1254"/>
                  </a:cubicBezTo>
                  <a:cubicBezTo>
                    <a:pt x="72" y="1258"/>
                    <a:pt x="64" y="1260"/>
                    <a:pt x="55" y="1260"/>
                  </a:cubicBezTo>
                  <a:cubicBezTo>
                    <a:pt x="39" y="1260"/>
                    <a:pt x="26" y="1255"/>
                    <a:pt x="15" y="1244"/>
                  </a:cubicBezTo>
                  <a:cubicBezTo>
                    <a:pt x="5" y="1233"/>
                    <a:pt x="0" y="1219"/>
                    <a:pt x="0" y="1202"/>
                  </a:cubicBezTo>
                  <a:cubicBezTo>
                    <a:pt x="0" y="1191"/>
                    <a:pt x="3" y="1180"/>
                    <a:pt x="8" y="1171"/>
                  </a:cubicBezTo>
                  <a:cubicBezTo>
                    <a:pt x="13" y="1162"/>
                    <a:pt x="20" y="1155"/>
                    <a:pt x="30" y="1150"/>
                  </a:cubicBezTo>
                  <a:cubicBezTo>
                    <a:pt x="39" y="1145"/>
                    <a:pt x="50" y="1142"/>
                    <a:pt x="61" y="1142"/>
                  </a:cubicBezTo>
                  <a:lnTo>
                    <a:pt x="61" y="1168"/>
                  </a:lnTo>
                  <a:cubicBezTo>
                    <a:pt x="48" y="1168"/>
                    <a:pt x="39" y="1170"/>
                    <a:pt x="32" y="1176"/>
                  </a:cubicBezTo>
                  <a:cubicBezTo>
                    <a:pt x="25" y="1182"/>
                    <a:pt x="22" y="1191"/>
                    <a:pt x="22" y="1202"/>
                  </a:cubicBezTo>
                  <a:cubicBezTo>
                    <a:pt x="22" y="1213"/>
                    <a:pt x="25" y="1220"/>
                    <a:pt x="30" y="1226"/>
                  </a:cubicBezTo>
                  <a:cubicBezTo>
                    <a:pt x="36" y="1232"/>
                    <a:pt x="44" y="1234"/>
                    <a:pt x="54" y="1234"/>
                  </a:cubicBezTo>
                  <a:cubicBezTo>
                    <a:pt x="63" y="1234"/>
                    <a:pt x="70" y="1231"/>
                    <a:pt x="76" y="1225"/>
                  </a:cubicBezTo>
                  <a:cubicBezTo>
                    <a:pt x="81" y="1219"/>
                    <a:pt x="86" y="1210"/>
                    <a:pt x="91" y="1197"/>
                  </a:cubicBezTo>
                  <a:cubicBezTo>
                    <a:pt x="97" y="1177"/>
                    <a:pt x="105" y="1163"/>
                    <a:pt x="115" y="1155"/>
                  </a:cubicBezTo>
                  <a:cubicBezTo>
                    <a:pt x="125" y="1146"/>
                    <a:pt x="137" y="1142"/>
                    <a:pt x="153" y="1142"/>
                  </a:cubicBezTo>
                  <a:cubicBezTo>
                    <a:pt x="169" y="1142"/>
                    <a:pt x="182" y="1147"/>
                    <a:pt x="192" y="1158"/>
                  </a:cubicBezTo>
                  <a:cubicBezTo>
                    <a:pt x="202" y="1168"/>
                    <a:pt x="206" y="1183"/>
                    <a:pt x="206" y="1201"/>
                  </a:cubicBezTo>
                  <a:cubicBezTo>
                    <a:pt x="206" y="1213"/>
                    <a:pt x="204" y="1224"/>
                    <a:pt x="199" y="1233"/>
                  </a:cubicBezTo>
                  <a:cubicBezTo>
                    <a:pt x="194" y="1243"/>
                    <a:pt x="186" y="1251"/>
                    <a:pt x="177" y="1257"/>
                  </a:cubicBezTo>
                  <a:cubicBezTo>
                    <a:pt x="168" y="1262"/>
                    <a:pt x="157" y="1265"/>
                    <a:pt x="145" y="1265"/>
                  </a:cubicBezTo>
                  <a:lnTo>
                    <a:pt x="145" y="1240"/>
                  </a:lnTo>
                  <a:cubicBezTo>
                    <a:pt x="158" y="1240"/>
                    <a:pt x="167" y="1236"/>
                    <a:pt x="174" y="1229"/>
                  </a:cubicBezTo>
                  <a:cubicBezTo>
                    <a:pt x="181" y="1222"/>
                    <a:pt x="185" y="1213"/>
                    <a:pt x="185" y="1201"/>
                  </a:cubicBezTo>
                  <a:cubicBezTo>
                    <a:pt x="185" y="1190"/>
                    <a:pt x="182" y="1182"/>
                    <a:pt x="176" y="1176"/>
                  </a:cubicBezTo>
                  <a:cubicBezTo>
                    <a:pt x="170" y="1170"/>
                    <a:pt x="163" y="1168"/>
                    <a:pt x="153" y="1168"/>
                  </a:cubicBezTo>
                  <a:close/>
                  <a:moveTo>
                    <a:pt x="244" y="1112"/>
                  </a:moveTo>
                  <a:lnTo>
                    <a:pt x="234" y="1127"/>
                  </a:lnTo>
                  <a:cubicBezTo>
                    <a:pt x="222" y="1118"/>
                    <a:pt x="209" y="1113"/>
                    <a:pt x="196" y="1113"/>
                  </a:cubicBezTo>
                  <a:lnTo>
                    <a:pt x="173" y="1113"/>
                  </a:lnTo>
                  <a:lnTo>
                    <a:pt x="173" y="1088"/>
                  </a:lnTo>
                  <a:lnTo>
                    <a:pt x="193" y="1088"/>
                  </a:lnTo>
                  <a:cubicBezTo>
                    <a:pt x="203" y="1088"/>
                    <a:pt x="212" y="1090"/>
                    <a:pt x="221" y="1095"/>
                  </a:cubicBezTo>
                  <a:cubicBezTo>
                    <a:pt x="231" y="1099"/>
                    <a:pt x="238" y="1105"/>
                    <a:pt x="244" y="1112"/>
                  </a:cubicBezTo>
                  <a:close/>
                  <a:moveTo>
                    <a:pt x="204" y="921"/>
                  </a:moveTo>
                  <a:lnTo>
                    <a:pt x="204" y="946"/>
                  </a:lnTo>
                  <a:lnTo>
                    <a:pt x="33" y="946"/>
                  </a:lnTo>
                  <a:lnTo>
                    <a:pt x="52" y="988"/>
                  </a:lnTo>
                  <a:lnTo>
                    <a:pt x="29" y="988"/>
                  </a:lnTo>
                  <a:lnTo>
                    <a:pt x="2" y="925"/>
                  </a:lnTo>
                  <a:lnTo>
                    <a:pt x="2" y="921"/>
                  </a:lnTo>
                  <a:lnTo>
                    <a:pt x="204" y="921"/>
                  </a:lnTo>
                  <a:close/>
                  <a:moveTo>
                    <a:pt x="204" y="782"/>
                  </a:moveTo>
                  <a:lnTo>
                    <a:pt x="204" y="806"/>
                  </a:lnTo>
                  <a:lnTo>
                    <a:pt x="33" y="806"/>
                  </a:lnTo>
                  <a:lnTo>
                    <a:pt x="52" y="849"/>
                  </a:lnTo>
                  <a:lnTo>
                    <a:pt x="29" y="849"/>
                  </a:lnTo>
                  <a:lnTo>
                    <a:pt x="2" y="786"/>
                  </a:lnTo>
                  <a:lnTo>
                    <a:pt x="2" y="782"/>
                  </a:lnTo>
                  <a:lnTo>
                    <a:pt x="204" y="782"/>
                  </a:lnTo>
                  <a:close/>
                  <a:moveTo>
                    <a:pt x="140" y="608"/>
                  </a:moveTo>
                  <a:lnTo>
                    <a:pt x="140" y="621"/>
                  </a:lnTo>
                  <a:lnTo>
                    <a:pt x="204" y="621"/>
                  </a:lnTo>
                  <a:lnTo>
                    <a:pt x="204" y="646"/>
                  </a:lnTo>
                  <a:lnTo>
                    <a:pt x="54" y="646"/>
                  </a:lnTo>
                  <a:lnTo>
                    <a:pt x="54" y="621"/>
                  </a:lnTo>
                  <a:lnTo>
                    <a:pt x="118" y="621"/>
                  </a:lnTo>
                  <a:lnTo>
                    <a:pt x="118" y="609"/>
                  </a:lnTo>
                  <a:lnTo>
                    <a:pt x="54" y="569"/>
                  </a:lnTo>
                  <a:lnTo>
                    <a:pt x="54" y="540"/>
                  </a:lnTo>
                  <a:lnTo>
                    <a:pt x="125" y="589"/>
                  </a:lnTo>
                  <a:lnTo>
                    <a:pt x="204" y="536"/>
                  </a:lnTo>
                  <a:lnTo>
                    <a:pt x="204" y="567"/>
                  </a:lnTo>
                  <a:lnTo>
                    <a:pt x="140" y="608"/>
                  </a:lnTo>
                  <a:close/>
                  <a:moveTo>
                    <a:pt x="54" y="407"/>
                  </a:moveTo>
                  <a:lnTo>
                    <a:pt x="204" y="407"/>
                  </a:lnTo>
                  <a:lnTo>
                    <a:pt x="204" y="432"/>
                  </a:lnTo>
                  <a:lnTo>
                    <a:pt x="75" y="432"/>
                  </a:lnTo>
                  <a:lnTo>
                    <a:pt x="75" y="471"/>
                  </a:lnTo>
                  <a:lnTo>
                    <a:pt x="126" y="473"/>
                  </a:lnTo>
                  <a:cubicBezTo>
                    <a:pt x="154" y="475"/>
                    <a:pt x="174" y="478"/>
                    <a:pt x="186" y="485"/>
                  </a:cubicBezTo>
                  <a:cubicBezTo>
                    <a:pt x="198" y="491"/>
                    <a:pt x="203" y="501"/>
                    <a:pt x="204" y="515"/>
                  </a:cubicBezTo>
                  <a:lnTo>
                    <a:pt x="204" y="523"/>
                  </a:lnTo>
                  <a:lnTo>
                    <a:pt x="181" y="523"/>
                  </a:lnTo>
                  <a:lnTo>
                    <a:pt x="181" y="517"/>
                  </a:lnTo>
                  <a:cubicBezTo>
                    <a:pt x="180" y="510"/>
                    <a:pt x="175" y="505"/>
                    <a:pt x="167" y="502"/>
                  </a:cubicBezTo>
                  <a:cubicBezTo>
                    <a:pt x="159" y="499"/>
                    <a:pt x="142" y="498"/>
                    <a:pt x="118" y="497"/>
                  </a:cubicBezTo>
                  <a:lnTo>
                    <a:pt x="54" y="494"/>
                  </a:lnTo>
                  <a:lnTo>
                    <a:pt x="54" y="407"/>
                  </a:lnTo>
                  <a:close/>
                  <a:moveTo>
                    <a:pt x="204" y="292"/>
                  </a:moveTo>
                  <a:cubicBezTo>
                    <a:pt x="200" y="293"/>
                    <a:pt x="195" y="294"/>
                    <a:pt x="187" y="295"/>
                  </a:cubicBezTo>
                  <a:cubicBezTo>
                    <a:pt x="200" y="303"/>
                    <a:pt x="206" y="314"/>
                    <a:pt x="206" y="328"/>
                  </a:cubicBezTo>
                  <a:cubicBezTo>
                    <a:pt x="206" y="341"/>
                    <a:pt x="203" y="352"/>
                    <a:pt x="195" y="360"/>
                  </a:cubicBezTo>
                  <a:cubicBezTo>
                    <a:pt x="187" y="367"/>
                    <a:pt x="177" y="371"/>
                    <a:pt x="163" y="371"/>
                  </a:cubicBezTo>
                  <a:cubicBezTo>
                    <a:pt x="148" y="371"/>
                    <a:pt x="136" y="366"/>
                    <a:pt x="127" y="356"/>
                  </a:cubicBezTo>
                  <a:cubicBezTo>
                    <a:pt x="118" y="345"/>
                    <a:pt x="113" y="331"/>
                    <a:pt x="113" y="313"/>
                  </a:cubicBezTo>
                  <a:lnTo>
                    <a:pt x="113" y="295"/>
                  </a:lnTo>
                  <a:lnTo>
                    <a:pt x="97" y="295"/>
                  </a:lnTo>
                  <a:cubicBezTo>
                    <a:pt x="88" y="295"/>
                    <a:pt x="82" y="297"/>
                    <a:pt x="78" y="301"/>
                  </a:cubicBezTo>
                  <a:cubicBezTo>
                    <a:pt x="74" y="305"/>
                    <a:pt x="72" y="311"/>
                    <a:pt x="72" y="319"/>
                  </a:cubicBezTo>
                  <a:cubicBezTo>
                    <a:pt x="72" y="327"/>
                    <a:pt x="75" y="333"/>
                    <a:pt x="79" y="337"/>
                  </a:cubicBezTo>
                  <a:cubicBezTo>
                    <a:pt x="83" y="342"/>
                    <a:pt x="89" y="344"/>
                    <a:pt x="96" y="344"/>
                  </a:cubicBezTo>
                  <a:lnTo>
                    <a:pt x="96" y="368"/>
                  </a:lnTo>
                  <a:cubicBezTo>
                    <a:pt x="88" y="368"/>
                    <a:pt x="81" y="366"/>
                    <a:pt x="74" y="362"/>
                  </a:cubicBezTo>
                  <a:cubicBezTo>
                    <a:pt x="67" y="357"/>
                    <a:pt x="61" y="351"/>
                    <a:pt x="57" y="343"/>
                  </a:cubicBezTo>
                  <a:cubicBezTo>
                    <a:pt x="53" y="336"/>
                    <a:pt x="52" y="327"/>
                    <a:pt x="52" y="318"/>
                  </a:cubicBezTo>
                  <a:cubicBezTo>
                    <a:pt x="52" y="303"/>
                    <a:pt x="55" y="291"/>
                    <a:pt x="63" y="283"/>
                  </a:cubicBezTo>
                  <a:cubicBezTo>
                    <a:pt x="70" y="275"/>
                    <a:pt x="82" y="271"/>
                    <a:pt x="96" y="271"/>
                  </a:cubicBezTo>
                  <a:lnTo>
                    <a:pt x="171" y="271"/>
                  </a:lnTo>
                  <a:cubicBezTo>
                    <a:pt x="183" y="271"/>
                    <a:pt x="193" y="269"/>
                    <a:pt x="201" y="266"/>
                  </a:cubicBezTo>
                  <a:lnTo>
                    <a:pt x="204" y="266"/>
                  </a:lnTo>
                  <a:lnTo>
                    <a:pt x="204" y="292"/>
                  </a:lnTo>
                  <a:close/>
                  <a:moveTo>
                    <a:pt x="184" y="324"/>
                  </a:moveTo>
                  <a:cubicBezTo>
                    <a:pt x="184" y="318"/>
                    <a:pt x="183" y="313"/>
                    <a:pt x="179" y="307"/>
                  </a:cubicBezTo>
                  <a:cubicBezTo>
                    <a:pt x="176" y="302"/>
                    <a:pt x="172" y="298"/>
                    <a:pt x="167" y="295"/>
                  </a:cubicBezTo>
                  <a:lnTo>
                    <a:pt x="131" y="295"/>
                  </a:lnTo>
                  <a:lnTo>
                    <a:pt x="131" y="309"/>
                  </a:lnTo>
                  <a:cubicBezTo>
                    <a:pt x="131" y="321"/>
                    <a:pt x="134" y="330"/>
                    <a:pt x="139" y="336"/>
                  </a:cubicBezTo>
                  <a:cubicBezTo>
                    <a:pt x="144" y="343"/>
                    <a:pt x="151" y="347"/>
                    <a:pt x="160" y="347"/>
                  </a:cubicBezTo>
                  <a:cubicBezTo>
                    <a:pt x="168" y="347"/>
                    <a:pt x="175" y="345"/>
                    <a:pt x="178" y="341"/>
                  </a:cubicBezTo>
                  <a:cubicBezTo>
                    <a:pt x="182" y="338"/>
                    <a:pt x="184" y="332"/>
                    <a:pt x="184" y="324"/>
                  </a:cubicBezTo>
                  <a:close/>
                  <a:moveTo>
                    <a:pt x="186" y="181"/>
                  </a:moveTo>
                  <a:cubicBezTo>
                    <a:pt x="186" y="173"/>
                    <a:pt x="183" y="167"/>
                    <a:pt x="178" y="162"/>
                  </a:cubicBezTo>
                  <a:cubicBezTo>
                    <a:pt x="173" y="157"/>
                    <a:pt x="166" y="154"/>
                    <a:pt x="157" y="154"/>
                  </a:cubicBezTo>
                  <a:lnTo>
                    <a:pt x="157" y="131"/>
                  </a:lnTo>
                  <a:cubicBezTo>
                    <a:pt x="171" y="131"/>
                    <a:pt x="183" y="136"/>
                    <a:pt x="192" y="146"/>
                  </a:cubicBezTo>
                  <a:cubicBezTo>
                    <a:pt x="202" y="156"/>
                    <a:pt x="206" y="167"/>
                    <a:pt x="206" y="181"/>
                  </a:cubicBezTo>
                  <a:cubicBezTo>
                    <a:pt x="206" y="200"/>
                    <a:pt x="201" y="214"/>
                    <a:pt x="189" y="224"/>
                  </a:cubicBezTo>
                  <a:cubicBezTo>
                    <a:pt x="177" y="233"/>
                    <a:pt x="160" y="238"/>
                    <a:pt x="137" y="238"/>
                  </a:cubicBezTo>
                  <a:lnTo>
                    <a:pt x="121" y="238"/>
                  </a:lnTo>
                  <a:cubicBezTo>
                    <a:pt x="98" y="238"/>
                    <a:pt x="81" y="233"/>
                    <a:pt x="69" y="224"/>
                  </a:cubicBezTo>
                  <a:cubicBezTo>
                    <a:pt x="57" y="214"/>
                    <a:pt x="52" y="200"/>
                    <a:pt x="52" y="181"/>
                  </a:cubicBezTo>
                  <a:cubicBezTo>
                    <a:pt x="52" y="166"/>
                    <a:pt x="56" y="154"/>
                    <a:pt x="66" y="145"/>
                  </a:cubicBezTo>
                  <a:cubicBezTo>
                    <a:pt x="76" y="136"/>
                    <a:pt x="89" y="131"/>
                    <a:pt x="106" y="131"/>
                  </a:cubicBezTo>
                  <a:lnTo>
                    <a:pt x="106" y="154"/>
                  </a:lnTo>
                  <a:cubicBezTo>
                    <a:pt x="95" y="154"/>
                    <a:pt x="86" y="157"/>
                    <a:pt x="81" y="162"/>
                  </a:cubicBezTo>
                  <a:cubicBezTo>
                    <a:pt x="75" y="166"/>
                    <a:pt x="72" y="173"/>
                    <a:pt x="72" y="181"/>
                  </a:cubicBezTo>
                  <a:cubicBezTo>
                    <a:pt x="72" y="192"/>
                    <a:pt x="76" y="200"/>
                    <a:pt x="83" y="206"/>
                  </a:cubicBezTo>
                  <a:cubicBezTo>
                    <a:pt x="90" y="211"/>
                    <a:pt x="102" y="213"/>
                    <a:pt x="118" y="214"/>
                  </a:cubicBezTo>
                  <a:lnTo>
                    <a:pt x="137" y="214"/>
                  </a:lnTo>
                  <a:cubicBezTo>
                    <a:pt x="155" y="214"/>
                    <a:pt x="167" y="211"/>
                    <a:pt x="175" y="206"/>
                  </a:cubicBezTo>
                  <a:cubicBezTo>
                    <a:pt x="182" y="201"/>
                    <a:pt x="186" y="192"/>
                    <a:pt x="186" y="181"/>
                  </a:cubicBezTo>
                  <a:close/>
                  <a:moveTo>
                    <a:pt x="186" y="51"/>
                  </a:moveTo>
                  <a:cubicBezTo>
                    <a:pt x="186" y="43"/>
                    <a:pt x="183" y="36"/>
                    <a:pt x="178" y="31"/>
                  </a:cubicBezTo>
                  <a:cubicBezTo>
                    <a:pt x="173" y="26"/>
                    <a:pt x="166" y="24"/>
                    <a:pt x="157" y="23"/>
                  </a:cubicBezTo>
                  <a:lnTo>
                    <a:pt x="157" y="0"/>
                  </a:lnTo>
                  <a:cubicBezTo>
                    <a:pt x="171" y="1"/>
                    <a:pt x="183" y="6"/>
                    <a:pt x="192" y="15"/>
                  </a:cubicBezTo>
                  <a:cubicBezTo>
                    <a:pt x="202" y="25"/>
                    <a:pt x="206" y="37"/>
                    <a:pt x="206" y="51"/>
                  </a:cubicBezTo>
                  <a:cubicBezTo>
                    <a:pt x="206" y="69"/>
                    <a:pt x="201" y="83"/>
                    <a:pt x="189" y="93"/>
                  </a:cubicBezTo>
                  <a:cubicBezTo>
                    <a:pt x="177" y="103"/>
                    <a:pt x="160" y="108"/>
                    <a:pt x="137" y="108"/>
                  </a:cubicBezTo>
                  <a:lnTo>
                    <a:pt x="121" y="108"/>
                  </a:lnTo>
                  <a:cubicBezTo>
                    <a:pt x="98" y="108"/>
                    <a:pt x="81" y="103"/>
                    <a:pt x="69" y="93"/>
                  </a:cubicBezTo>
                  <a:cubicBezTo>
                    <a:pt x="57" y="83"/>
                    <a:pt x="52" y="69"/>
                    <a:pt x="52" y="51"/>
                  </a:cubicBezTo>
                  <a:cubicBezTo>
                    <a:pt x="52" y="36"/>
                    <a:pt x="56" y="23"/>
                    <a:pt x="66" y="14"/>
                  </a:cubicBezTo>
                  <a:cubicBezTo>
                    <a:pt x="76" y="5"/>
                    <a:pt x="89" y="1"/>
                    <a:pt x="106" y="0"/>
                  </a:cubicBezTo>
                  <a:lnTo>
                    <a:pt x="106" y="23"/>
                  </a:lnTo>
                  <a:cubicBezTo>
                    <a:pt x="95" y="24"/>
                    <a:pt x="86" y="26"/>
                    <a:pt x="81" y="31"/>
                  </a:cubicBezTo>
                  <a:cubicBezTo>
                    <a:pt x="75" y="36"/>
                    <a:pt x="72" y="42"/>
                    <a:pt x="72" y="51"/>
                  </a:cubicBezTo>
                  <a:cubicBezTo>
                    <a:pt x="72" y="62"/>
                    <a:pt x="76" y="70"/>
                    <a:pt x="83" y="75"/>
                  </a:cubicBezTo>
                  <a:cubicBezTo>
                    <a:pt x="90" y="80"/>
                    <a:pt x="102" y="83"/>
                    <a:pt x="118" y="83"/>
                  </a:cubicBezTo>
                  <a:lnTo>
                    <a:pt x="137" y="83"/>
                  </a:lnTo>
                  <a:cubicBezTo>
                    <a:pt x="155" y="83"/>
                    <a:pt x="167" y="80"/>
                    <a:pt x="175" y="75"/>
                  </a:cubicBezTo>
                  <a:cubicBezTo>
                    <a:pt x="182" y="70"/>
                    <a:pt x="186" y="62"/>
                    <a:pt x="186" y="51"/>
                  </a:cubicBezTo>
                  <a:close/>
                  <a:moveTo>
                    <a:pt x="461" y="1715"/>
                  </a:moveTo>
                  <a:cubicBezTo>
                    <a:pt x="437" y="1715"/>
                    <a:pt x="415" y="1712"/>
                    <a:pt x="393" y="1705"/>
                  </a:cubicBezTo>
                  <a:cubicBezTo>
                    <a:pt x="372" y="1699"/>
                    <a:pt x="353" y="1689"/>
                    <a:pt x="337" y="1677"/>
                  </a:cubicBezTo>
                  <a:cubicBezTo>
                    <a:pt x="328" y="1670"/>
                    <a:pt x="321" y="1663"/>
                    <a:pt x="316" y="1656"/>
                  </a:cubicBezTo>
                  <a:lnTo>
                    <a:pt x="333" y="1652"/>
                  </a:lnTo>
                  <a:cubicBezTo>
                    <a:pt x="344" y="1663"/>
                    <a:pt x="359" y="1672"/>
                    <a:pt x="381" y="1679"/>
                  </a:cubicBezTo>
                  <a:cubicBezTo>
                    <a:pt x="402" y="1686"/>
                    <a:pt x="426" y="1690"/>
                    <a:pt x="452" y="1690"/>
                  </a:cubicBezTo>
                  <a:lnTo>
                    <a:pt x="463" y="1690"/>
                  </a:lnTo>
                  <a:cubicBezTo>
                    <a:pt x="495" y="1690"/>
                    <a:pt x="524" y="1686"/>
                    <a:pt x="549" y="1677"/>
                  </a:cubicBezTo>
                  <a:cubicBezTo>
                    <a:pt x="568" y="1670"/>
                    <a:pt x="582" y="1661"/>
                    <a:pt x="592" y="1652"/>
                  </a:cubicBezTo>
                  <a:lnTo>
                    <a:pt x="608" y="1656"/>
                  </a:lnTo>
                  <a:cubicBezTo>
                    <a:pt x="602" y="1665"/>
                    <a:pt x="593" y="1673"/>
                    <a:pt x="580" y="1682"/>
                  </a:cubicBezTo>
                  <a:cubicBezTo>
                    <a:pt x="547" y="1704"/>
                    <a:pt x="507" y="1715"/>
                    <a:pt x="461" y="1715"/>
                  </a:cubicBezTo>
                  <a:close/>
                  <a:moveTo>
                    <a:pt x="543" y="1521"/>
                  </a:moveTo>
                  <a:lnTo>
                    <a:pt x="543" y="1545"/>
                  </a:lnTo>
                  <a:lnTo>
                    <a:pt x="415" y="1545"/>
                  </a:lnTo>
                  <a:lnTo>
                    <a:pt x="415" y="1599"/>
                  </a:lnTo>
                  <a:lnTo>
                    <a:pt x="543" y="1599"/>
                  </a:lnTo>
                  <a:lnTo>
                    <a:pt x="543" y="1624"/>
                  </a:lnTo>
                  <a:lnTo>
                    <a:pt x="394" y="1624"/>
                  </a:lnTo>
                  <a:lnTo>
                    <a:pt x="394" y="1521"/>
                  </a:lnTo>
                  <a:lnTo>
                    <a:pt x="543" y="1521"/>
                  </a:lnTo>
                  <a:close/>
                  <a:moveTo>
                    <a:pt x="475" y="1374"/>
                  </a:moveTo>
                  <a:cubicBezTo>
                    <a:pt x="499" y="1374"/>
                    <a:pt x="517" y="1378"/>
                    <a:pt x="528" y="1387"/>
                  </a:cubicBezTo>
                  <a:cubicBezTo>
                    <a:pt x="540" y="1395"/>
                    <a:pt x="546" y="1407"/>
                    <a:pt x="546" y="1423"/>
                  </a:cubicBezTo>
                  <a:cubicBezTo>
                    <a:pt x="546" y="1438"/>
                    <a:pt x="540" y="1449"/>
                    <a:pt x="529" y="1457"/>
                  </a:cubicBezTo>
                  <a:lnTo>
                    <a:pt x="600" y="1457"/>
                  </a:lnTo>
                  <a:lnTo>
                    <a:pt x="600" y="1482"/>
                  </a:lnTo>
                  <a:lnTo>
                    <a:pt x="394" y="1482"/>
                  </a:lnTo>
                  <a:lnTo>
                    <a:pt x="394" y="1460"/>
                  </a:lnTo>
                  <a:lnTo>
                    <a:pt x="410" y="1458"/>
                  </a:lnTo>
                  <a:cubicBezTo>
                    <a:pt x="397" y="1450"/>
                    <a:pt x="391" y="1438"/>
                    <a:pt x="391" y="1423"/>
                  </a:cubicBezTo>
                  <a:cubicBezTo>
                    <a:pt x="391" y="1407"/>
                    <a:pt x="396" y="1395"/>
                    <a:pt x="408" y="1386"/>
                  </a:cubicBezTo>
                  <a:cubicBezTo>
                    <a:pt x="419" y="1378"/>
                    <a:pt x="436" y="1374"/>
                    <a:pt x="459" y="1374"/>
                  </a:cubicBezTo>
                  <a:lnTo>
                    <a:pt x="475" y="1374"/>
                  </a:lnTo>
                  <a:close/>
                  <a:moveTo>
                    <a:pt x="461" y="1398"/>
                  </a:moveTo>
                  <a:cubicBezTo>
                    <a:pt x="445" y="1398"/>
                    <a:pt x="432" y="1401"/>
                    <a:pt x="424" y="1406"/>
                  </a:cubicBezTo>
                  <a:cubicBezTo>
                    <a:pt x="416" y="1411"/>
                    <a:pt x="412" y="1419"/>
                    <a:pt x="412" y="1431"/>
                  </a:cubicBezTo>
                  <a:cubicBezTo>
                    <a:pt x="412" y="1442"/>
                    <a:pt x="418" y="1451"/>
                    <a:pt x="430" y="1457"/>
                  </a:cubicBezTo>
                  <a:lnTo>
                    <a:pt x="508" y="1457"/>
                  </a:lnTo>
                  <a:cubicBezTo>
                    <a:pt x="519" y="1451"/>
                    <a:pt x="525" y="1442"/>
                    <a:pt x="525" y="1430"/>
                  </a:cubicBezTo>
                  <a:cubicBezTo>
                    <a:pt x="525" y="1419"/>
                    <a:pt x="521" y="1411"/>
                    <a:pt x="513" y="1406"/>
                  </a:cubicBezTo>
                  <a:cubicBezTo>
                    <a:pt x="505" y="1401"/>
                    <a:pt x="493" y="1398"/>
                    <a:pt x="476" y="1398"/>
                  </a:cubicBezTo>
                  <a:lnTo>
                    <a:pt x="461" y="1398"/>
                  </a:lnTo>
                  <a:close/>
                  <a:moveTo>
                    <a:pt x="461" y="1347"/>
                  </a:moveTo>
                  <a:cubicBezTo>
                    <a:pt x="440" y="1347"/>
                    <a:pt x="422" y="1342"/>
                    <a:pt x="410" y="1332"/>
                  </a:cubicBezTo>
                  <a:cubicBezTo>
                    <a:pt x="397" y="1321"/>
                    <a:pt x="391" y="1307"/>
                    <a:pt x="391" y="1290"/>
                  </a:cubicBezTo>
                  <a:cubicBezTo>
                    <a:pt x="391" y="1273"/>
                    <a:pt x="397" y="1259"/>
                    <a:pt x="409" y="1248"/>
                  </a:cubicBezTo>
                  <a:cubicBezTo>
                    <a:pt x="422" y="1238"/>
                    <a:pt x="438" y="1232"/>
                    <a:pt x="460" y="1232"/>
                  </a:cubicBezTo>
                  <a:lnTo>
                    <a:pt x="475" y="1232"/>
                  </a:lnTo>
                  <a:cubicBezTo>
                    <a:pt x="497" y="1232"/>
                    <a:pt x="514" y="1237"/>
                    <a:pt x="527" y="1248"/>
                  </a:cubicBezTo>
                  <a:cubicBezTo>
                    <a:pt x="539" y="1258"/>
                    <a:pt x="546" y="1272"/>
                    <a:pt x="546" y="1290"/>
                  </a:cubicBezTo>
                  <a:cubicBezTo>
                    <a:pt x="546" y="1307"/>
                    <a:pt x="540" y="1321"/>
                    <a:pt x="527" y="1331"/>
                  </a:cubicBezTo>
                  <a:cubicBezTo>
                    <a:pt x="515" y="1342"/>
                    <a:pt x="498" y="1347"/>
                    <a:pt x="478" y="1347"/>
                  </a:cubicBezTo>
                  <a:lnTo>
                    <a:pt x="461" y="1347"/>
                  </a:lnTo>
                  <a:close/>
                  <a:moveTo>
                    <a:pt x="475" y="1323"/>
                  </a:moveTo>
                  <a:cubicBezTo>
                    <a:pt x="491" y="1323"/>
                    <a:pt x="503" y="1320"/>
                    <a:pt x="512" y="1314"/>
                  </a:cubicBezTo>
                  <a:cubicBezTo>
                    <a:pt x="520" y="1308"/>
                    <a:pt x="525" y="1300"/>
                    <a:pt x="525" y="1290"/>
                  </a:cubicBezTo>
                  <a:cubicBezTo>
                    <a:pt x="525" y="1268"/>
                    <a:pt x="509" y="1257"/>
                    <a:pt x="478" y="1256"/>
                  </a:cubicBezTo>
                  <a:lnTo>
                    <a:pt x="461" y="1256"/>
                  </a:lnTo>
                  <a:cubicBezTo>
                    <a:pt x="446" y="1256"/>
                    <a:pt x="434" y="1259"/>
                    <a:pt x="425" y="1265"/>
                  </a:cubicBezTo>
                  <a:cubicBezTo>
                    <a:pt x="416" y="1272"/>
                    <a:pt x="412" y="1280"/>
                    <a:pt x="412" y="1290"/>
                  </a:cubicBezTo>
                  <a:cubicBezTo>
                    <a:pt x="412" y="1300"/>
                    <a:pt x="416" y="1308"/>
                    <a:pt x="425" y="1314"/>
                  </a:cubicBezTo>
                  <a:cubicBezTo>
                    <a:pt x="434" y="1320"/>
                    <a:pt x="446" y="1323"/>
                    <a:pt x="461" y="1323"/>
                  </a:cubicBezTo>
                  <a:lnTo>
                    <a:pt x="475" y="1323"/>
                  </a:lnTo>
                  <a:close/>
                  <a:moveTo>
                    <a:pt x="471" y="1205"/>
                  </a:moveTo>
                  <a:cubicBezTo>
                    <a:pt x="446" y="1205"/>
                    <a:pt x="427" y="1201"/>
                    <a:pt x="412" y="1193"/>
                  </a:cubicBezTo>
                  <a:cubicBezTo>
                    <a:pt x="398" y="1185"/>
                    <a:pt x="391" y="1173"/>
                    <a:pt x="391" y="1159"/>
                  </a:cubicBezTo>
                  <a:cubicBezTo>
                    <a:pt x="391" y="1153"/>
                    <a:pt x="392" y="1148"/>
                    <a:pt x="394" y="1143"/>
                  </a:cubicBezTo>
                  <a:lnTo>
                    <a:pt x="331" y="1143"/>
                  </a:lnTo>
                  <a:lnTo>
                    <a:pt x="331" y="1119"/>
                  </a:lnTo>
                  <a:lnTo>
                    <a:pt x="395" y="1119"/>
                  </a:lnTo>
                  <a:cubicBezTo>
                    <a:pt x="392" y="1114"/>
                    <a:pt x="391" y="1108"/>
                    <a:pt x="391" y="1101"/>
                  </a:cubicBezTo>
                  <a:cubicBezTo>
                    <a:pt x="391" y="1086"/>
                    <a:pt x="398" y="1075"/>
                    <a:pt x="412" y="1067"/>
                  </a:cubicBezTo>
                  <a:cubicBezTo>
                    <a:pt x="426" y="1059"/>
                    <a:pt x="447" y="1055"/>
                    <a:pt x="474" y="1055"/>
                  </a:cubicBezTo>
                  <a:cubicBezTo>
                    <a:pt x="496" y="1055"/>
                    <a:pt x="514" y="1059"/>
                    <a:pt x="527" y="1067"/>
                  </a:cubicBezTo>
                  <a:cubicBezTo>
                    <a:pt x="539" y="1075"/>
                    <a:pt x="546" y="1086"/>
                    <a:pt x="546" y="1100"/>
                  </a:cubicBezTo>
                  <a:cubicBezTo>
                    <a:pt x="546" y="1107"/>
                    <a:pt x="545" y="1114"/>
                    <a:pt x="542" y="1119"/>
                  </a:cubicBezTo>
                  <a:lnTo>
                    <a:pt x="600" y="1119"/>
                  </a:lnTo>
                  <a:lnTo>
                    <a:pt x="600" y="1143"/>
                  </a:lnTo>
                  <a:lnTo>
                    <a:pt x="543" y="1143"/>
                  </a:lnTo>
                  <a:cubicBezTo>
                    <a:pt x="545" y="1148"/>
                    <a:pt x="546" y="1154"/>
                    <a:pt x="546" y="1159"/>
                  </a:cubicBezTo>
                  <a:cubicBezTo>
                    <a:pt x="546" y="1174"/>
                    <a:pt x="539" y="1185"/>
                    <a:pt x="526" y="1193"/>
                  </a:cubicBezTo>
                  <a:cubicBezTo>
                    <a:pt x="513" y="1201"/>
                    <a:pt x="495" y="1205"/>
                    <a:pt x="471" y="1205"/>
                  </a:cubicBezTo>
                  <a:close/>
                  <a:moveTo>
                    <a:pt x="471" y="1079"/>
                  </a:moveTo>
                  <a:cubicBezTo>
                    <a:pt x="452" y="1079"/>
                    <a:pt x="438" y="1082"/>
                    <a:pt x="427" y="1087"/>
                  </a:cubicBezTo>
                  <a:cubicBezTo>
                    <a:pt x="417" y="1092"/>
                    <a:pt x="412" y="1099"/>
                    <a:pt x="412" y="1108"/>
                  </a:cubicBezTo>
                  <a:cubicBezTo>
                    <a:pt x="412" y="1112"/>
                    <a:pt x="412" y="1116"/>
                    <a:pt x="414" y="1119"/>
                  </a:cubicBezTo>
                  <a:lnTo>
                    <a:pt x="523" y="1119"/>
                  </a:lnTo>
                  <a:cubicBezTo>
                    <a:pt x="524" y="1116"/>
                    <a:pt x="525" y="1112"/>
                    <a:pt x="525" y="1108"/>
                  </a:cubicBezTo>
                  <a:cubicBezTo>
                    <a:pt x="525" y="1099"/>
                    <a:pt x="521" y="1092"/>
                    <a:pt x="512" y="1087"/>
                  </a:cubicBezTo>
                  <a:cubicBezTo>
                    <a:pt x="503" y="1082"/>
                    <a:pt x="489" y="1079"/>
                    <a:pt x="471" y="1079"/>
                  </a:cubicBezTo>
                  <a:close/>
                  <a:moveTo>
                    <a:pt x="474" y="1180"/>
                  </a:moveTo>
                  <a:cubicBezTo>
                    <a:pt x="491" y="1180"/>
                    <a:pt x="504" y="1178"/>
                    <a:pt x="512" y="1174"/>
                  </a:cubicBezTo>
                  <a:cubicBezTo>
                    <a:pt x="521" y="1169"/>
                    <a:pt x="525" y="1162"/>
                    <a:pt x="525" y="1153"/>
                  </a:cubicBezTo>
                  <a:cubicBezTo>
                    <a:pt x="525" y="1149"/>
                    <a:pt x="524" y="1146"/>
                    <a:pt x="523" y="1143"/>
                  </a:cubicBezTo>
                  <a:lnTo>
                    <a:pt x="413" y="1143"/>
                  </a:lnTo>
                  <a:cubicBezTo>
                    <a:pt x="412" y="1147"/>
                    <a:pt x="412" y="1150"/>
                    <a:pt x="412" y="1153"/>
                  </a:cubicBezTo>
                  <a:cubicBezTo>
                    <a:pt x="412" y="1162"/>
                    <a:pt x="417" y="1169"/>
                    <a:pt x="427" y="1173"/>
                  </a:cubicBezTo>
                  <a:cubicBezTo>
                    <a:pt x="437" y="1178"/>
                    <a:pt x="452" y="1180"/>
                    <a:pt x="474" y="1180"/>
                  </a:cubicBezTo>
                  <a:close/>
                  <a:moveTo>
                    <a:pt x="394" y="942"/>
                  </a:moveTo>
                  <a:lnTo>
                    <a:pt x="394" y="918"/>
                  </a:lnTo>
                  <a:lnTo>
                    <a:pt x="543" y="918"/>
                  </a:lnTo>
                  <a:lnTo>
                    <a:pt x="543" y="942"/>
                  </a:lnTo>
                  <a:lnTo>
                    <a:pt x="434" y="942"/>
                  </a:lnTo>
                  <a:lnTo>
                    <a:pt x="543" y="996"/>
                  </a:lnTo>
                  <a:lnTo>
                    <a:pt x="543" y="1020"/>
                  </a:lnTo>
                  <a:lnTo>
                    <a:pt x="394" y="1020"/>
                  </a:lnTo>
                  <a:lnTo>
                    <a:pt x="394" y="996"/>
                  </a:lnTo>
                  <a:lnTo>
                    <a:pt x="503" y="996"/>
                  </a:lnTo>
                  <a:lnTo>
                    <a:pt x="394" y="942"/>
                  </a:lnTo>
                  <a:close/>
                  <a:moveTo>
                    <a:pt x="394" y="773"/>
                  </a:moveTo>
                  <a:lnTo>
                    <a:pt x="543" y="773"/>
                  </a:lnTo>
                  <a:lnTo>
                    <a:pt x="543" y="798"/>
                  </a:lnTo>
                  <a:lnTo>
                    <a:pt x="415" y="798"/>
                  </a:lnTo>
                  <a:lnTo>
                    <a:pt x="415" y="837"/>
                  </a:lnTo>
                  <a:lnTo>
                    <a:pt x="465" y="840"/>
                  </a:lnTo>
                  <a:cubicBezTo>
                    <a:pt x="493" y="841"/>
                    <a:pt x="513" y="845"/>
                    <a:pt x="525" y="851"/>
                  </a:cubicBezTo>
                  <a:cubicBezTo>
                    <a:pt x="537" y="857"/>
                    <a:pt x="543" y="867"/>
                    <a:pt x="543" y="881"/>
                  </a:cubicBezTo>
                  <a:lnTo>
                    <a:pt x="543" y="889"/>
                  </a:lnTo>
                  <a:lnTo>
                    <a:pt x="520" y="889"/>
                  </a:lnTo>
                  <a:lnTo>
                    <a:pt x="520" y="883"/>
                  </a:lnTo>
                  <a:cubicBezTo>
                    <a:pt x="519" y="876"/>
                    <a:pt x="514" y="871"/>
                    <a:pt x="506" y="868"/>
                  </a:cubicBezTo>
                  <a:cubicBezTo>
                    <a:pt x="498" y="866"/>
                    <a:pt x="482" y="864"/>
                    <a:pt x="457" y="863"/>
                  </a:cubicBezTo>
                  <a:lnTo>
                    <a:pt x="394" y="861"/>
                  </a:lnTo>
                  <a:lnTo>
                    <a:pt x="394" y="773"/>
                  </a:lnTo>
                  <a:close/>
                  <a:moveTo>
                    <a:pt x="445" y="708"/>
                  </a:moveTo>
                  <a:lnTo>
                    <a:pt x="445" y="677"/>
                  </a:lnTo>
                  <a:cubicBezTo>
                    <a:pt x="445" y="663"/>
                    <a:pt x="449" y="652"/>
                    <a:pt x="458" y="643"/>
                  </a:cubicBezTo>
                  <a:cubicBezTo>
                    <a:pt x="467" y="635"/>
                    <a:pt x="479" y="631"/>
                    <a:pt x="493" y="631"/>
                  </a:cubicBezTo>
                  <a:cubicBezTo>
                    <a:pt x="508" y="631"/>
                    <a:pt x="520" y="635"/>
                    <a:pt x="529" y="643"/>
                  </a:cubicBezTo>
                  <a:cubicBezTo>
                    <a:pt x="538" y="652"/>
                    <a:pt x="543" y="663"/>
                    <a:pt x="543" y="677"/>
                  </a:cubicBezTo>
                  <a:lnTo>
                    <a:pt x="543" y="732"/>
                  </a:lnTo>
                  <a:lnTo>
                    <a:pt x="394" y="732"/>
                  </a:lnTo>
                  <a:lnTo>
                    <a:pt x="394" y="708"/>
                  </a:lnTo>
                  <a:lnTo>
                    <a:pt x="445" y="708"/>
                  </a:lnTo>
                  <a:close/>
                  <a:moveTo>
                    <a:pt x="466" y="708"/>
                  </a:moveTo>
                  <a:lnTo>
                    <a:pt x="522" y="708"/>
                  </a:lnTo>
                  <a:lnTo>
                    <a:pt x="522" y="678"/>
                  </a:lnTo>
                  <a:cubicBezTo>
                    <a:pt x="522" y="671"/>
                    <a:pt x="520" y="665"/>
                    <a:pt x="515" y="661"/>
                  </a:cubicBezTo>
                  <a:cubicBezTo>
                    <a:pt x="510" y="657"/>
                    <a:pt x="503" y="655"/>
                    <a:pt x="494" y="655"/>
                  </a:cubicBezTo>
                  <a:cubicBezTo>
                    <a:pt x="486" y="655"/>
                    <a:pt x="479" y="657"/>
                    <a:pt x="474" y="661"/>
                  </a:cubicBezTo>
                  <a:cubicBezTo>
                    <a:pt x="469" y="665"/>
                    <a:pt x="466" y="670"/>
                    <a:pt x="466" y="677"/>
                  </a:cubicBezTo>
                  <a:lnTo>
                    <a:pt x="466" y="708"/>
                  </a:lnTo>
                  <a:close/>
                  <a:moveTo>
                    <a:pt x="543" y="495"/>
                  </a:moveTo>
                  <a:lnTo>
                    <a:pt x="543" y="519"/>
                  </a:lnTo>
                  <a:lnTo>
                    <a:pt x="479" y="519"/>
                  </a:lnTo>
                  <a:lnTo>
                    <a:pt x="479" y="573"/>
                  </a:lnTo>
                  <a:lnTo>
                    <a:pt x="543" y="573"/>
                  </a:lnTo>
                  <a:lnTo>
                    <a:pt x="543" y="597"/>
                  </a:lnTo>
                  <a:lnTo>
                    <a:pt x="394" y="597"/>
                  </a:lnTo>
                  <a:lnTo>
                    <a:pt x="394" y="573"/>
                  </a:lnTo>
                  <a:lnTo>
                    <a:pt x="458" y="573"/>
                  </a:lnTo>
                  <a:lnTo>
                    <a:pt x="458" y="519"/>
                  </a:lnTo>
                  <a:lnTo>
                    <a:pt x="394" y="519"/>
                  </a:lnTo>
                  <a:lnTo>
                    <a:pt x="394" y="495"/>
                  </a:lnTo>
                  <a:lnTo>
                    <a:pt x="543" y="495"/>
                  </a:lnTo>
                  <a:close/>
                  <a:moveTo>
                    <a:pt x="543" y="379"/>
                  </a:moveTo>
                  <a:cubicBezTo>
                    <a:pt x="540" y="380"/>
                    <a:pt x="534" y="381"/>
                    <a:pt x="527" y="382"/>
                  </a:cubicBezTo>
                  <a:cubicBezTo>
                    <a:pt x="539" y="391"/>
                    <a:pt x="546" y="402"/>
                    <a:pt x="546" y="415"/>
                  </a:cubicBezTo>
                  <a:cubicBezTo>
                    <a:pt x="546" y="429"/>
                    <a:pt x="542" y="439"/>
                    <a:pt x="534" y="447"/>
                  </a:cubicBezTo>
                  <a:cubicBezTo>
                    <a:pt x="527" y="454"/>
                    <a:pt x="516" y="458"/>
                    <a:pt x="502" y="458"/>
                  </a:cubicBezTo>
                  <a:cubicBezTo>
                    <a:pt x="487" y="458"/>
                    <a:pt x="475" y="453"/>
                    <a:pt x="466" y="443"/>
                  </a:cubicBezTo>
                  <a:cubicBezTo>
                    <a:pt x="457" y="432"/>
                    <a:pt x="452" y="418"/>
                    <a:pt x="452" y="400"/>
                  </a:cubicBezTo>
                  <a:lnTo>
                    <a:pt x="452" y="382"/>
                  </a:lnTo>
                  <a:lnTo>
                    <a:pt x="436" y="382"/>
                  </a:lnTo>
                  <a:cubicBezTo>
                    <a:pt x="427" y="382"/>
                    <a:pt x="421" y="384"/>
                    <a:pt x="417" y="388"/>
                  </a:cubicBezTo>
                  <a:cubicBezTo>
                    <a:pt x="414" y="392"/>
                    <a:pt x="412" y="398"/>
                    <a:pt x="412" y="406"/>
                  </a:cubicBezTo>
                  <a:cubicBezTo>
                    <a:pt x="412" y="414"/>
                    <a:pt x="414" y="420"/>
                    <a:pt x="418" y="424"/>
                  </a:cubicBezTo>
                  <a:cubicBezTo>
                    <a:pt x="423" y="429"/>
                    <a:pt x="428" y="431"/>
                    <a:pt x="435" y="431"/>
                  </a:cubicBezTo>
                  <a:lnTo>
                    <a:pt x="435" y="456"/>
                  </a:lnTo>
                  <a:cubicBezTo>
                    <a:pt x="427" y="456"/>
                    <a:pt x="420" y="453"/>
                    <a:pt x="413" y="449"/>
                  </a:cubicBezTo>
                  <a:cubicBezTo>
                    <a:pt x="406" y="444"/>
                    <a:pt x="401" y="438"/>
                    <a:pt x="397" y="431"/>
                  </a:cubicBezTo>
                  <a:cubicBezTo>
                    <a:pt x="393" y="423"/>
                    <a:pt x="391" y="415"/>
                    <a:pt x="391" y="405"/>
                  </a:cubicBezTo>
                  <a:cubicBezTo>
                    <a:pt x="391" y="390"/>
                    <a:pt x="395" y="378"/>
                    <a:pt x="402" y="370"/>
                  </a:cubicBezTo>
                  <a:cubicBezTo>
                    <a:pt x="410" y="362"/>
                    <a:pt x="421" y="358"/>
                    <a:pt x="435" y="358"/>
                  </a:cubicBezTo>
                  <a:lnTo>
                    <a:pt x="511" y="358"/>
                  </a:lnTo>
                  <a:cubicBezTo>
                    <a:pt x="522" y="358"/>
                    <a:pt x="532" y="356"/>
                    <a:pt x="541" y="353"/>
                  </a:cubicBezTo>
                  <a:lnTo>
                    <a:pt x="543" y="353"/>
                  </a:lnTo>
                  <a:lnTo>
                    <a:pt x="543" y="379"/>
                  </a:lnTo>
                  <a:close/>
                  <a:moveTo>
                    <a:pt x="523" y="411"/>
                  </a:moveTo>
                  <a:cubicBezTo>
                    <a:pt x="523" y="405"/>
                    <a:pt x="522" y="400"/>
                    <a:pt x="518" y="394"/>
                  </a:cubicBezTo>
                  <a:cubicBezTo>
                    <a:pt x="515" y="389"/>
                    <a:pt x="511" y="385"/>
                    <a:pt x="506" y="382"/>
                  </a:cubicBezTo>
                  <a:lnTo>
                    <a:pt x="470" y="382"/>
                  </a:lnTo>
                  <a:lnTo>
                    <a:pt x="470" y="396"/>
                  </a:lnTo>
                  <a:cubicBezTo>
                    <a:pt x="471" y="408"/>
                    <a:pt x="473" y="417"/>
                    <a:pt x="478" y="424"/>
                  </a:cubicBezTo>
                  <a:cubicBezTo>
                    <a:pt x="483" y="430"/>
                    <a:pt x="490" y="434"/>
                    <a:pt x="499" y="434"/>
                  </a:cubicBezTo>
                  <a:cubicBezTo>
                    <a:pt x="508" y="434"/>
                    <a:pt x="514" y="432"/>
                    <a:pt x="518" y="429"/>
                  </a:cubicBezTo>
                  <a:cubicBezTo>
                    <a:pt x="521" y="425"/>
                    <a:pt x="523" y="420"/>
                    <a:pt x="523" y="411"/>
                  </a:cubicBezTo>
                  <a:close/>
                  <a:moveTo>
                    <a:pt x="394" y="223"/>
                  </a:moveTo>
                  <a:lnTo>
                    <a:pt x="543" y="223"/>
                  </a:lnTo>
                  <a:lnTo>
                    <a:pt x="543" y="247"/>
                  </a:lnTo>
                  <a:lnTo>
                    <a:pt x="485" y="247"/>
                  </a:lnTo>
                  <a:lnTo>
                    <a:pt x="485" y="276"/>
                  </a:lnTo>
                  <a:lnTo>
                    <a:pt x="543" y="306"/>
                  </a:lnTo>
                  <a:lnTo>
                    <a:pt x="543" y="332"/>
                  </a:lnTo>
                  <a:lnTo>
                    <a:pt x="480" y="300"/>
                  </a:lnTo>
                  <a:cubicBezTo>
                    <a:pt x="477" y="308"/>
                    <a:pt x="472" y="314"/>
                    <a:pt x="464" y="319"/>
                  </a:cubicBezTo>
                  <a:cubicBezTo>
                    <a:pt x="457" y="323"/>
                    <a:pt x="449" y="325"/>
                    <a:pt x="439" y="325"/>
                  </a:cubicBezTo>
                  <a:cubicBezTo>
                    <a:pt x="425" y="325"/>
                    <a:pt x="414" y="320"/>
                    <a:pt x="406" y="312"/>
                  </a:cubicBezTo>
                  <a:cubicBezTo>
                    <a:pt x="398" y="303"/>
                    <a:pt x="394" y="291"/>
                    <a:pt x="394" y="276"/>
                  </a:cubicBezTo>
                  <a:lnTo>
                    <a:pt x="394" y="223"/>
                  </a:lnTo>
                  <a:close/>
                  <a:moveTo>
                    <a:pt x="439" y="300"/>
                  </a:moveTo>
                  <a:cubicBezTo>
                    <a:pt x="447" y="300"/>
                    <a:pt x="453" y="298"/>
                    <a:pt x="457" y="294"/>
                  </a:cubicBezTo>
                  <a:cubicBezTo>
                    <a:pt x="462" y="291"/>
                    <a:pt x="464" y="285"/>
                    <a:pt x="464" y="278"/>
                  </a:cubicBezTo>
                  <a:lnTo>
                    <a:pt x="464" y="247"/>
                  </a:lnTo>
                  <a:lnTo>
                    <a:pt x="414" y="247"/>
                  </a:lnTo>
                  <a:lnTo>
                    <a:pt x="414" y="276"/>
                  </a:lnTo>
                  <a:cubicBezTo>
                    <a:pt x="414" y="284"/>
                    <a:pt x="417" y="289"/>
                    <a:pt x="421" y="294"/>
                  </a:cubicBezTo>
                  <a:cubicBezTo>
                    <a:pt x="426" y="298"/>
                    <a:pt x="432" y="300"/>
                    <a:pt x="439" y="300"/>
                  </a:cubicBezTo>
                  <a:close/>
                  <a:moveTo>
                    <a:pt x="463" y="131"/>
                  </a:moveTo>
                  <a:cubicBezTo>
                    <a:pt x="504" y="131"/>
                    <a:pt x="540" y="141"/>
                    <a:pt x="572" y="159"/>
                  </a:cubicBezTo>
                  <a:cubicBezTo>
                    <a:pt x="589" y="169"/>
                    <a:pt x="601" y="179"/>
                    <a:pt x="608" y="190"/>
                  </a:cubicBezTo>
                  <a:lnTo>
                    <a:pt x="592" y="195"/>
                  </a:lnTo>
                  <a:cubicBezTo>
                    <a:pt x="581" y="183"/>
                    <a:pt x="564" y="174"/>
                    <a:pt x="541" y="167"/>
                  </a:cubicBezTo>
                  <a:cubicBezTo>
                    <a:pt x="518" y="160"/>
                    <a:pt x="493" y="156"/>
                    <a:pt x="466" y="156"/>
                  </a:cubicBezTo>
                  <a:lnTo>
                    <a:pt x="461" y="156"/>
                  </a:lnTo>
                  <a:cubicBezTo>
                    <a:pt x="426" y="156"/>
                    <a:pt x="395" y="162"/>
                    <a:pt x="367" y="173"/>
                  </a:cubicBezTo>
                  <a:cubicBezTo>
                    <a:pt x="352" y="179"/>
                    <a:pt x="340" y="187"/>
                    <a:pt x="332" y="195"/>
                  </a:cubicBezTo>
                  <a:lnTo>
                    <a:pt x="316" y="190"/>
                  </a:lnTo>
                  <a:cubicBezTo>
                    <a:pt x="323" y="180"/>
                    <a:pt x="334" y="170"/>
                    <a:pt x="350" y="160"/>
                  </a:cubicBezTo>
                  <a:cubicBezTo>
                    <a:pt x="382" y="141"/>
                    <a:pt x="419" y="131"/>
                    <a:pt x="463" y="131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2" name="Freeform 1784"/>
            <p:cNvSpPr>
              <a:spLocks noEditPoints="1"/>
            </p:cNvSpPr>
            <p:nvPr/>
          </p:nvSpPr>
          <p:spPr bwMode="auto">
            <a:xfrm>
              <a:off x="1555269" y="3260557"/>
              <a:ext cx="111571" cy="779006"/>
            </a:xfrm>
            <a:custGeom>
              <a:avLst/>
              <a:gdLst/>
              <a:ahLst/>
              <a:cxnLst>
                <a:cxn ang="0">
                  <a:pos x="203" y="1654"/>
                </a:cxn>
                <a:cxn ang="0">
                  <a:pos x="2" y="1576"/>
                </a:cxn>
                <a:cxn ang="0">
                  <a:pos x="2" y="1545"/>
                </a:cxn>
                <a:cxn ang="0">
                  <a:pos x="166" y="1390"/>
                </a:cxn>
                <a:cxn ang="0">
                  <a:pos x="203" y="1331"/>
                </a:cxn>
                <a:cxn ang="0">
                  <a:pos x="203" y="1400"/>
                </a:cxn>
                <a:cxn ang="0">
                  <a:pos x="203" y="1475"/>
                </a:cxn>
                <a:cxn ang="0">
                  <a:pos x="129" y="1182"/>
                </a:cxn>
                <a:cxn ang="0">
                  <a:pos x="54" y="1267"/>
                </a:cxn>
                <a:cxn ang="0">
                  <a:pos x="30" y="1156"/>
                </a:cxn>
                <a:cxn ang="0">
                  <a:pos x="21" y="1209"/>
                </a:cxn>
                <a:cxn ang="0">
                  <a:pos x="91" y="1204"/>
                </a:cxn>
                <a:cxn ang="0">
                  <a:pos x="206" y="1208"/>
                </a:cxn>
                <a:cxn ang="0">
                  <a:pos x="145" y="1246"/>
                </a:cxn>
                <a:cxn ang="0">
                  <a:pos x="153" y="1174"/>
                </a:cxn>
                <a:cxn ang="0">
                  <a:pos x="98" y="1098"/>
                </a:cxn>
                <a:cxn ang="0">
                  <a:pos x="0" y="1063"/>
                </a:cxn>
                <a:cxn ang="0">
                  <a:pos x="60" y="1028"/>
                </a:cxn>
                <a:cxn ang="0">
                  <a:pos x="54" y="1095"/>
                </a:cxn>
                <a:cxn ang="0">
                  <a:pos x="152" y="1002"/>
                </a:cxn>
                <a:cxn ang="0">
                  <a:pos x="177" y="1117"/>
                </a:cxn>
                <a:cxn ang="0">
                  <a:pos x="184" y="1061"/>
                </a:cxn>
                <a:cxn ang="0">
                  <a:pos x="233" y="987"/>
                </a:cxn>
                <a:cxn ang="0">
                  <a:pos x="193" y="948"/>
                </a:cxn>
                <a:cxn ang="0">
                  <a:pos x="82" y="758"/>
                </a:cxn>
                <a:cxn ang="0">
                  <a:pos x="191" y="762"/>
                </a:cxn>
                <a:cxn ang="0">
                  <a:pos x="119" y="847"/>
                </a:cxn>
                <a:cxn ang="0">
                  <a:pos x="14" y="837"/>
                </a:cxn>
                <a:cxn ang="0">
                  <a:pos x="149" y="772"/>
                </a:cxn>
                <a:cxn ang="0">
                  <a:pos x="149" y="830"/>
                </a:cxn>
                <a:cxn ang="0">
                  <a:pos x="149" y="772"/>
                </a:cxn>
                <a:cxn ang="0">
                  <a:pos x="30" y="819"/>
                </a:cxn>
                <a:cxn ang="0">
                  <a:pos x="80" y="782"/>
                </a:cxn>
                <a:cxn ang="0">
                  <a:pos x="203" y="621"/>
                </a:cxn>
                <a:cxn ang="0">
                  <a:pos x="117" y="621"/>
                </a:cxn>
                <a:cxn ang="0">
                  <a:pos x="125" y="589"/>
                </a:cxn>
                <a:cxn ang="0">
                  <a:pos x="54" y="407"/>
                </a:cxn>
                <a:cxn ang="0">
                  <a:pos x="75" y="471"/>
                </a:cxn>
                <a:cxn ang="0">
                  <a:pos x="203" y="523"/>
                </a:cxn>
                <a:cxn ang="0">
                  <a:pos x="118" y="496"/>
                </a:cxn>
                <a:cxn ang="0">
                  <a:pos x="187" y="295"/>
                </a:cxn>
                <a:cxn ang="0">
                  <a:pos x="126" y="355"/>
                </a:cxn>
                <a:cxn ang="0">
                  <a:pos x="78" y="301"/>
                </a:cxn>
                <a:cxn ang="0">
                  <a:pos x="95" y="368"/>
                </a:cxn>
                <a:cxn ang="0">
                  <a:pos x="63" y="283"/>
                </a:cxn>
                <a:cxn ang="0">
                  <a:pos x="203" y="266"/>
                </a:cxn>
                <a:cxn ang="0">
                  <a:pos x="166" y="295"/>
                </a:cxn>
                <a:cxn ang="0">
                  <a:pos x="160" y="346"/>
                </a:cxn>
                <a:cxn ang="0">
                  <a:pos x="178" y="162"/>
                </a:cxn>
                <a:cxn ang="0">
                  <a:pos x="206" y="181"/>
                </a:cxn>
                <a:cxn ang="0">
                  <a:pos x="69" y="223"/>
                </a:cxn>
                <a:cxn ang="0">
                  <a:pos x="105" y="154"/>
                </a:cxn>
                <a:cxn ang="0">
                  <a:pos x="118" y="213"/>
                </a:cxn>
                <a:cxn ang="0">
                  <a:pos x="185" y="50"/>
                </a:cxn>
                <a:cxn ang="0">
                  <a:pos x="192" y="15"/>
                </a:cxn>
                <a:cxn ang="0">
                  <a:pos x="120" y="107"/>
                </a:cxn>
                <a:cxn ang="0">
                  <a:pos x="105" y="0"/>
                </a:cxn>
                <a:cxn ang="0">
                  <a:pos x="83" y="75"/>
                </a:cxn>
                <a:cxn ang="0">
                  <a:pos x="185" y="50"/>
                </a:cxn>
              </a:cxnLst>
              <a:rect l="0" t="0" r="r" b="b"/>
              <a:pathLst>
                <a:path w="243" h="1707">
                  <a:moveTo>
                    <a:pt x="24" y="1576"/>
                  </a:moveTo>
                  <a:lnTo>
                    <a:pt x="24" y="1629"/>
                  </a:lnTo>
                  <a:lnTo>
                    <a:pt x="203" y="1629"/>
                  </a:lnTo>
                  <a:lnTo>
                    <a:pt x="203" y="1654"/>
                  </a:lnTo>
                  <a:lnTo>
                    <a:pt x="24" y="1654"/>
                  </a:lnTo>
                  <a:lnTo>
                    <a:pt x="24" y="1707"/>
                  </a:lnTo>
                  <a:lnTo>
                    <a:pt x="2" y="1707"/>
                  </a:lnTo>
                  <a:lnTo>
                    <a:pt x="2" y="1576"/>
                  </a:lnTo>
                  <a:lnTo>
                    <a:pt x="24" y="1576"/>
                  </a:lnTo>
                  <a:close/>
                  <a:moveTo>
                    <a:pt x="203" y="1520"/>
                  </a:moveTo>
                  <a:lnTo>
                    <a:pt x="203" y="1545"/>
                  </a:lnTo>
                  <a:lnTo>
                    <a:pt x="2" y="1545"/>
                  </a:lnTo>
                  <a:lnTo>
                    <a:pt x="2" y="1520"/>
                  </a:lnTo>
                  <a:lnTo>
                    <a:pt x="203" y="1520"/>
                  </a:lnTo>
                  <a:close/>
                  <a:moveTo>
                    <a:pt x="2" y="1443"/>
                  </a:moveTo>
                  <a:lnTo>
                    <a:pt x="166" y="1390"/>
                  </a:lnTo>
                  <a:lnTo>
                    <a:pt x="2" y="1338"/>
                  </a:lnTo>
                  <a:lnTo>
                    <a:pt x="2" y="1305"/>
                  </a:lnTo>
                  <a:lnTo>
                    <a:pt x="203" y="1305"/>
                  </a:lnTo>
                  <a:lnTo>
                    <a:pt x="203" y="1331"/>
                  </a:lnTo>
                  <a:lnTo>
                    <a:pt x="125" y="1331"/>
                  </a:lnTo>
                  <a:lnTo>
                    <a:pt x="47" y="1328"/>
                  </a:lnTo>
                  <a:lnTo>
                    <a:pt x="203" y="1381"/>
                  </a:lnTo>
                  <a:lnTo>
                    <a:pt x="203" y="1400"/>
                  </a:lnTo>
                  <a:lnTo>
                    <a:pt x="47" y="1453"/>
                  </a:lnTo>
                  <a:lnTo>
                    <a:pt x="125" y="1450"/>
                  </a:lnTo>
                  <a:lnTo>
                    <a:pt x="203" y="1450"/>
                  </a:lnTo>
                  <a:lnTo>
                    <a:pt x="203" y="1475"/>
                  </a:lnTo>
                  <a:lnTo>
                    <a:pt x="2" y="1475"/>
                  </a:lnTo>
                  <a:lnTo>
                    <a:pt x="2" y="1443"/>
                  </a:lnTo>
                  <a:close/>
                  <a:moveTo>
                    <a:pt x="153" y="1174"/>
                  </a:moveTo>
                  <a:cubicBezTo>
                    <a:pt x="142" y="1174"/>
                    <a:pt x="135" y="1177"/>
                    <a:pt x="129" y="1182"/>
                  </a:cubicBezTo>
                  <a:cubicBezTo>
                    <a:pt x="124" y="1188"/>
                    <a:pt x="119" y="1198"/>
                    <a:pt x="114" y="1212"/>
                  </a:cubicBezTo>
                  <a:cubicBezTo>
                    <a:pt x="109" y="1226"/>
                    <a:pt x="104" y="1237"/>
                    <a:pt x="98" y="1244"/>
                  </a:cubicBezTo>
                  <a:cubicBezTo>
                    <a:pt x="92" y="1252"/>
                    <a:pt x="86" y="1257"/>
                    <a:pt x="79" y="1261"/>
                  </a:cubicBezTo>
                  <a:cubicBezTo>
                    <a:pt x="72" y="1265"/>
                    <a:pt x="64" y="1267"/>
                    <a:pt x="54" y="1267"/>
                  </a:cubicBezTo>
                  <a:cubicBezTo>
                    <a:pt x="38" y="1267"/>
                    <a:pt x="25" y="1261"/>
                    <a:pt x="15" y="1251"/>
                  </a:cubicBezTo>
                  <a:cubicBezTo>
                    <a:pt x="5" y="1240"/>
                    <a:pt x="0" y="1226"/>
                    <a:pt x="0" y="1209"/>
                  </a:cubicBezTo>
                  <a:cubicBezTo>
                    <a:pt x="0" y="1197"/>
                    <a:pt x="2" y="1187"/>
                    <a:pt x="8" y="1177"/>
                  </a:cubicBezTo>
                  <a:cubicBezTo>
                    <a:pt x="13" y="1168"/>
                    <a:pt x="20" y="1161"/>
                    <a:pt x="30" y="1156"/>
                  </a:cubicBezTo>
                  <a:cubicBezTo>
                    <a:pt x="39" y="1151"/>
                    <a:pt x="49" y="1149"/>
                    <a:pt x="60" y="1149"/>
                  </a:cubicBezTo>
                  <a:lnTo>
                    <a:pt x="60" y="1174"/>
                  </a:lnTo>
                  <a:cubicBezTo>
                    <a:pt x="48" y="1174"/>
                    <a:pt x="38" y="1177"/>
                    <a:pt x="32" y="1183"/>
                  </a:cubicBezTo>
                  <a:cubicBezTo>
                    <a:pt x="25" y="1189"/>
                    <a:pt x="21" y="1198"/>
                    <a:pt x="21" y="1209"/>
                  </a:cubicBezTo>
                  <a:cubicBezTo>
                    <a:pt x="21" y="1219"/>
                    <a:pt x="24" y="1227"/>
                    <a:pt x="30" y="1233"/>
                  </a:cubicBezTo>
                  <a:cubicBezTo>
                    <a:pt x="36" y="1238"/>
                    <a:pt x="44" y="1241"/>
                    <a:pt x="54" y="1241"/>
                  </a:cubicBezTo>
                  <a:cubicBezTo>
                    <a:pt x="62" y="1241"/>
                    <a:pt x="70" y="1238"/>
                    <a:pt x="75" y="1232"/>
                  </a:cubicBezTo>
                  <a:cubicBezTo>
                    <a:pt x="81" y="1226"/>
                    <a:pt x="86" y="1217"/>
                    <a:pt x="91" y="1204"/>
                  </a:cubicBezTo>
                  <a:cubicBezTo>
                    <a:pt x="97" y="1184"/>
                    <a:pt x="105" y="1170"/>
                    <a:pt x="115" y="1161"/>
                  </a:cubicBezTo>
                  <a:cubicBezTo>
                    <a:pt x="124" y="1153"/>
                    <a:pt x="137" y="1149"/>
                    <a:pt x="152" y="1149"/>
                  </a:cubicBezTo>
                  <a:cubicBezTo>
                    <a:pt x="169" y="1149"/>
                    <a:pt x="182" y="1154"/>
                    <a:pt x="191" y="1165"/>
                  </a:cubicBezTo>
                  <a:cubicBezTo>
                    <a:pt x="201" y="1175"/>
                    <a:pt x="206" y="1189"/>
                    <a:pt x="206" y="1208"/>
                  </a:cubicBezTo>
                  <a:cubicBezTo>
                    <a:pt x="206" y="1219"/>
                    <a:pt x="204" y="1230"/>
                    <a:pt x="198" y="1240"/>
                  </a:cubicBezTo>
                  <a:cubicBezTo>
                    <a:pt x="193" y="1250"/>
                    <a:pt x="186" y="1258"/>
                    <a:pt x="177" y="1263"/>
                  </a:cubicBezTo>
                  <a:cubicBezTo>
                    <a:pt x="168" y="1269"/>
                    <a:pt x="157" y="1272"/>
                    <a:pt x="145" y="1272"/>
                  </a:cubicBezTo>
                  <a:lnTo>
                    <a:pt x="145" y="1246"/>
                  </a:lnTo>
                  <a:cubicBezTo>
                    <a:pt x="158" y="1246"/>
                    <a:pt x="167" y="1243"/>
                    <a:pt x="174" y="1236"/>
                  </a:cubicBezTo>
                  <a:cubicBezTo>
                    <a:pt x="181" y="1229"/>
                    <a:pt x="184" y="1220"/>
                    <a:pt x="184" y="1208"/>
                  </a:cubicBezTo>
                  <a:cubicBezTo>
                    <a:pt x="184" y="1197"/>
                    <a:pt x="182" y="1188"/>
                    <a:pt x="176" y="1183"/>
                  </a:cubicBezTo>
                  <a:cubicBezTo>
                    <a:pt x="170" y="1177"/>
                    <a:pt x="162" y="1174"/>
                    <a:pt x="153" y="1174"/>
                  </a:cubicBezTo>
                  <a:close/>
                  <a:moveTo>
                    <a:pt x="153" y="1028"/>
                  </a:moveTo>
                  <a:cubicBezTo>
                    <a:pt x="142" y="1028"/>
                    <a:pt x="135" y="1030"/>
                    <a:pt x="129" y="1036"/>
                  </a:cubicBezTo>
                  <a:cubicBezTo>
                    <a:pt x="124" y="1041"/>
                    <a:pt x="119" y="1051"/>
                    <a:pt x="114" y="1065"/>
                  </a:cubicBezTo>
                  <a:cubicBezTo>
                    <a:pt x="109" y="1079"/>
                    <a:pt x="104" y="1090"/>
                    <a:pt x="98" y="1098"/>
                  </a:cubicBezTo>
                  <a:cubicBezTo>
                    <a:pt x="92" y="1105"/>
                    <a:pt x="86" y="1111"/>
                    <a:pt x="79" y="1115"/>
                  </a:cubicBezTo>
                  <a:cubicBezTo>
                    <a:pt x="72" y="1118"/>
                    <a:pt x="64" y="1120"/>
                    <a:pt x="54" y="1120"/>
                  </a:cubicBezTo>
                  <a:cubicBezTo>
                    <a:pt x="38" y="1120"/>
                    <a:pt x="25" y="1115"/>
                    <a:pt x="15" y="1104"/>
                  </a:cubicBezTo>
                  <a:cubicBezTo>
                    <a:pt x="5" y="1094"/>
                    <a:pt x="0" y="1080"/>
                    <a:pt x="0" y="1063"/>
                  </a:cubicBezTo>
                  <a:cubicBezTo>
                    <a:pt x="0" y="1051"/>
                    <a:pt x="2" y="1040"/>
                    <a:pt x="8" y="1031"/>
                  </a:cubicBezTo>
                  <a:cubicBezTo>
                    <a:pt x="13" y="1022"/>
                    <a:pt x="20" y="1015"/>
                    <a:pt x="30" y="1010"/>
                  </a:cubicBezTo>
                  <a:cubicBezTo>
                    <a:pt x="39" y="1005"/>
                    <a:pt x="49" y="1002"/>
                    <a:pt x="60" y="1002"/>
                  </a:cubicBezTo>
                  <a:lnTo>
                    <a:pt x="60" y="1028"/>
                  </a:lnTo>
                  <a:cubicBezTo>
                    <a:pt x="48" y="1028"/>
                    <a:pt x="38" y="1031"/>
                    <a:pt x="32" y="1037"/>
                  </a:cubicBezTo>
                  <a:cubicBezTo>
                    <a:pt x="25" y="1043"/>
                    <a:pt x="21" y="1051"/>
                    <a:pt x="21" y="1063"/>
                  </a:cubicBezTo>
                  <a:cubicBezTo>
                    <a:pt x="21" y="1073"/>
                    <a:pt x="24" y="1081"/>
                    <a:pt x="30" y="1086"/>
                  </a:cubicBezTo>
                  <a:cubicBezTo>
                    <a:pt x="36" y="1092"/>
                    <a:pt x="44" y="1095"/>
                    <a:pt x="54" y="1095"/>
                  </a:cubicBezTo>
                  <a:cubicBezTo>
                    <a:pt x="62" y="1095"/>
                    <a:pt x="70" y="1092"/>
                    <a:pt x="75" y="1086"/>
                  </a:cubicBezTo>
                  <a:cubicBezTo>
                    <a:pt x="81" y="1080"/>
                    <a:pt x="86" y="1070"/>
                    <a:pt x="91" y="1057"/>
                  </a:cubicBezTo>
                  <a:cubicBezTo>
                    <a:pt x="97" y="1038"/>
                    <a:pt x="105" y="1023"/>
                    <a:pt x="115" y="1015"/>
                  </a:cubicBezTo>
                  <a:cubicBezTo>
                    <a:pt x="124" y="1006"/>
                    <a:pt x="137" y="1002"/>
                    <a:pt x="152" y="1002"/>
                  </a:cubicBezTo>
                  <a:cubicBezTo>
                    <a:pt x="169" y="1002"/>
                    <a:pt x="182" y="1007"/>
                    <a:pt x="191" y="1018"/>
                  </a:cubicBezTo>
                  <a:cubicBezTo>
                    <a:pt x="201" y="1029"/>
                    <a:pt x="206" y="1043"/>
                    <a:pt x="206" y="1061"/>
                  </a:cubicBezTo>
                  <a:cubicBezTo>
                    <a:pt x="206" y="1073"/>
                    <a:pt x="204" y="1084"/>
                    <a:pt x="198" y="1094"/>
                  </a:cubicBezTo>
                  <a:cubicBezTo>
                    <a:pt x="193" y="1104"/>
                    <a:pt x="186" y="1111"/>
                    <a:pt x="177" y="1117"/>
                  </a:cubicBezTo>
                  <a:cubicBezTo>
                    <a:pt x="168" y="1123"/>
                    <a:pt x="157" y="1125"/>
                    <a:pt x="145" y="1125"/>
                  </a:cubicBezTo>
                  <a:lnTo>
                    <a:pt x="145" y="1100"/>
                  </a:lnTo>
                  <a:cubicBezTo>
                    <a:pt x="158" y="1100"/>
                    <a:pt x="167" y="1097"/>
                    <a:pt x="174" y="1090"/>
                  </a:cubicBezTo>
                  <a:cubicBezTo>
                    <a:pt x="181" y="1083"/>
                    <a:pt x="184" y="1073"/>
                    <a:pt x="184" y="1061"/>
                  </a:cubicBezTo>
                  <a:cubicBezTo>
                    <a:pt x="184" y="1050"/>
                    <a:pt x="182" y="1042"/>
                    <a:pt x="176" y="1036"/>
                  </a:cubicBezTo>
                  <a:cubicBezTo>
                    <a:pt x="170" y="1031"/>
                    <a:pt x="162" y="1028"/>
                    <a:pt x="153" y="1028"/>
                  </a:cubicBezTo>
                  <a:close/>
                  <a:moveTo>
                    <a:pt x="243" y="972"/>
                  </a:moveTo>
                  <a:lnTo>
                    <a:pt x="233" y="987"/>
                  </a:lnTo>
                  <a:cubicBezTo>
                    <a:pt x="221" y="978"/>
                    <a:pt x="209" y="974"/>
                    <a:pt x="196" y="973"/>
                  </a:cubicBezTo>
                  <a:lnTo>
                    <a:pt x="173" y="973"/>
                  </a:lnTo>
                  <a:lnTo>
                    <a:pt x="173" y="948"/>
                  </a:lnTo>
                  <a:lnTo>
                    <a:pt x="193" y="948"/>
                  </a:lnTo>
                  <a:cubicBezTo>
                    <a:pt x="202" y="948"/>
                    <a:pt x="212" y="951"/>
                    <a:pt x="221" y="955"/>
                  </a:cubicBezTo>
                  <a:cubicBezTo>
                    <a:pt x="230" y="960"/>
                    <a:pt x="238" y="965"/>
                    <a:pt x="243" y="972"/>
                  </a:cubicBezTo>
                  <a:close/>
                  <a:moveTo>
                    <a:pt x="55" y="751"/>
                  </a:moveTo>
                  <a:cubicBezTo>
                    <a:pt x="65" y="751"/>
                    <a:pt x="74" y="753"/>
                    <a:pt x="82" y="758"/>
                  </a:cubicBezTo>
                  <a:cubicBezTo>
                    <a:pt x="89" y="762"/>
                    <a:pt x="96" y="768"/>
                    <a:pt x="100" y="776"/>
                  </a:cubicBezTo>
                  <a:cubicBezTo>
                    <a:pt x="105" y="767"/>
                    <a:pt x="111" y="760"/>
                    <a:pt x="120" y="755"/>
                  </a:cubicBezTo>
                  <a:cubicBezTo>
                    <a:pt x="128" y="750"/>
                    <a:pt x="138" y="747"/>
                    <a:pt x="149" y="747"/>
                  </a:cubicBezTo>
                  <a:cubicBezTo>
                    <a:pt x="166" y="747"/>
                    <a:pt x="180" y="752"/>
                    <a:pt x="191" y="762"/>
                  </a:cubicBezTo>
                  <a:cubicBezTo>
                    <a:pt x="201" y="772"/>
                    <a:pt x="206" y="785"/>
                    <a:pt x="206" y="801"/>
                  </a:cubicBezTo>
                  <a:cubicBezTo>
                    <a:pt x="206" y="817"/>
                    <a:pt x="201" y="830"/>
                    <a:pt x="191" y="840"/>
                  </a:cubicBezTo>
                  <a:cubicBezTo>
                    <a:pt x="180" y="850"/>
                    <a:pt x="166" y="855"/>
                    <a:pt x="149" y="855"/>
                  </a:cubicBezTo>
                  <a:cubicBezTo>
                    <a:pt x="138" y="855"/>
                    <a:pt x="128" y="852"/>
                    <a:pt x="119" y="847"/>
                  </a:cubicBezTo>
                  <a:cubicBezTo>
                    <a:pt x="111" y="842"/>
                    <a:pt x="104" y="835"/>
                    <a:pt x="100" y="826"/>
                  </a:cubicBezTo>
                  <a:cubicBezTo>
                    <a:pt x="95" y="834"/>
                    <a:pt x="89" y="840"/>
                    <a:pt x="81" y="844"/>
                  </a:cubicBezTo>
                  <a:cubicBezTo>
                    <a:pt x="74" y="849"/>
                    <a:pt x="65" y="851"/>
                    <a:pt x="55" y="851"/>
                  </a:cubicBezTo>
                  <a:cubicBezTo>
                    <a:pt x="38" y="851"/>
                    <a:pt x="24" y="846"/>
                    <a:pt x="14" y="837"/>
                  </a:cubicBezTo>
                  <a:cubicBezTo>
                    <a:pt x="5" y="828"/>
                    <a:pt x="0" y="816"/>
                    <a:pt x="0" y="801"/>
                  </a:cubicBezTo>
                  <a:cubicBezTo>
                    <a:pt x="0" y="786"/>
                    <a:pt x="4" y="774"/>
                    <a:pt x="14" y="765"/>
                  </a:cubicBezTo>
                  <a:cubicBezTo>
                    <a:pt x="24" y="756"/>
                    <a:pt x="38" y="751"/>
                    <a:pt x="55" y="751"/>
                  </a:cubicBezTo>
                  <a:close/>
                  <a:moveTo>
                    <a:pt x="149" y="772"/>
                  </a:moveTo>
                  <a:cubicBezTo>
                    <a:pt x="137" y="772"/>
                    <a:pt x="128" y="774"/>
                    <a:pt x="121" y="780"/>
                  </a:cubicBezTo>
                  <a:cubicBezTo>
                    <a:pt x="114" y="785"/>
                    <a:pt x="110" y="792"/>
                    <a:pt x="110" y="801"/>
                  </a:cubicBezTo>
                  <a:cubicBezTo>
                    <a:pt x="110" y="810"/>
                    <a:pt x="114" y="817"/>
                    <a:pt x="121" y="822"/>
                  </a:cubicBezTo>
                  <a:cubicBezTo>
                    <a:pt x="128" y="828"/>
                    <a:pt x="137" y="830"/>
                    <a:pt x="149" y="830"/>
                  </a:cubicBezTo>
                  <a:cubicBezTo>
                    <a:pt x="160" y="830"/>
                    <a:pt x="169" y="828"/>
                    <a:pt x="176" y="823"/>
                  </a:cubicBezTo>
                  <a:cubicBezTo>
                    <a:pt x="182" y="817"/>
                    <a:pt x="185" y="810"/>
                    <a:pt x="185" y="801"/>
                  </a:cubicBezTo>
                  <a:cubicBezTo>
                    <a:pt x="185" y="791"/>
                    <a:pt x="182" y="784"/>
                    <a:pt x="176" y="779"/>
                  </a:cubicBezTo>
                  <a:cubicBezTo>
                    <a:pt x="169" y="774"/>
                    <a:pt x="160" y="772"/>
                    <a:pt x="149" y="772"/>
                  </a:cubicBezTo>
                  <a:close/>
                  <a:moveTo>
                    <a:pt x="55" y="775"/>
                  </a:moveTo>
                  <a:cubicBezTo>
                    <a:pt x="45" y="775"/>
                    <a:pt x="37" y="778"/>
                    <a:pt x="30" y="782"/>
                  </a:cubicBezTo>
                  <a:cubicBezTo>
                    <a:pt x="24" y="787"/>
                    <a:pt x="21" y="793"/>
                    <a:pt x="21" y="801"/>
                  </a:cubicBezTo>
                  <a:cubicBezTo>
                    <a:pt x="21" y="809"/>
                    <a:pt x="24" y="815"/>
                    <a:pt x="30" y="819"/>
                  </a:cubicBezTo>
                  <a:cubicBezTo>
                    <a:pt x="36" y="824"/>
                    <a:pt x="45" y="826"/>
                    <a:pt x="55" y="826"/>
                  </a:cubicBezTo>
                  <a:cubicBezTo>
                    <a:pt x="66" y="826"/>
                    <a:pt x="74" y="824"/>
                    <a:pt x="80" y="819"/>
                  </a:cubicBezTo>
                  <a:cubicBezTo>
                    <a:pt x="86" y="815"/>
                    <a:pt x="89" y="808"/>
                    <a:pt x="89" y="801"/>
                  </a:cubicBezTo>
                  <a:cubicBezTo>
                    <a:pt x="89" y="793"/>
                    <a:pt x="86" y="787"/>
                    <a:pt x="80" y="782"/>
                  </a:cubicBezTo>
                  <a:cubicBezTo>
                    <a:pt x="74" y="778"/>
                    <a:pt x="66" y="775"/>
                    <a:pt x="55" y="775"/>
                  </a:cubicBezTo>
                  <a:close/>
                  <a:moveTo>
                    <a:pt x="140" y="607"/>
                  </a:moveTo>
                  <a:lnTo>
                    <a:pt x="140" y="621"/>
                  </a:lnTo>
                  <a:lnTo>
                    <a:pt x="203" y="621"/>
                  </a:lnTo>
                  <a:lnTo>
                    <a:pt x="203" y="646"/>
                  </a:lnTo>
                  <a:lnTo>
                    <a:pt x="54" y="646"/>
                  </a:lnTo>
                  <a:lnTo>
                    <a:pt x="54" y="621"/>
                  </a:lnTo>
                  <a:lnTo>
                    <a:pt x="117" y="621"/>
                  </a:lnTo>
                  <a:lnTo>
                    <a:pt x="117" y="609"/>
                  </a:lnTo>
                  <a:lnTo>
                    <a:pt x="54" y="568"/>
                  </a:lnTo>
                  <a:lnTo>
                    <a:pt x="54" y="539"/>
                  </a:lnTo>
                  <a:lnTo>
                    <a:pt x="125" y="589"/>
                  </a:lnTo>
                  <a:lnTo>
                    <a:pt x="203" y="536"/>
                  </a:lnTo>
                  <a:lnTo>
                    <a:pt x="203" y="566"/>
                  </a:lnTo>
                  <a:lnTo>
                    <a:pt x="140" y="607"/>
                  </a:lnTo>
                  <a:close/>
                  <a:moveTo>
                    <a:pt x="54" y="407"/>
                  </a:moveTo>
                  <a:lnTo>
                    <a:pt x="203" y="407"/>
                  </a:lnTo>
                  <a:lnTo>
                    <a:pt x="203" y="431"/>
                  </a:lnTo>
                  <a:lnTo>
                    <a:pt x="75" y="431"/>
                  </a:lnTo>
                  <a:lnTo>
                    <a:pt x="75" y="471"/>
                  </a:lnTo>
                  <a:lnTo>
                    <a:pt x="126" y="473"/>
                  </a:lnTo>
                  <a:cubicBezTo>
                    <a:pt x="154" y="474"/>
                    <a:pt x="174" y="478"/>
                    <a:pt x="185" y="484"/>
                  </a:cubicBezTo>
                  <a:cubicBezTo>
                    <a:pt x="197" y="491"/>
                    <a:pt x="203" y="501"/>
                    <a:pt x="203" y="515"/>
                  </a:cubicBezTo>
                  <a:lnTo>
                    <a:pt x="203" y="523"/>
                  </a:lnTo>
                  <a:lnTo>
                    <a:pt x="181" y="523"/>
                  </a:lnTo>
                  <a:lnTo>
                    <a:pt x="180" y="516"/>
                  </a:lnTo>
                  <a:cubicBezTo>
                    <a:pt x="179" y="510"/>
                    <a:pt x="175" y="505"/>
                    <a:pt x="167" y="502"/>
                  </a:cubicBezTo>
                  <a:cubicBezTo>
                    <a:pt x="158" y="499"/>
                    <a:pt x="142" y="497"/>
                    <a:pt x="118" y="496"/>
                  </a:cubicBezTo>
                  <a:lnTo>
                    <a:pt x="54" y="494"/>
                  </a:lnTo>
                  <a:lnTo>
                    <a:pt x="54" y="407"/>
                  </a:lnTo>
                  <a:close/>
                  <a:moveTo>
                    <a:pt x="203" y="291"/>
                  </a:moveTo>
                  <a:cubicBezTo>
                    <a:pt x="200" y="293"/>
                    <a:pt x="195" y="294"/>
                    <a:pt x="187" y="295"/>
                  </a:cubicBezTo>
                  <a:cubicBezTo>
                    <a:pt x="200" y="303"/>
                    <a:pt x="206" y="314"/>
                    <a:pt x="206" y="328"/>
                  </a:cubicBezTo>
                  <a:cubicBezTo>
                    <a:pt x="206" y="341"/>
                    <a:pt x="202" y="352"/>
                    <a:pt x="195" y="359"/>
                  </a:cubicBezTo>
                  <a:cubicBezTo>
                    <a:pt x="187" y="367"/>
                    <a:pt x="176" y="371"/>
                    <a:pt x="163" y="371"/>
                  </a:cubicBezTo>
                  <a:cubicBezTo>
                    <a:pt x="147" y="371"/>
                    <a:pt x="135" y="366"/>
                    <a:pt x="126" y="355"/>
                  </a:cubicBezTo>
                  <a:cubicBezTo>
                    <a:pt x="118" y="345"/>
                    <a:pt x="113" y="331"/>
                    <a:pt x="113" y="313"/>
                  </a:cubicBezTo>
                  <a:lnTo>
                    <a:pt x="113" y="295"/>
                  </a:lnTo>
                  <a:lnTo>
                    <a:pt x="97" y="295"/>
                  </a:lnTo>
                  <a:cubicBezTo>
                    <a:pt x="88" y="295"/>
                    <a:pt x="82" y="297"/>
                    <a:pt x="78" y="301"/>
                  </a:cubicBezTo>
                  <a:cubicBezTo>
                    <a:pt x="74" y="305"/>
                    <a:pt x="72" y="311"/>
                    <a:pt x="72" y="319"/>
                  </a:cubicBezTo>
                  <a:cubicBezTo>
                    <a:pt x="72" y="326"/>
                    <a:pt x="74" y="332"/>
                    <a:pt x="79" y="337"/>
                  </a:cubicBezTo>
                  <a:cubicBezTo>
                    <a:pt x="83" y="342"/>
                    <a:pt x="89" y="344"/>
                    <a:pt x="95" y="344"/>
                  </a:cubicBezTo>
                  <a:lnTo>
                    <a:pt x="95" y="368"/>
                  </a:lnTo>
                  <a:cubicBezTo>
                    <a:pt x="88" y="368"/>
                    <a:pt x="80" y="366"/>
                    <a:pt x="73" y="361"/>
                  </a:cubicBezTo>
                  <a:cubicBezTo>
                    <a:pt x="67" y="357"/>
                    <a:pt x="61" y="351"/>
                    <a:pt x="57" y="343"/>
                  </a:cubicBezTo>
                  <a:cubicBezTo>
                    <a:pt x="53" y="336"/>
                    <a:pt x="51" y="327"/>
                    <a:pt x="51" y="318"/>
                  </a:cubicBezTo>
                  <a:cubicBezTo>
                    <a:pt x="51" y="302"/>
                    <a:pt x="55" y="291"/>
                    <a:pt x="63" y="283"/>
                  </a:cubicBezTo>
                  <a:cubicBezTo>
                    <a:pt x="70" y="275"/>
                    <a:pt x="81" y="271"/>
                    <a:pt x="96" y="271"/>
                  </a:cubicBezTo>
                  <a:lnTo>
                    <a:pt x="171" y="271"/>
                  </a:lnTo>
                  <a:cubicBezTo>
                    <a:pt x="183" y="271"/>
                    <a:pt x="193" y="269"/>
                    <a:pt x="201" y="266"/>
                  </a:cubicBezTo>
                  <a:lnTo>
                    <a:pt x="203" y="266"/>
                  </a:lnTo>
                  <a:lnTo>
                    <a:pt x="203" y="291"/>
                  </a:lnTo>
                  <a:close/>
                  <a:moveTo>
                    <a:pt x="184" y="324"/>
                  </a:moveTo>
                  <a:cubicBezTo>
                    <a:pt x="184" y="318"/>
                    <a:pt x="182" y="312"/>
                    <a:pt x="179" y="307"/>
                  </a:cubicBezTo>
                  <a:cubicBezTo>
                    <a:pt x="176" y="301"/>
                    <a:pt x="171" y="297"/>
                    <a:pt x="166" y="295"/>
                  </a:cubicBezTo>
                  <a:lnTo>
                    <a:pt x="131" y="295"/>
                  </a:lnTo>
                  <a:lnTo>
                    <a:pt x="131" y="309"/>
                  </a:lnTo>
                  <a:cubicBezTo>
                    <a:pt x="131" y="320"/>
                    <a:pt x="134" y="330"/>
                    <a:pt x="139" y="336"/>
                  </a:cubicBezTo>
                  <a:cubicBezTo>
                    <a:pt x="144" y="343"/>
                    <a:pt x="151" y="346"/>
                    <a:pt x="160" y="346"/>
                  </a:cubicBezTo>
                  <a:cubicBezTo>
                    <a:pt x="168" y="346"/>
                    <a:pt x="174" y="345"/>
                    <a:pt x="178" y="341"/>
                  </a:cubicBezTo>
                  <a:cubicBezTo>
                    <a:pt x="182" y="338"/>
                    <a:pt x="184" y="332"/>
                    <a:pt x="184" y="324"/>
                  </a:cubicBezTo>
                  <a:close/>
                  <a:moveTo>
                    <a:pt x="185" y="181"/>
                  </a:moveTo>
                  <a:cubicBezTo>
                    <a:pt x="185" y="173"/>
                    <a:pt x="183" y="166"/>
                    <a:pt x="178" y="162"/>
                  </a:cubicBezTo>
                  <a:cubicBezTo>
                    <a:pt x="173" y="157"/>
                    <a:pt x="166" y="154"/>
                    <a:pt x="156" y="154"/>
                  </a:cubicBezTo>
                  <a:lnTo>
                    <a:pt x="156" y="130"/>
                  </a:lnTo>
                  <a:cubicBezTo>
                    <a:pt x="171" y="131"/>
                    <a:pt x="183" y="136"/>
                    <a:pt x="192" y="146"/>
                  </a:cubicBezTo>
                  <a:cubicBezTo>
                    <a:pt x="201" y="155"/>
                    <a:pt x="206" y="167"/>
                    <a:pt x="206" y="181"/>
                  </a:cubicBezTo>
                  <a:cubicBezTo>
                    <a:pt x="206" y="199"/>
                    <a:pt x="200" y="214"/>
                    <a:pt x="189" y="223"/>
                  </a:cubicBezTo>
                  <a:cubicBezTo>
                    <a:pt x="177" y="233"/>
                    <a:pt x="160" y="238"/>
                    <a:pt x="137" y="238"/>
                  </a:cubicBezTo>
                  <a:lnTo>
                    <a:pt x="120" y="238"/>
                  </a:lnTo>
                  <a:cubicBezTo>
                    <a:pt x="98" y="238"/>
                    <a:pt x="81" y="233"/>
                    <a:pt x="69" y="223"/>
                  </a:cubicBezTo>
                  <a:cubicBezTo>
                    <a:pt x="57" y="214"/>
                    <a:pt x="51" y="200"/>
                    <a:pt x="51" y="181"/>
                  </a:cubicBezTo>
                  <a:cubicBezTo>
                    <a:pt x="51" y="166"/>
                    <a:pt x="56" y="154"/>
                    <a:pt x="66" y="145"/>
                  </a:cubicBezTo>
                  <a:cubicBezTo>
                    <a:pt x="75" y="136"/>
                    <a:pt x="89" y="131"/>
                    <a:pt x="105" y="130"/>
                  </a:cubicBezTo>
                  <a:lnTo>
                    <a:pt x="105" y="154"/>
                  </a:lnTo>
                  <a:cubicBezTo>
                    <a:pt x="94" y="154"/>
                    <a:pt x="86" y="157"/>
                    <a:pt x="80" y="161"/>
                  </a:cubicBezTo>
                  <a:cubicBezTo>
                    <a:pt x="75" y="166"/>
                    <a:pt x="72" y="173"/>
                    <a:pt x="72" y="181"/>
                  </a:cubicBezTo>
                  <a:cubicBezTo>
                    <a:pt x="72" y="192"/>
                    <a:pt x="76" y="200"/>
                    <a:pt x="83" y="205"/>
                  </a:cubicBezTo>
                  <a:cubicBezTo>
                    <a:pt x="90" y="211"/>
                    <a:pt x="102" y="213"/>
                    <a:pt x="118" y="213"/>
                  </a:cubicBezTo>
                  <a:lnTo>
                    <a:pt x="137" y="213"/>
                  </a:lnTo>
                  <a:cubicBezTo>
                    <a:pt x="155" y="213"/>
                    <a:pt x="167" y="211"/>
                    <a:pt x="174" y="206"/>
                  </a:cubicBezTo>
                  <a:cubicBezTo>
                    <a:pt x="182" y="200"/>
                    <a:pt x="185" y="192"/>
                    <a:pt x="185" y="181"/>
                  </a:cubicBezTo>
                  <a:close/>
                  <a:moveTo>
                    <a:pt x="185" y="50"/>
                  </a:moveTo>
                  <a:cubicBezTo>
                    <a:pt x="185" y="42"/>
                    <a:pt x="183" y="36"/>
                    <a:pt x="178" y="31"/>
                  </a:cubicBezTo>
                  <a:cubicBezTo>
                    <a:pt x="173" y="26"/>
                    <a:pt x="166" y="23"/>
                    <a:pt x="156" y="23"/>
                  </a:cubicBezTo>
                  <a:lnTo>
                    <a:pt x="156" y="0"/>
                  </a:lnTo>
                  <a:cubicBezTo>
                    <a:pt x="171" y="0"/>
                    <a:pt x="183" y="6"/>
                    <a:pt x="192" y="15"/>
                  </a:cubicBezTo>
                  <a:cubicBezTo>
                    <a:pt x="201" y="25"/>
                    <a:pt x="206" y="37"/>
                    <a:pt x="206" y="50"/>
                  </a:cubicBezTo>
                  <a:cubicBezTo>
                    <a:pt x="206" y="69"/>
                    <a:pt x="200" y="83"/>
                    <a:pt x="189" y="93"/>
                  </a:cubicBezTo>
                  <a:cubicBezTo>
                    <a:pt x="177" y="102"/>
                    <a:pt x="160" y="107"/>
                    <a:pt x="137" y="107"/>
                  </a:cubicBezTo>
                  <a:lnTo>
                    <a:pt x="120" y="107"/>
                  </a:lnTo>
                  <a:cubicBezTo>
                    <a:pt x="98" y="107"/>
                    <a:pt x="81" y="102"/>
                    <a:pt x="69" y="93"/>
                  </a:cubicBezTo>
                  <a:cubicBezTo>
                    <a:pt x="57" y="83"/>
                    <a:pt x="51" y="69"/>
                    <a:pt x="51" y="51"/>
                  </a:cubicBezTo>
                  <a:cubicBezTo>
                    <a:pt x="51" y="35"/>
                    <a:pt x="56" y="23"/>
                    <a:pt x="66" y="14"/>
                  </a:cubicBezTo>
                  <a:cubicBezTo>
                    <a:pt x="75" y="5"/>
                    <a:pt x="89" y="0"/>
                    <a:pt x="105" y="0"/>
                  </a:cubicBezTo>
                  <a:lnTo>
                    <a:pt x="105" y="23"/>
                  </a:lnTo>
                  <a:cubicBezTo>
                    <a:pt x="94" y="24"/>
                    <a:pt x="86" y="26"/>
                    <a:pt x="80" y="31"/>
                  </a:cubicBezTo>
                  <a:cubicBezTo>
                    <a:pt x="75" y="36"/>
                    <a:pt x="72" y="42"/>
                    <a:pt x="72" y="51"/>
                  </a:cubicBezTo>
                  <a:cubicBezTo>
                    <a:pt x="72" y="61"/>
                    <a:pt x="76" y="69"/>
                    <a:pt x="83" y="75"/>
                  </a:cubicBezTo>
                  <a:cubicBezTo>
                    <a:pt x="90" y="80"/>
                    <a:pt x="102" y="83"/>
                    <a:pt x="118" y="83"/>
                  </a:cubicBezTo>
                  <a:lnTo>
                    <a:pt x="137" y="83"/>
                  </a:lnTo>
                  <a:cubicBezTo>
                    <a:pt x="155" y="83"/>
                    <a:pt x="167" y="80"/>
                    <a:pt x="174" y="75"/>
                  </a:cubicBezTo>
                  <a:cubicBezTo>
                    <a:pt x="182" y="70"/>
                    <a:pt x="185" y="62"/>
                    <a:pt x="185" y="50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3" name="Freeform 1785"/>
            <p:cNvSpPr>
              <a:spLocks noEditPoints="1"/>
            </p:cNvSpPr>
            <p:nvPr/>
          </p:nvSpPr>
          <p:spPr bwMode="auto">
            <a:xfrm>
              <a:off x="4733054" y="3260557"/>
              <a:ext cx="111571" cy="779006"/>
            </a:xfrm>
            <a:custGeom>
              <a:avLst/>
              <a:gdLst/>
              <a:ahLst/>
              <a:cxnLst>
                <a:cxn ang="0">
                  <a:pos x="203" y="1654"/>
                </a:cxn>
                <a:cxn ang="0">
                  <a:pos x="3" y="1576"/>
                </a:cxn>
                <a:cxn ang="0">
                  <a:pos x="3" y="1545"/>
                </a:cxn>
                <a:cxn ang="0">
                  <a:pos x="166" y="1390"/>
                </a:cxn>
                <a:cxn ang="0">
                  <a:pos x="203" y="1331"/>
                </a:cxn>
                <a:cxn ang="0">
                  <a:pos x="203" y="1400"/>
                </a:cxn>
                <a:cxn ang="0">
                  <a:pos x="203" y="1475"/>
                </a:cxn>
                <a:cxn ang="0">
                  <a:pos x="130" y="1182"/>
                </a:cxn>
                <a:cxn ang="0">
                  <a:pos x="55" y="1267"/>
                </a:cxn>
                <a:cxn ang="0">
                  <a:pos x="30" y="1156"/>
                </a:cxn>
                <a:cxn ang="0">
                  <a:pos x="22" y="1209"/>
                </a:cxn>
                <a:cxn ang="0">
                  <a:pos x="91" y="1204"/>
                </a:cxn>
                <a:cxn ang="0">
                  <a:pos x="206" y="1208"/>
                </a:cxn>
                <a:cxn ang="0">
                  <a:pos x="145" y="1246"/>
                </a:cxn>
                <a:cxn ang="0">
                  <a:pos x="153" y="1174"/>
                </a:cxn>
                <a:cxn ang="0">
                  <a:pos x="98" y="1098"/>
                </a:cxn>
                <a:cxn ang="0">
                  <a:pos x="0" y="1063"/>
                </a:cxn>
                <a:cxn ang="0">
                  <a:pos x="61" y="1028"/>
                </a:cxn>
                <a:cxn ang="0">
                  <a:pos x="54" y="1095"/>
                </a:cxn>
                <a:cxn ang="0">
                  <a:pos x="152" y="1002"/>
                </a:cxn>
                <a:cxn ang="0">
                  <a:pos x="177" y="1117"/>
                </a:cxn>
                <a:cxn ang="0">
                  <a:pos x="185" y="1061"/>
                </a:cxn>
                <a:cxn ang="0">
                  <a:pos x="234" y="987"/>
                </a:cxn>
                <a:cxn ang="0">
                  <a:pos x="193" y="948"/>
                </a:cxn>
                <a:cxn ang="0">
                  <a:pos x="82" y="758"/>
                </a:cxn>
                <a:cxn ang="0">
                  <a:pos x="191" y="762"/>
                </a:cxn>
                <a:cxn ang="0">
                  <a:pos x="120" y="847"/>
                </a:cxn>
                <a:cxn ang="0">
                  <a:pos x="15" y="837"/>
                </a:cxn>
                <a:cxn ang="0">
                  <a:pos x="149" y="772"/>
                </a:cxn>
                <a:cxn ang="0">
                  <a:pos x="149" y="830"/>
                </a:cxn>
                <a:cxn ang="0">
                  <a:pos x="149" y="772"/>
                </a:cxn>
                <a:cxn ang="0">
                  <a:pos x="30" y="819"/>
                </a:cxn>
                <a:cxn ang="0">
                  <a:pos x="80" y="782"/>
                </a:cxn>
                <a:cxn ang="0">
                  <a:pos x="203" y="621"/>
                </a:cxn>
                <a:cxn ang="0">
                  <a:pos x="117" y="621"/>
                </a:cxn>
                <a:cxn ang="0">
                  <a:pos x="125" y="589"/>
                </a:cxn>
                <a:cxn ang="0">
                  <a:pos x="54" y="407"/>
                </a:cxn>
                <a:cxn ang="0">
                  <a:pos x="75" y="471"/>
                </a:cxn>
                <a:cxn ang="0">
                  <a:pos x="203" y="523"/>
                </a:cxn>
                <a:cxn ang="0">
                  <a:pos x="118" y="496"/>
                </a:cxn>
                <a:cxn ang="0">
                  <a:pos x="187" y="295"/>
                </a:cxn>
                <a:cxn ang="0">
                  <a:pos x="127" y="355"/>
                </a:cxn>
                <a:cxn ang="0">
                  <a:pos x="78" y="301"/>
                </a:cxn>
                <a:cxn ang="0">
                  <a:pos x="96" y="368"/>
                </a:cxn>
                <a:cxn ang="0">
                  <a:pos x="63" y="283"/>
                </a:cxn>
                <a:cxn ang="0">
                  <a:pos x="203" y="266"/>
                </a:cxn>
                <a:cxn ang="0">
                  <a:pos x="167" y="295"/>
                </a:cxn>
                <a:cxn ang="0">
                  <a:pos x="160" y="346"/>
                </a:cxn>
                <a:cxn ang="0">
                  <a:pos x="178" y="162"/>
                </a:cxn>
                <a:cxn ang="0">
                  <a:pos x="206" y="181"/>
                </a:cxn>
                <a:cxn ang="0">
                  <a:pos x="69" y="223"/>
                </a:cxn>
                <a:cxn ang="0">
                  <a:pos x="105" y="154"/>
                </a:cxn>
                <a:cxn ang="0">
                  <a:pos x="118" y="213"/>
                </a:cxn>
                <a:cxn ang="0">
                  <a:pos x="185" y="50"/>
                </a:cxn>
                <a:cxn ang="0">
                  <a:pos x="192" y="15"/>
                </a:cxn>
                <a:cxn ang="0">
                  <a:pos x="120" y="107"/>
                </a:cxn>
                <a:cxn ang="0">
                  <a:pos x="105" y="0"/>
                </a:cxn>
                <a:cxn ang="0">
                  <a:pos x="83" y="75"/>
                </a:cxn>
                <a:cxn ang="0">
                  <a:pos x="185" y="50"/>
                </a:cxn>
              </a:cxnLst>
              <a:rect l="0" t="0" r="r" b="b"/>
              <a:pathLst>
                <a:path w="243" h="1707">
                  <a:moveTo>
                    <a:pt x="24" y="1576"/>
                  </a:moveTo>
                  <a:lnTo>
                    <a:pt x="24" y="1629"/>
                  </a:lnTo>
                  <a:lnTo>
                    <a:pt x="203" y="1629"/>
                  </a:lnTo>
                  <a:lnTo>
                    <a:pt x="203" y="1654"/>
                  </a:lnTo>
                  <a:lnTo>
                    <a:pt x="24" y="1654"/>
                  </a:lnTo>
                  <a:lnTo>
                    <a:pt x="24" y="1707"/>
                  </a:lnTo>
                  <a:lnTo>
                    <a:pt x="3" y="1707"/>
                  </a:lnTo>
                  <a:lnTo>
                    <a:pt x="3" y="1576"/>
                  </a:lnTo>
                  <a:lnTo>
                    <a:pt x="24" y="1576"/>
                  </a:lnTo>
                  <a:close/>
                  <a:moveTo>
                    <a:pt x="203" y="1520"/>
                  </a:moveTo>
                  <a:lnTo>
                    <a:pt x="203" y="1545"/>
                  </a:lnTo>
                  <a:lnTo>
                    <a:pt x="3" y="1545"/>
                  </a:lnTo>
                  <a:lnTo>
                    <a:pt x="3" y="1520"/>
                  </a:lnTo>
                  <a:lnTo>
                    <a:pt x="203" y="1520"/>
                  </a:lnTo>
                  <a:close/>
                  <a:moveTo>
                    <a:pt x="3" y="1443"/>
                  </a:moveTo>
                  <a:lnTo>
                    <a:pt x="166" y="1390"/>
                  </a:lnTo>
                  <a:lnTo>
                    <a:pt x="3" y="1338"/>
                  </a:lnTo>
                  <a:lnTo>
                    <a:pt x="3" y="1305"/>
                  </a:lnTo>
                  <a:lnTo>
                    <a:pt x="203" y="1305"/>
                  </a:lnTo>
                  <a:lnTo>
                    <a:pt x="203" y="1331"/>
                  </a:lnTo>
                  <a:lnTo>
                    <a:pt x="125" y="1331"/>
                  </a:lnTo>
                  <a:lnTo>
                    <a:pt x="47" y="1328"/>
                  </a:lnTo>
                  <a:lnTo>
                    <a:pt x="203" y="1381"/>
                  </a:lnTo>
                  <a:lnTo>
                    <a:pt x="203" y="1400"/>
                  </a:lnTo>
                  <a:lnTo>
                    <a:pt x="47" y="1453"/>
                  </a:lnTo>
                  <a:lnTo>
                    <a:pt x="125" y="1450"/>
                  </a:lnTo>
                  <a:lnTo>
                    <a:pt x="203" y="1450"/>
                  </a:lnTo>
                  <a:lnTo>
                    <a:pt x="203" y="1475"/>
                  </a:lnTo>
                  <a:lnTo>
                    <a:pt x="3" y="1475"/>
                  </a:lnTo>
                  <a:lnTo>
                    <a:pt x="3" y="1443"/>
                  </a:lnTo>
                  <a:close/>
                  <a:moveTo>
                    <a:pt x="153" y="1174"/>
                  </a:moveTo>
                  <a:cubicBezTo>
                    <a:pt x="143" y="1174"/>
                    <a:pt x="135" y="1177"/>
                    <a:pt x="130" y="1182"/>
                  </a:cubicBezTo>
                  <a:cubicBezTo>
                    <a:pt x="124" y="1188"/>
                    <a:pt x="119" y="1198"/>
                    <a:pt x="114" y="1212"/>
                  </a:cubicBezTo>
                  <a:cubicBezTo>
                    <a:pt x="109" y="1226"/>
                    <a:pt x="104" y="1237"/>
                    <a:pt x="98" y="1244"/>
                  </a:cubicBezTo>
                  <a:cubicBezTo>
                    <a:pt x="93" y="1252"/>
                    <a:pt x="86" y="1257"/>
                    <a:pt x="79" y="1261"/>
                  </a:cubicBezTo>
                  <a:cubicBezTo>
                    <a:pt x="72" y="1265"/>
                    <a:pt x="64" y="1267"/>
                    <a:pt x="55" y="1267"/>
                  </a:cubicBezTo>
                  <a:cubicBezTo>
                    <a:pt x="39" y="1267"/>
                    <a:pt x="26" y="1261"/>
                    <a:pt x="15" y="1251"/>
                  </a:cubicBezTo>
                  <a:cubicBezTo>
                    <a:pt x="5" y="1240"/>
                    <a:pt x="0" y="1226"/>
                    <a:pt x="0" y="1209"/>
                  </a:cubicBezTo>
                  <a:cubicBezTo>
                    <a:pt x="0" y="1197"/>
                    <a:pt x="2" y="1187"/>
                    <a:pt x="8" y="1177"/>
                  </a:cubicBezTo>
                  <a:cubicBezTo>
                    <a:pt x="13" y="1168"/>
                    <a:pt x="20" y="1161"/>
                    <a:pt x="30" y="1156"/>
                  </a:cubicBezTo>
                  <a:cubicBezTo>
                    <a:pt x="39" y="1151"/>
                    <a:pt x="49" y="1149"/>
                    <a:pt x="61" y="1149"/>
                  </a:cubicBezTo>
                  <a:lnTo>
                    <a:pt x="61" y="1174"/>
                  </a:lnTo>
                  <a:cubicBezTo>
                    <a:pt x="48" y="1174"/>
                    <a:pt x="39" y="1177"/>
                    <a:pt x="32" y="1183"/>
                  </a:cubicBezTo>
                  <a:cubicBezTo>
                    <a:pt x="25" y="1189"/>
                    <a:pt x="22" y="1198"/>
                    <a:pt x="22" y="1209"/>
                  </a:cubicBezTo>
                  <a:cubicBezTo>
                    <a:pt x="22" y="1219"/>
                    <a:pt x="24" y="1227"/>
                    <a:pt x="30" y="1233"/>
                  </a:cubicBezTo>
                  <a:cubicBezTo>
                    <a:pt x="36" y="1238"/>
                    <a:pt x="44" y="1241"/>
                    <a:pt x="54" y="1241"/>
                  </a:cubicBezTo>
                  <a:cubicBezTo>
                    <a:pt x="63" y="1241"/>
                    <a:pt x="70" y="1238"/>
                    <a:pt x="75" y="1232"/>
                  </a:cubicBezTo>
                  <a:cubicBezTo>
                    <a:pt x="81" y="1226"/>
                    <a:pt x="86" y="1217"/>
                    <a:pt x="91" y="1204"/>
                  </a:cubicBezTo>
                  <a:cubicBezTo>
                    <a:pt x="97" y="1184"/>
                    <a:pt x="105" y="1170"/>
                    <a:pt x="115" y="1161"/>
                  </a:cubicBezTo>
                  <a:cubicBezTo>
                    <a:pt x="124" y="1153"/>
                    <a:pt x="137" y="1149"/>
                    <a:pt x="152" y="1149"/>
                  </a:cubicBezTo>
                  <a:cubicBezTo>
                    <a:pt x="169" y="1149"/>
                    <a:pt x="182" y="1154"/>
                    <a:pt x="192" y="1165"/>
                  </a:cubicBezTo>
                  <a:cubicBezTo>
                    <a:pt x="201" y="1175"/>
                    <a:pt x="206" y="1189"/>
                    <a:pt x="206" y="1208"/>
                  </a:cubicBezTo>
                  <a:cubicBezTo>
                    <a:pt x="206" y="1219"/>
                    <a:pt x="204" y="1230"/>
                    <a:pt x="199" y="1240"/>
                  </a:cubicBezTo>
                  <a:cubicBezTo>
                    <a:pt x="193" y="1250"/>
                    <a:pt x="186" y="1258"/>
                    <a:pt x="177" y="1263"/>
                  </a:cubicBezTo>
                  <a:cubicBezTo>
                    <a:pt x="168" y="1269"/>
                    <a:pt x="157" y="1272"/>
                    <a:pt x="145" y="1272"/>
                  </a:cubicBezTo>
                  <a:lnTo>
                    <a:pt x="145" y="1246"/>
                  </a:lnTo>
                  <a:cubicBezTo>
                    <a:pt x="158" y="1246"/>
                    <a:pt x="167" y="1243"/>
                    <a:pt x="174" y="1236"/>
                  </a:cubicBezTo>
                  <a:cubicBezTo>
                    <a:pt x="181" y="1229"/>
                    <a:pt x="185" y="1220"/>
                    <a:pt x="185" y="1208"/>
                  </a:cubicBezTo>
                  <a:cubicBezTo>
                    <a:pt x="185" y="1197"/>
                    <a:pt x="182" y="1188"/>
                    <a:pt x="176" y="1183"/>
                  </a:cubicBezTo>
                  <a:cubicBezTo>
                    <a:pt x="170" y="1177"/>
                    <a:pt x="163" y="1174"/>
                    <a:pt x="153" y="1174"/>
                  </a:cubicBezTo>
                  <a:close/>
                  <a:moveTo>
                    <a:pt x="153" y="1028"/>
                  </a:moveTo>
                  <a:cubicBezTo>
                    <a:pt x="143" y="1028"/>
                    <a:pt x="135" y="1030"/>
                    <a:pt x="130" y="1036"/>
                  </a:cubicBezTo>
                  <a:cubicBezTo>
                    <a:pt x="124" y="1041"/>
                    <a:pt x="119" y="1051"/>
                    <a:pt x="114" y="1065"/>
                  </a:cubicBezTo>
                  <a:cubicBezTo>
                    <a:pt x="109" y="1079"/>
                    <a:pt x="104" y="1090"/>
                    <a:pt x="98" y="1098"/>
                  </a:cubicBezTo>
                  <a:cubicBezTo>
                    <a:pt x="93" y="1105"/>
                    <a:pt x="86" y="1111"/>
                    <a:pt x="79" y="1115"/>
                  </a:cubicBezTo>
                  <a:cubicBezTo>
                    <a:pt x="72" y="1118"/>
                    <a:pt x="64" y="1120"/>
                    <a:pt x="55" y="1120"/>
                  </a:cubicBezTo>
                  <a:cubicBezTo>
                    <a:pt x="39" y="1120"/>
                    <a:pt x="26" y="1115"/>
                    <a:pt x="15" y="1104"/>
                  </a:cubicBezTo>
                  <a:cubicBezTo>
                    <a:pt x="5" y="1094"/>
                    <a:pt x="0" y="1080"/>
                    <a:pt x="0" y="1063"/>
                  </a:cubicBezTo>
                  <a:cubicBezTo>
                    <a:pt x="0" y="1051"/>
                    <a:pt x="2" y="1040"/>
                    <a:pt x="8" y="1031"/>
                  </a:cubicBezTo>
                  <a:cubicBezTo>
                    <a:pt x="13" y="1022"/>
                    <a:pt x="20" y="1015"/>
                    <a:pt x="30" y="1010"/>
                  </a:cubicBezTo>
                  <a:cubicBezTo>
                    <a:pt x="39" y="1005"/>
                    <a:pt x="49" y="1002"/>
                    <a:pt x="61" y="1002"/>
                  </a:cubicBezTo>
                  <a:lnTo>
                    <a:pt x="61" y="1028"/>
                  </a:lnTo>
                  <a:cubicBezTo>
                    <a:pt x="48" y="1028"/>
                    <a:pt x="39" y="1031"/>
                    <a:pt x="32" y="1037"/>
                  </a:cubicBezTo>
                  <a:cubicBezTo>
                    <a:pt x="25" y="1043"/>
                    <a:pt x="22" y="1051"/>
                    <a:pt x="22" y="1063"/>
                  </a:cubicBezTo>
                  <a:cubicBezTo>
                    <a:pt x="22" y="1073"/>
                    <a:pt x="24" y="1081"/>
                    <a:pt x="30" y="1086"/>
                  </a:cubicBezTo>
                  <a:cubicBezTo>
                    <a:pt x="36" y="1092"/>
                    <a:pt x="44" y="1095"/>
                    <a:pt x="54" y="1095"/>
                  </a:cubicBezTo>
                  <a:cubicBezTo>
                    <a:pt x="63" y="1095"/>
                    <a:pt x="70" y="1092"/>
                    <a:pt x="75" y="1086"/>
                  </a:cubicBezTo>
                  <a:cubicBezTo>
                    <a:pt x="81" y="1080"/>
                    <a:pt x="86" y="1070"/>
                    <a:pt x="91" y="1057"/>
                  </a:cubicBezTo>
                  <a:cubicBezTo>
                    <a:pt x="97" y="1038"/>
                    <a:pt x="105" y="1023"/>
                    <a:pt x="115" y="1015"/>
                  </a:cubicBezTo>
                  <a:cubicBezTo>
                    <a:pt x="124" y="1006"/>
                    <a:pt x="137" y="1002"/>
                    <a:pt x="152" y="1002"/>
                  </a:cubicBezTo>
                  <a:cubicBezTo>
                    <a:pt x="169" y="1002"/>
                    <a:pt x="182" y="1007"/>
                    <a:pt x="192" y="1018"/>
                  </a:cubicBezTo>
                  <a:cubicBezTo>
                    <a:pt x="201" y="1029"/>
                    <a:pt x="206" y="1043"/>
                    <a:pt x="206" y="1061"/>
                  </a:cubicBezTo>
                  <a:cubicBezTo>
                    <a:pt x="206" y="1073"/>
                    <a:pt x="204" y="1084"/>
                    <a:pt x="199" y="1094"/>
                  </a:cubicBezTo>
                  <a:cubicBezTo>
                    <a:pt x="193" y="1104"/>
                    <a:pt x="186" y="1111"/>
                    <a:pt x="177" y="1117"/>
                  </a:cubicBezTo>
                  <a:cubicBezTo>
                    <a:pt x="168" y="1123"/>
                    <a:pt x="157" y="1125"/>
                    <a:pt x="145" y="1125"/>
                  </a:cubicBezTo>
                  <a:lnTo>
                    <a:pt x="145" y="1100"/>
                  </a:lnTo>
                  <a:cubicBezTo>
                    <a:pt x="158" y="1100"/>
                    <a:pt x="167" y="1097"/>
                    <a:pt x="174" y="1090"/>
                  </a:cubicBezTo>
                  <a:cubicBezTo>
                    <a:pt x="181" y="1083"/>
                    <a:pt x="185" y="1073"/>
                    <a:pt x="185" y="1061"/>
                  </a:cubicBezTo>
                  <a:cubicBezTo>
                    <a:pt x="185" y="1050"/>
                    <a:pt x="182" y="1042"/>
                    <a:pt x="176" y="1036"/>
                  </a:cubicBezTo>
                  <a:cubicBezTo>
                    <a:pt x="170" y="1031"/>
                    <a:pt x="163" y="1028"/>
                    <a:pt x="153" y="1028"/>
                  </a:cubicBezTo>
                  <a:close/>
                  <a:moveTo>
                    <a:pt x="243" y="972"/>
                  </a:moveTo>
                  <a:lnTo>
                    <a:pt x="234" y="987"/>
                  </a:lnTo>
                  <a:cubicBezTo>
                    <a:pt x="221" y="978"/>
                    <a:pt x="209" y="974"/>
                    <a:pt x="196" y="973"/>
                  </a:cubicBezTo>
                  <a:lnTo>
                    <a:pt x="173" y="973"/>
                  </a:lnTo>
                  <a:lnTo>
                    <a:pt x="173" y="948"/>
                  </a:lnTo>
                  <a:lnTo>
                    <a:pt x="193" y="948"/>
                  </a:lnTo>
                  <a:cubicBezTo>
                    <a:pt x="203" y="948"/>
                    <a:pt x="212" y="951"/>
                    <a:pt x="221" y="955"/>
                  </a:cubicBezTo>
                  <a:cubicBezTo>
                    <a:pt x="230" y="960"/>
                    <a:pt x="238" y="965"/>
                    <a:pt x="243" y="972"/>
                  </a:cubicBezTo>
                  <a:close/>
                  <a:moveTo>
                    <a:pt x="55" y="751"/>
                  </a:moveTo>
                  <a:cubicBezTo>
                    <a:pt x="65" y="751"/>
                    <a:pt x="74" y="753"/>
                    <a:pt x="82" y="758"/>
                  </a:cubicBezTo>
                  <a:cubicBezTo>
                    <a:pt x="90" y="762"/>
                    <a:pt x="96" y="768"/>
                    <a:pt x="100" y="776"/>
                  </a:cubicBezTo>
                  <a:cubicBezTo>
                    <a:pt x="105" y="767"/>
                    <a:pt x="111" y="760"/>
                    <a:pt x="120" y="755"/>
                  </a:cubicBezTo>
                  <a:cubicBezTo>
                    <a:pt x="129" y="750"/>
                    <a:pt x="138" y="747"/>
                    <a:pt x="149" y="747"/>
                  </a:cubicBezTo>
                  <a:cubicBezTo>
                    <a:pt x="167" y="747"/>
                    <a:pt x="180" y="752"/>
                    <a:pt x="191" y="762"/>
                  </a:cubicBezTo>
                  <a:cubicBezTo>
                    <a:pt x="201" y="772"/>
                    <a:pt x="206" y="785"/>
                    <a:pt x="206" y="801"/>
                  </a:cubicBezTo>
                  <a:cubicBezTo>
                    <a:pt x="206" y="817"/>
                    <a:pt x="201" y="830"/>
                    <a:pt x="191" y="840"/>
                  </a:cubicBezTo>
                  <a:cubicBezTo>
                    <a:pt x="180" y="850"/>
                    <a:pt x="167" y="855"/>
                    <a:pt x="149" y="855"/>
                  </a:cubicBezTo>
                  <a:cubicBezTo>
                    <a:pt x="138" y="855"/>
                    <a:pt x="128" y="852"/>
                    <a:pt x="120" y="847"/>
                  </a:cubicBezTo>
                  <a:cubicBezTo>
                    <a:pt x="111" y="842"/>
                    <a:pt x="104" y="835"/>
                    <a:pt x="100" y="826"/>
                  </a:cubicBezTo>
                  <a:cubicBezTo>
                    <a:pt x="96" y="834"/>
                    <a:pt x="89" y="840"/>
                    <a:pt x="82" y="844"/>
                  </a:cubicBezTo>
                  <a:cubicBezTo>
                    <a:pt x="74" y="849"/>
                    <a:pt x="65" y="851"/>
                    <a:pt x="55" y="851"/>
                  </a:cubicBezTo>
                  <a:cubicBezTo>
                    <a:pt x="38" y="851"/>
                    <a:pt x="25" y="846"/>
                    <a:pt x="15" y="837"/>
                  </a:cubicBezTo>
                  <a:cubicBezTo>
                    <a:pt x="5" y="828"/>
                    <a:pt x="0" y="816"/>
                    <a:pt x="0" y="801"/>
                  </a:cubicBezTo>
                  <a:cubicBezTo>
                    <a:pt x="0" y="786"/>
                    <a:pt x="5" y="774"/>
                    <a:pt x="15" y="765"/>
                  </a:cubicBezTo>
                  <a:cubicBezTo>
                    <a:pt x="24" y="756"/>
                    <a:pt x="38" y="751"/>
                    <a:pt x="55" y="751"/>
                  </a:cubicBezTo>
                  <a:close/>
                  <a:moveTo>
                    <a:pt x="149" y="772"/>
                  </a:moveTo>
                  <a:cubicBezTo>
                    <a:pt x="137" y="772"/>
                    <a:pt x="128" y="774"/>
                    <a:pt x="121" y="780"/>
                  </a:cubicBezTo>
                  <a:cubicBezTo>
                    <a:pt x="114" y="785"/>
                    <a:pt x="111" y="792"/>
                    <a:pt x="111" y="801"/>
                  </a:cubicBezTo>
                  <a:cubicBezTo>
                    <a:pt x="111" y="810"/>
                    <a:pt x="114" y="817"/>
                    <a:pt x="121" y="822"/>
                  </a:cubicBezTo>
                  <a:cubicBezTo>
                    <a:pt x="128" y="828"/>
                    <a:pt x="137" y="830"/>
                    <a:pt x="149" y="830"/>
                  </a:cubicBezTo>
                  <a:cubicBezTo>
                    <a:pt x="160" y="830"/>
                    <a:pt x="169" y="828"/>
                    <a:pt x="176" y="823"/>
                  </a:cubicBezTo>
                  <a:cubicBezTo>
                    <a:pt x="182" y="817"/>
                    <a:pt x="185" y="810"/>
                    <a:pt x="185" y="801"/>
                  </a:cubicBezTo>
                  <a:cubicBezTo>
                    <a:pt x="185" y="791"/>
                    <a:pt x="182" y="784"/>
                    <a:pt x="176" y="779"/>
                  </a:cubicBezTo>
                  <a:cubicBezTo>
                    <a:pt x="169" y="774"/>
                    <a:pt x="160" y="772"/>
                    <a:pt x="149" y="772"/>
                  </a:cubicBezTo>
                  <a:close/>
                  <a:moveTo>
                    <a:pt x="55" y="775"/>
                  </a:moveTo>
                  <a:cubicBezTo>
                    <a:pt x="45" y="775"/>
                    <a:pt x="37" y="778"/>
                    <a:pt x="30" y="782"/>
                  </a:cubicBezTo>
                  <a:cubicBezTo>
                    <a:pt x="24" y="787"/>
                    <a:pt x="21" y="793"/>
                    <a:pt x="21" y="801"/>
                  </a:cubicBezTo>
                  <a:cubicBezTo>
                    <a:pt x="21" y="809"/>
                    <a:pt x="24" y="815"/>
                    <a:pt x="30" y="819"/>
                  </a:cubicBezTo>
                  <a:cubicBezTo>
                    <a:pt x="37" y="824"/>
                    <a:pt x="45" y="826"/>
                    <a:pt x="55" y="826"/>
                  </a:cubicBezTo>
                  <a:cubicBezTo>
                    <a:pt x="66" y="826"/>
                    <a:pt x="74" y="824"/>
                    <a:pt x="80" y="819"/>
                  </a:cubicBezTo>
                  <a:cubicBezTo>
                    <a:pt x="87" y="815"/>
                    <a:pt x="90" y="808"/>
                    <a:pt x="90" y="801"/>
                  </a:cubicBezTo>
                  <a:cubicBezTo>
                    <a:pt x="90" y="793"/>
                    <a:pt x="87" y="787"/>
                    <a:pt x="80" y="782"/>
                  </a:cubicBezTo>
                  <a:cubicBezTo>
                    <a:pt x="74" y="778"/>
                    <a:pt x="66" y="775"/>
                    <a:pt x="55" y="775"/>
                  </a:cubicBezTo>
                  <a:close/>
                  <a:moveTo>
                    <a:pt x="140" y="607"/>
                  </a:moveTo>
                  <a:lnTo>
                    <a:pt x="140" y="621"/>
                  </a:lnTo>
                  <a:lnTo>
                    <a:pt x="203" y="621"/>
                  </a:lnTo>
                  <a:lnTo>
                    <a:pt x="203" y="646"/>
                  </a:lnTo>
                  <a:lnTo>
                    <a:pt x="54" y="646"/>
                  </a:lnTo>
                  <a:lnTo>
                    <a:pt x="54" y="621"/>
                  </a:lnTo>
                  <a:lnTo>
                    <a:pt x="117" y="621"/>
                  </a:lnTo>
                  <a:lnTo>
                    <a:pt x="117" y="609"/>
                  </a:lnTo>
                  <a:lnTo>
                    <a:pt x="54" y="568"/>
                  </a:lnTo>
                  <a:lnTo>
                    <a:pt x="54" y="539"/>
                  </a:lnTo>
                  <a:lnTo>
                    <a:pt x="125" y="589"/>
                  </a:lnTo>
                  <a:lnTo>
                    <a:pt x="203" y="536"/>
                  </a:lnTo>
                  <a:lnTo>
                    <a:pt x="203" y="566"/>
                  </a:lnTo>
                  <a:lnTo>
                    <a:pt x="140" y="607"/>
                  </a:lnTo>
                  <a:close/>
                  <a:moveTo>
                    <a:pt x="54" y="407"/>
                  </a:moveTo>
                  <a:lnTo>
                    <a:pt x="203" y="407"/>
                  </a:lnTo>
                  <a:lnTo>
                    <a:pt x="203" y="431"/>
                  </a:lnTo>
                  <a:lnTo>
                    <a:pt x="75" y="431"/>
                  </a:lnTo>
                  <a:lnTo>
                    <a:pt x="75" y="471"/>
                  </a:lnTo>
                  <a:lnTo>
                    <a:pt x="126" y="473"/>
                  </a:lnTo>
                  <a:cubicBezTo>
                    <a:pt x="154" y="474"/>
                    <a:pt x="174" y="478"/>
                    <a:pt x="186" y="484"/>
                  </a:cubicBezTo>
                  <a:cubicBezTo>
                    <a:pt x="197" y="491"/>
                    <a:pt x="203" y="501"/>
                    <a:pt x="203" y="515"/>
                  </a:cubicBezTo>
                  <a:lnTo>
                    <a:pt x="203" y="523"/>
                  </a:lnTo>
                  <a:lnTo>
                    <a:pt x="181" y="523"/>
                  </a:lnTo>
                  <a:lnTo>
                    <a:pt x="180" y="516"/>
                  </a:lnTo>
                  <a:cubicBezTo>
                    <a:pt x="179" y="510"/>
                    <a:pt x="175" y="505"/>
                    <a:pt x="167" y="502"/>
                  </a:cubicBezTo>
                  <a:cubicBezTo>
                    <a:pt x="158" y="499"/>
                    <a:pt x="142" y="497"/>
                    <a:pt x="118" y="496"/>
                  </a:cubicBezTo>
                  <a:lnTo>
                    <a:pt x="54" y="494"/>
                  </a:lnTo>
                  <a:lnTo>
                    <a:pt x="54" y="407"/>
                  </a:lnTo>
                  <a:close/>
                  <a:moveTo>
                    <a:pt x="203" y="291"/>
                  </a:moveTo>
                  <a:cubicBezTo>
                    <a:pt x="200" y="293"/>
                    <a:pt x="195" y="294"/>
                    <a:pt x="187" y="295"/>
                  </a:cubicBezTo>
                  <a:cubicBezTo>
                    <a:pt x="200" y="303"/>
                    <a:pt x="206" y="314"/>
                    <a:pt x="206" y="328"/>
                  </a:cubicBezTo>
                  <a:cubicBezTo>
                    <a:pt x="206" y="341"/>
                    <a:pt x="202" y="352"/>
                    <a:pt x="195" y="359"/>
                  </a:cubicBezTo>
                  <a:cubicBezTo>
                    <a:pt x="187" y="367"/>
                    <a:pt x="177" y="371"/>
                    <a:pt x="163" y="371"/>
                  </a:cubicBezTo>
                  <a:cubicBezTo>
                    <a:pt x="148" y="371"/>
                    <a:pt x="136" y="366"/>
                    <a:pt x="127" y="355"/>
                  </a:cubicBezTo>
                  <a:cubicBezTo>
                    <a:pt x="118" y="345"/>
                    <a:pt x="113" y="331"/>
                    <a:pt x="113" y="313"/>
                  </a:cubicBezTo>
                  <a:lnTo>
                    <a:pt x="113" y="295"/>
                  </a:lnTo>
                  <a:lnTo>
                    <a:pt x="97" y="295"/>
                  </a:lnTo>
                  <a:cubicBezTo>
                    <a:pt x="88" y="295"/>
                    <a:pt x="82" y="297"/>
                    <a:pt x="78" y="301"/>
                  </a:cubicBezTo>
                  <a:cubicBezTo>
                    <a:pt x="74" y="305"/>
                    <a:pt x="72" y="311"/>
                    <a:pt x="72" y="319"/>
                  </a:cubicBezTo>
                  <a:cubicBezTo>
                    <a:pt x="72" y="326"/>
                    <a:pt x="74" y="332"/>
                    <a:pt x="79" y="337"/>
                  </a:cubicBezTo>
                  <a:cubicBezTo>
                    <a:pt x="83" y="342"/>
                    <a:pt x="89" y="344"/>
                    <a:pt x="96" y="344"/>
                  </a:cubicBezTo>
                  <a:lnTo>
                    <a:pt x="96" y="368"/>
                  </a:lnTo>
                  <a:cubicBezTo>
                    <a:pt x="88" y="368"/>
                    <a:pt x="81" y="366"/>
                    <a:pt x="74" y="361"/>
                  </a:cubicBezTo>
                  <a:cubicBezTo>
                    <a:pt x="67" y="357"/>
                    <a:pt x="61" y="351"/>
                    <a:pt x="57" y="343"/>
                  </a:cubicBezTo>
                  <a:cubicBezTo>
                    <a:pt x="53" y="336"/>
                    <a:pt x="51" y="327"/>
                    <a:pt x="51" y="318"/>
                  </a:cubicBezTo>
                  <a:cubicBezTo>
                    <a:pt x="51" y="302"/>
                    <a:pt x="55" y="291"/>
                    <a:pt x="63" y="283"/>
                  </a:cubicBezTo>
                  <a:cubicBezTo>
                    <a:pt x="70" y="275"/>
                    <a:pt x="81" y="271"/>
                    <a:pt x="96" y="271"/>
                  </a:cubicBezTo>
                  <a:lnTo>
                    <a:pt x="171" y="271"/>
                  </a:lnTo>
                  <a:cubicBezTo>
                    <a:pt x="183" y="271"/>
                    <a:pt x="193" y="269"/>
                    <a:pt x="201" y="266"/>
                  </a:cubicBezTo>
                  <a:lnTo>
                    <a:pt x="203" y="266"/>
                  </a:lnTo>
                  <a:lnTo>
                    <a:pt x="203" y="291"/>
                  </a:lnTo>
                  <a:close/>
                  <a:moveTo>
                    <a:pt x="184" y="324"/>
                  </a:moveTo>
                  <a:cubicBezTo>
                    <a:pt x="184" y="318"/>
                    <a:pt x="182" y="312"/>
                    <a:pt x="179" y="307"/>
                  </a:cubicBezTo>
                  <a:cubicBezTo>
                    <a:pt x="176" y="301"/>
                    <a:pt x="172" y="297"/>
                    <a:pt x="167" y="295"/>
                  </a:cubicBezTo>
                  <a:lnTo>
                    <a:pt x="131" y="295"/>
                  </a:lnTo>
                  <a:lnTo>
                    <a:pt x="131" y="309"/>
                  </a:lnTo>
                  <a:cubicBezTo>
                    <a:pt x="131" y="320"/>
                    <a:pt x="134" y="330"/>
                    <a:pt x="139" y="336"/>
                  </a:cubicBezTo>
                  <a:cubicBezTo>
                    <a:pt x="144" y="343"/>
                    <a:pt x="151" y="346"/>
                    <a:pt x="160" y="346"/>
                  </a:cubicBezTo>
                  <a:cubicBezTo>
                    <a:pt x="168" y="346"/>
                    <a:pt x="174" y="345"/>
                    <a:pt x="178" y="341"/>
                  </a:cubicBezTo>
                  <a:cubicBezTo>
                    <a:pt x="182" y="338"/>
                    <a:pt x="184" y="332"/>
                    <a:pt x="184" y="324"/>
                  </a:cubicBezTo>
                  <a:close/>
                  <a:moveTo>
                    <a:pt x="185" y="181"/>
                  </a:moveTo>
                  <a:cubicBezTo>
                    <a:pt x="185" y="173"/>
                    <a:pt x="183" y="166"/>
                    <a:pt x="178" y="162"/>
                  </a:cubicBezTo>
                  <a:cubicBezTo>
                    <a:pt x="173" y="157"/>
                    <a:pt x="166" y="154"/>
                    <a:pt x="156" y="154"/>
                  </a:cubicBezTo>
                  <a:lnTo>
                    <a:pt x="156" y="130"/>
                  </a:lnTo>
                  <a:cubicBezTo>
                    <a:pt x="171" y="131"/>
                    <a:pt x="183" y="136"/>
                    <a:pt x="192" y="146"/>
                  </a:cubicBezTo>
                  <a:cubicBezTo>
                    <a:pt x="202" y="155"/>
                    <a:pt x="206" y="167"/>
                    <a:pt x="206" y="181"/>
                  </a:cubicBezTo>
                  <a:cubicBezTo>
                    <a:pt x="206" y="199"/>
                    <a:pt x="200" y="214"/>
                    <a:pt x="189" y="223"/>
                  </a:cubicBezTo>
                  <a:cubicBezTo>
                    <a:pt x="177" y="233"/>
                    <a:pt x="160" y="238"/>
                    <a:pt x="137" y="238"/>
                  </a:cubicBezTo>
                  <a:lnTo>
                    <a:pt x="120" y="238"/>
                  </a:lnTo>
                  <a:cubicBezTo>
                    <a:pt x="98" y="238"/>
                    <a:pt x="81" y="233"/>
                    <a:pt x="69" y="223"/>
                  </a:cubicBezTo>
                  <a:cubicBezTo>
                    <a:pt x="57" y="214"/>
                    <a:pt x="51" y="200"/>
                    <a:pt x="51" y="181"/>
                  </a:cubicBezTo>
                  <a:cubicBezTo>
                    <a:pt x="51" y="166"/>
                    <a:pt x="56" y="154"/>
                    <a:pt x="66" y="145"/>
                  </a:cubicBezTo>
                  <a:cubicBezTo>
                    <a:pt x="75" y="136"/>
                    <a:pt x="89" y="131"/>
                    <a:pt x="105" y="130"/>
                  </a:cubicBezTo>
                  <a:lnTo>
                    <a:pt x="105" y="154"/>
                  </a:lnTo>
                  <a:cubicBezTo>
                    <a:pt x="94" y="154"/>
                    <a:pt x="86" y="157"/>
                    <a:pt x="81" y="161"/>
                  </a:cubicBezTo>
                  <a:cubicBezTo>
                    <a:pt x="75" y="166"/>
                    <a:pt x="72" y="173"/>
                    <a:pt x="72" y="181"/>
                  </a:cubicBezTo>
                  <a:cubicBezTo>
                    <a:pt x="72" y="192"/>
                    <a:pt x="76" y="200"/>
                    <a:pt x="83" y="205"/>
                  </a:cubicBezTo>
                  <a:cubicBezTo>
                    <a:pt x="90" y="211"/>
                    <a:pt x="102" y="213"/>
                    <a:pt x="118" y="213"/>
                  </a:cubicBezTo>
                  <a:lnTo>
                    <a:pt x="137" y="213"/>
                  </a:lnTo>
                  <a:cubicBezTo>
                    <a:pt x="155" y="213"/>
                    <a:pt x="167" y="211"/>
                    <a:pt x="175" y="206"/>
                  </a:cubicBezTo>
                  <a:cubicBezTo>
                    <a:pt x="182" y="200"/>
                    <a:pt x="185" y="192"/>
                    <a:pt x="185" y="181"/>
                  </a:cubicBezTo>
                  <a:close/>
                  <a:moveTo>
                    <a:pt x="185" y="50"/>
                  </a:moveTo>
                  <a:cubicBezTo>
                    <a:pt x="185" y="42"/>
                    <a:pt x="183" y="36"/>
                    <a:pt x="178" y="31"/>
                  </a:cubicBezTo>
                  <a:cubicBezTo>
                    <a:pt x="173" y="26"/>
                    <a:pt x="166" y="23"/>
                    <a:pt x="156" y="23"/>
                  </a:cubicBezTo>
                  <a:lnTo>
                    <a:pt x="156" y="0"/>
                  </a:lnTo>
                  <a:cubicBezTo>
                    <a:pt x="171" y="0"/>
                    <a:pt x="183" y="6"/>
                    <a:pt x="192" y="15"/>
                  </a:cubicBezTo>
                  <a:cubicBezTo>
                    <a:pt x="202" y="25"/>
                    <a:pt x="206" y="37"/>
                    <a:pt x="206" y="50"/>
                  </a:cubicBezTo>
                  <a:cubicBezTo>
                    <a:pt x="206" y="69"/>
                    <a:pt x="200" y="83"/>
                    <a:pt x="189" y="93"/>
                  </a:cubicBezTo>
                  <a:cubicBezTo>
                    <a:pt x="177" y="102"/>
                    <a:pt x="160" y="107"/>
                    <a:pt x="137" y="107"/>
                  </a:cubicBezTo>
                  <a:lnTo>
                    <a:pt x="120" y="107"/>
                  </a:lnTo>
                  <a:cubicBezTo>
                    <a:pt x="98" y="107"/>
                    <a:pt x="81" y="102"/>
                    <a:pt x="69" y="93"/>
                  </a:cubicBezTo>
                  <a:cubicBezTo>
                    <a:pt x="57" y="83"/>
                    <a:pt x="51" y="69"/>
                    <a:pt x="51" y="51"/>
                  </a:cubicBezTo>
                  <a:cubicBezTo>
                    <a:pt x="51" y="35"/>
                    <a:pt x="56" y="23"/>
                    <a:pt x="66" y="14"/>
                  </a:cubicBezTo>
                  <a:cubicBezTo>
                    <a:pt x="75" y="5"/>
                    <a:pt x="89" y="0"/>
                    <a:pt x="105" y="0"/>
                  </a:cubicBezTo>
                  <a:lnTo>
                    <a:pt x="105" y="23"/>
                  </a:lnTo>
                  <a:cubicBezTo>
                    <a:pt x="94" y="24"/>
                    <a:pt x="86" y="26"/>
                    <a:pt x="81" y="31"/>
                  </a:cubicBezTo>
                  <a:cubicBezTo>
                    <a:pt x="75" y="36"/>
                    <a:pt x="72" y="42"/>
                    <a:pt x="72" y="51"/>
                  </a:cubicBezTo>
                  <a:cubicBezTo>
                    <a:pt x="72" y="61"/>
                    <a:pt x="76" y="69"/>
                    <a:pt x="83" y="75"/>
                  </a:cubicBezTo>
                  <a:cubicBezTo>
                    <a:pt x="90" y="80"/>
                    <a:pt x="102" y="83"/>
                    <a:pt x="118" y="83"/>
                  </a:cubicBezTo>
                  <a:lnTo>
                    <a:pt x="137" y="83"/>
                  </a:lnTo>
                  <a:cubicBezTo>
                    <a:pt x="155" y="83"/>
                    <a:pt x="167" y="80"/>
                    <a:pt x="175" y="75"/>
                  </a:cubicBezTo>
                  <a:cubicBezTo>
                    <a:pt x="182" y="70"/>
                    <a:pt x="185" y="62"/>
                    <a:pt x="185" y="50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4" name="Freeform 1786"/>
            <p:cNvSpPr>
              <a:spLocks noEditPoints="1"/>
            </p:cNvSpPr>
            <p:nvPr/>
          </p:nvSpPr>
          <p:spPr bwMode="auto">
            <a:xfrm>
              <a:off x="2627149" y="3194810"/>
              <a:ext cx="276936" cy="904523"/>
            </a:xfrm>
            <a:custGeom>
              <a:avLst/>
              <a:gdLst/>
              <a:ahLst/>
              <a:cxnLst>
                <a:cxn ang="0">
                  <a:pos x="3" y="1784"/>
                </a:cxn>
                <a:cxn ang="0">
                  <a:pos x="167" y="1599"/>
                </a:cxn>
                <a:cxn ang="0">
                  <a:pos x="204" y="1608"/>
                </a:cxn>
                <a:cxn ang="0">
                  <a:pos x="130" y="1390"/>
                </a:cxn>
                <a:cxn ang="0">
                  <a:pos x="30" y="1364"/>
                </a:cxn>
                <a:cxn ang="0">
                  <a:pos x="91" y="1412"/>
                </a:cxn>
                <a:cxn ang="0">
                  <a:pos x="146" y="1455"/>
                </a:cxn>
                <a:cxn ang="0">
                  <a:pos x="99" y="1306"/>
                </a:cxn>
                <a:cxn ang="0">
                  <a:pos x="61" y="1236"/>
                </a:cxn>
                <a:cxn ang="0">
                  <a:pos x="153" y="1210"/>
                </a:cxn>
                <a:cxn ang="0">
                  <a:pos x="185" y="1269"/>
                </a:cxn>
                <a:cxn ang="0">
                  <a:pos x="194" y="1156"/>
                </a:cxn>
                <a:cxn ang="0">
                  <a:pos x="2" y="994"/>
                </a:cxn>
                <a:cxn ang="0">
                  <a:pos x="2" y="854"/>
                </a:cxn>
                <a:cxn ang="0">
                  <a:pos x="55" y="690"/>
                </a:cxn>
                <a:cxn ang="0">
                  <a:pos x="141" y="676"/>
                </a:cxn>
                <a:cxn ang="0">
                  <a:pos x="204" y="583"/>
                </a:cxn>
                <a:cxn ang="0">
                  <a:pos x="204" y="360"/>
                </a:cxn>
                <a:cxn ang="0">
                  <a:pos x="98" y="364"/>
                </a:cxn>
                <a:cxn ang="0">
                  <a:pos x="52" y="386"/>
                </a:cxn>
                <a:cxn ang="0">
                  <a:pos x="180" y="375"/>
                </a:cxn>
                <a:cxn ang="0">
                  <a:pos x="186" y="250"/>
                </a:cxn>
                <a:cxn ang="0">
                  <a:pos x="121" y="306"/>
                </a:cxn>
                <a:cxn ang="0">
                  <a:pos x="84" y="274"/>
                </a:cxn>
                <a:cxn ang="0">
                  <a:pos x="157" y="69"/>
                </a:cxn>
                <a:cxn ang="0">
                  <a:pos x="66" y="83"/>
                </a:cxn>
                <a:cxn ang="0">
                  <a:pos x="175" y="144"/>
                </a:cxn>
                <a:cxn ang="0">
                  <a:pos x="452" y="1959"/>
                </a:cxn>
                <a:cxn ang="0">
                  <a:pos x="543" y="1813"/>
                </a:cxn>
                <a:cxn ang="0">
                  <a:pos x="476" y="1642"/>
                </a:cxn>
                <a:cxn ang="0">
                  <a:pos x="411" y="1727"/>
                </a:cxn>
                <a:cxn ang="0">
                  <a:pos x="430" y="1726"/>
                </a:cxn>
                <a:cxn ang="0">
                  <a:pos x="391" y="1558"/>
                </a:cxn>
                <a:cxn ang="0">
                  <a:pos x="462" y="1616"/>
                </a:cxn>
                <a:cxn ang="0">
                  <a:pos x="426" y="1582"/>
                </a:cxn>
                <a:cxn ang="0">
                  <a:pos x="331" y="1387"/>
                </a:cxn>
                <a:cxn ang="0">
                  <a:pos x="601" y="1387"/>
                </a:cxn>
                <a:cxn ang="0">
                  <a:pos x="412" y="1377"/>
                </a:cxn>
                <a:cxn ang="0">
                  <a:pos x="526" y="1421"/>
                </a:cxn>
                <a:cxn ang="0">
                  <a:pos x="543" y="1186"/>
                </a:cxn>
                <a:cxn ang="0">
                  <a:pos x="394" y="1210"/>
                </a:cxn>
                <a:cxn ang="0">
                  <a:pos x="543" y="1149"/>
                </a:cxn>
                <a:cxn ang="0">
                  <a:pos x="446" y="977"/>
                </a:cxn>
                <a:cxn ang="0">
                  <a:pos x="394" y="977"/>
                </a:cxn>
                <a:cxn ang="0">
                  <a:pos x="466" y="946"/>
                </a:cxn>
                <a:cxn ang="0">
                  <a:pos x="394" y="866"/>
                </a:cxn>
                <a:cxn ang="0">
                  <a:pos x="527" y="650"/>
                </a:cxn>
                <a:cxn ang="0">
                  <a:pos x="418" y="657"/>
                </a:cxn>
                <a:cxn ang="0">
                  <a:pos x="403" y="639"/>
                </a:cxn>
                <a:cxn ang="0">
                  <a:pos x="507" y="651"/>
                </a:cxn>
                <a:cxn ang="0">
                  <a:pos x="543" y="491"/>
                </a:cxn>
                <a:cxn ang="0">
                  <a:pos x="440" y="593"/>
                </a:cxn>
                <a:cxn ang="0">
                  <a:pos x="415" y="516"/>
                </a:cxn>
                <a:cxn ang="0">
                  <a:pos x="513" y="428"/>
                </a:cxn>
                <a:cxn ang="0">
                  <a:pos x="489" y="227"/>
                </a:cxn>
                <a:cxn ang="0">
                  <a:pos x="395" y="331"/>
                </a:cxn>
                <a:cxn ang="0">
                  <a:pos x="461" y="302"/>
                </a:cxn>
                <a:cxn ang="0">
                  <a:pos x="361" y="281"/>
                </a:cxn>
                <a:cxn ang="0">
                  <a:pos x="436" y="83"/>
                </a:cxn>
                <a:cxn ang="0">
                  <a:pos x="436" y="153"/>
                </a:cxn>
                <a:cxn ang="0">
                  <a:pos x="542" y="35"/>
                </a:cxn>
              </a:cxnLst>
              <a:rect l="0" t="0" r="r" b="b"/>
              <a:pathLst>
                <a:path w="608" h="1983">
                  <a:moveTo>
                    <a:pt x="25" y="1784"/>
                  </a:moveTo>
                  <a:lnTo>
                    <a:pt x="25" y="1837"/>
                  </a:lnTo>
                  <a:lnTo>
                    <a:pt x="204" y="1837"/>
                  </a:lnTo>
                  <a:lnTo>
                    <a:pt x="204" y="1862"/>
                  </a:lnTo>
                  <a:lnTo>
                    <a:pt x="25" y="1862"/>
                  </a:lnTo>
                  <a:lnTo>
                    <a:pt x="25" y="1915"/>
                  </a:lnTo>
                  <a:lnTo>
                    <a:pt x="3" y="1915"/>
                  </a:lnTo>
                  <a:lnTo>
                    <a:pt x="3" y="1784"/>
                  </a:lnTo>
                  <a:lnTo>
                    <a:pt x="25" y="1784"/>
                  </a:lnTo>
                  <a:close/>
                  <a:moveTo>
                    <a:pt x="204" y="1728"/>
                  </a:moveTo>
                  <a:lnTo>
                    <a:pt x="204" y="1753"/>
                  </a:lnTo>
                  <a:lnTo>
                    <a:pt x="3" y="1753"/>
                  </a:lnTo>
                  <a:lnTo>
                    <a:pt x="3" y="1728"/>
                  </a:lnTo>
                  <a:lnTo>
                    <a:pt x="204" y="1728"/>
                  </a:lnTo>
                  <a:close/>
                  <a:moveTo>
                    <a:pt x="3" y="1651"/>
                  </a:moveTo>
                  <a:lnTo>
                    <a:pt x="167" y="1599"/>
                  </a:lnTo>
                  <a:lnTo>
                    <a:pt x="3" y="1546"/>
                  </a:lnTo>
                  <a:lnTo>
                    <a:pt x="3" y="1514"/>
                  </a:lnTo>
                  <a:lnTo>
                    <a:pt x="204" y="1514"/>
                  </a:lnTo>
                  <a:lnTo>
                    <a:pt x="204" y="1539"/>
                  </a:lnTo>
                  <a:lnTo>
                    <a:pt x="126" y="1539"/>
                  </a:lnTo>
                  <a:lnTo>
                    <a:pt x="48" y="1536"/>
                  </a:lnTo>
                  <a:lnTo>
                    <a:pt x="204" y="1589"/>
                  </a:lnTo>
                  <a:lnTo>
                    <a:pt x="204" y="1608"/>
                  </a:lnTo>
                  <a:lnTo>
                    <a:pt x="48" y="1661"/>
                  </a:lnTo>
                  <a:lnTo>
                    <a:pt x="126" y="1658"/>
                  </a:lnTo>
                  <a:lnTo>
                    <a:pt x="204" y="1658"/>
                  </a:lnTo>
                  <a:lnTo>
                    <a:pt x="204" y="1684"/>
                  </a:lnTo>
                  <a:lnTo>
                    <a:pt x="3" y="1684"/>
                  </a:lnTo>
                  <a:lnTo>
                    <a:pt x="3" y="1651"/>
                  </a:lnTo>
                  <a:close/>
                  <a:moveTo>
                    <a:pt x="153" y="1382"/>
                  </a:moveTo>
                  <a:cubicBezTo>
                    <a:pt x="143" y="1382"/>
                    <a:pt x="136" y="1385"/>
                    <a:pt x="130" y="1390"/>
                  </a:cubicBezTo>
                  <a:cubicBezTo>
                    <a:pt x="125" y="1396"/>
                    <a:pt x="120" y="1406"/>
                    <a:pt x="115" y="1420"/>
                  </a:cubicBezTo>
                  <a:cubicBezTo>
                    <a:pt x="110" y="1434"/>
                    <a:pt x="104" y="1445"/>
                    <a:pt x="99" y="1452"/>
                  </a:cubicBezTo>
                  <a:cubicBezTo>
                    <a:pt x="93" y="1460"/>
                    <a:pt x="87" y="1465"/>
                    <a:pt x="80" y="1469"/>
                  </a:cubicBezTo>
                  <a:cubicBezTo>
                    <a:pt x="73" y="1473"/>
                    <a:pt x="64" y="1475"/>
                    <a:pt x="55" y="1475"/>
                  </a:cubicBezTo>
                  <a:cubicBezTo>
                    <a:pt x="39" y="1475"/>
                    <a:pt x="26" y="1469"/>
                    <a:pt x="16" y="1459"/>
                  </a:cubicBezTo>
                  <a:cubicBezTo>
                    <a:pt x="6" y="1448"/>
                    <a:pt x="0" y="1434"/>
                    <a:pt x="0" y="1417"/>
                  </a:cubicBezTo>
                  <a:cubicBezTo>
                    <a:pt x="0" y="1405"/>
                    <a:pt x="3" y="1395"/>
                    <a:pt x="8" y="1386"/>
                  </a:cubicBezTo>
                  <a:cubicBezTo>
                    <a:pt x="14" y="1376"/>
                    <a:pt x="21" y="1369"/>
                    <a:pt x="30" y="1364"/>
                  </a:cubicBezTo>
                  <a:cubicBezTo>
                    <a:pt x="40" y="1359"/>
                    <a:pt x="50" y="1357"/>
                    <a:pt x="61" y="1357"/>
                  </a:cubicBezTo>
                  <a:lnTo>
                    <a:pt x="61" y="1382"/>
                  </a:lnTo>
                  <a:cubicBezTo>
                    <a:pt x="49" y="1382"/>
                    <a:pt x="39" y="1385"/>
                    <a:pt x="32" y="1391"/>
                  </a:cubicBezTo>
                  <a:cubicBezTo>
                    <a:pt x="26" y="1397"/>
                    <a:pt x="22" y="1406"/>
                    <a:pt x="22" y="1417"/>
                  </a:cubicBezTo>
                  <a:cubicBezTo>
                    <a:pt x="22" y="1427"/>
                    <a:pt x="25" y="1435"/>
                    <a:pt x="31" y="1441"/>
                  </a:cubicBezTo>
                  <a:cubicBezTo>
                    <a:pt x="37" y="1446"/>
                    <a:pt x="45" y="1449"/>
                    <a:pt x="55" y="1449"/>
                  </a:cubicBezTo>
                  <a:cubicBezTo>
                    <a:pt x="63" y="1449"/>
                    <a:pt x="70" y="1446"/>
                    <a:pt x="76" y="1440"/>
                  </a:cubicBezTo>
                  <a:cubicBezTo>
                    <a:pt x="82" y="1434"/>
                    <a:pt x="87" y="1425"/>
                    <a:pt x="91" y="1412"/>
                  </a:cubicBezTo>
                  <a:cubicBezTo>
                    <a:pt x="98" y="1392"/>
                    <a:pt x="106" y="1378"/>
                    <a:pt x="116" y="1370"/>
                  </a:cubicBezTo>
                  <a:cubicBezTo>
                    <a:pt x="125" y="1361"/>
                    <a:pt x="138" y="1357"/>
                    <a:pt x="153" y="1357"/>
                  </a:cubicBezTo>
                  <a:cubicBezTo>
                    <a:pt x="169" y="1357"/>
                    <a:pt x="182" y="1362"/>
                    <a:pt x="192" y="1373"/>
                  </a:cubicBezTo>
                  <a:cubicBezTo>
                    <a:pt x="202" y="1383"/>
                    <a:pt x="207" y="1398"/>
                    <a:pt x="207" y="1416"/>
                  </a:cubicBezTo>
                  <a:cubicBezTo>
                    <a:pt x="207" y="1428"/>
                    <a:pt x="204" y="1438"/>
                    <a:pt x="199" y="1448"/>
                  </a:cubicBezTo>
                  <a:cubicBezTo>
                    <a:pt x="194" y="1458"/>
                    <a:pt x="187" y="1466"/>
                    <a:pt x="178" y="1472"/>
                  </a:cubicBezTo>
                  <a:cubicBezTo>
                    <a:pt x="168" y="1477"/>
                    <a:pt x="158" y="1480"/>
                    <a:pt x="146" y="1480"/>
                  </a:cubicBezTo>
                  <a:lnTo>
                    <a:pt x="146" y="1455"/>
                  </a:lnTo>
                  <a:cubicBezTo>
                    <a:pt x="158" y="1455"/>
                    <a:pt x="168" y="1451"/>
                    <a:pt x="175" y="1444"/>
                  </a:cubicBezTo>
                  <a:cubicBezTo>
                    <a:pt x="182" y="1437"/>
                    <a:pt x="185" y="1428"/>
                    <a:pt x="185" y="1416"/>
                  </a:cubicBezTo>
                  <a:cubicBezTo>
                    <a:pt x="185" y="1405"/>
                    <a:pt x="182" y="1396"/>
                    <a:pt x="177" y="1391"/>
                  </a:cubicBezTo>
                  <a:cubicBezTo>
                    <a:pt x="171" y="1385"/>
                    <a:pt x="163" y="1382"/>
                    <a:pt x="153" y="1382"/>
                  </a:cubicBezTo>
                  <a:close/>
                  <a:moveTo>
                    <a:pt x="153" y="1236"/>
                  </a:moveTo>
                  <a:cubicBezTo>
                    <a:pt x="143" y="1236"/>
                    <a:pt x="136" y="1239"/>
                    <a:pt x="130" y="1244"/>
                  </a:cubicBezTo>
                  <a:cubicBezTo>
                    <a:pt x="125" y="1249"/>
                    <a:pt x="120" y="1259"/>
                    <a:pt x="115" y="1273"/>
                  </a:cubicBezTo>
                  <a:cubicBezTo>
                    <a:pt x="110" y="1288"/>
                    <a:pt x="104" y="1298"/>
                    <a:pt x="99" y="1306"/>
                  </a:cubicBezTo>
                  <a:cubicBezTo>
                    <a:pt x="93" y="1313"/>
                    <a:pt x="87" y="1319"/>
                    <a:pt x="80" y="1323"/>
                  </a:cubicBezTo>
                  <a:cubicBezTo>
                    <a:pt x="73" y="1326"/>
                    <a:pt x="64" y="1328"/>
                    <a:pt x="55" y="1328"/>
                  </a:cubicBezTo>
                  <a:cubicBezTo>
                    <a:pt x="39" y="1328"/>
                    <a:pt x="26" y="1323"/>
                    <a:pt x="16" y="1312"/>
                  </a:cubicBezTo>
                  <a:cubicBezTo>
                    <a:pt x="6" y="1302"/>
                    <a:pt x="0" y="1288"/>
                    <a:pt x="0" y="1271"/>
                  </a:cubicBezTo>
                  <a:cubicBezTo>
                    <a:pt x="0" y="1259"/>
                    <a:pt x="3" y="1248"/>
                    <a:pt x="8" y="1239"/>
                  </a:cubicBezTo>
                  <a:cubicBezTo>
                    <a:pt x="14" y="1230"/>
                    <a:pt x="21" y="1223"/>
                    <a:pt x="30" y="1218"/>
                  </a:cubicBezTo>
                  <a:cubicBezTo>
                    <a:pt x="40" y="1213"/>
                    <a:pt x="50" y="1210"/>
                    <a:pt x="61" y="1210"/>
                  </a:cubicBezTo>
                  <a:lnTo>
                    <a:pt x="61" y="1236"/>
                  </a:lnTo>
                  <a:cubicBezTo>
                    <a:pt x="49" y="1236"/>
                    <a:pt x="39" y="1239"/>
                    <a:pt x="32" y="1245"/>
                  </a:cubicBezTo>
                  <a:cubicBezTo>
                    <a:pt x="26" y="1251"/>
                    <a:pt x="22" y="1259"/>
                    <a:pt x="22" y="1271"/>
                  </a:cubicBezTo>
                  <a:cubicBezTo>
                    <a:pt x="22" y="1281"/>
                    <a:pt x="25" y="1289"/>
                    <a:pt x="31" y="1294"/>
                  </a:cubicBezTo>
                  <a:cubicBezTo>
                    <a:pt x="37" y="1300"/>
                    <a:pt x="45" y="1303"/>
                    <a:pt x="55" y="1303"/>
                  </a:cubicBezTo>
                  <a:cubicBezTo>
                    <a:pt x="63" y="1303"/>
                    <a:pt x="70" y="1300"/>
                    <a:pt x="76" y="1294"/>
                  </a:cubicBezTo>
                  <a:cubicBezTo>
                    <a:pt x="82" y="1288"/>
                    <a:pt x="87" y="1278"/>
                    <a:pt x="91" y="1266"/>
                  </a:cubicBezTo>
                  <a:cubicBezTo>
                    <a:pt x="98" y="1246"/>
                    <a:pt x="106" y="1232"/>
                    <a:pt x="116" y="1223"/>
                  </a:cubicBezTo>
                  <a:cubicBezTo>
                    <a:pt x="125" y="1215"/>
                    <a:pt x="138" y="1210"/>
                    <a:pt x="153" y="1210"/>
                  </a:cubicBezTo>
                  <a:cubicBezTo>
                    <a:pt x="169" y="1210"/>
                    <a:pt x="182" y="1216"/>
                    <a:pt x="192" y="1226"/>
                  </a:cubicBezTo>
                  <a:cubicBezTo>
                    <a:pt x="202" y="1237"/>
                    <a:pt x="207" y="1251"/>
                    <a:pt x="207" y="1269"/>
                  </a:cubicBezTo>
                  <a:cubicBezTo>
                    <a:pt x="207" y="1281"/>
                    <a:pt x="204" y="1292"/>
                    <a:pt x="199" y="1302"/>
                  </a:cubicBezTo>
                  <a:cubicBezTo>
                    <a:pt x="194" y="1312"/>
                    <a:pt x="187" y="1319"/>
                    <a:pt x="178" y="1325"/>
                  </a:cubicBezTo>
                  <a:cubicBezTo>
                    <a:pt x="168" y="1331"/>
                    <a:pt x="158" y="1334"/>
                    <a:pt x="146" y="1334"/>
                  </a:cubicBezTo>
                  <a:lnTo>
                    <a:pt x="146" y="1308"/>
                  </a:lnTo>
                  <a:cubicBezTo>
                    <a:pt x="158" y="1308"/>
                    <a:pt x="168" y="1305"/>
                    <a:pt x="175" y="1298"/>
                  </a:cubicBezTo>
                  <a:cubicBezTo>
                    <a:pt x="182" y="1291"/>
                    <a:pt x="185" y="1281"/>
                    <a:pt x="185" y="1269"/>
                  </a:cubicBezTo>
                  <a:cubicBezTo>
                    <a:pt x="185" y="1258"/>
                    <a:pt x="182" y="1250"/>
                    <a:pt x="177" y="1244"/>
                  </a:cubicBezTo>
                  <a:cubicBezTo>
                    <a:pt x="171" y="1239"/>
                    <a:pt x="163" y="1236"/>
                    <a:pt x="153" y="1236"/>
                  </a:cubicBezTo>
                  <a:close/>
                  <a:moveTo>
                    <a:pt x="244" y="1180"/>
                  </a:moveTo>
                  <a:lnTo>
                    <a:pt x="234" y="1195"/>
                  </a:lnTo>
                  <a:cubicBezTo>
                    <a:pt x="222" y="1186"/>
                    <a:pt x="210" y="1182"/>
                    <a:pt x="197" y="1181"/>
                  </a:cubicBezTo>
                  <a:lnTo>
                    <a:pt x="174" y="1181"/>
                  </a:lnTo>
                  <a:lnTo>
                    <a:pt x="174" y="1156"/>
                  </a:lnTo>
                  <a:lnTo>
                    <a:pt x="194" y="1156"/>
                  </a:lnTo>
                  <a:cubicBezTo>
                    <a:pt x="203" y="1156"/>
                    <a:pt x="212" y="1159"/>
                    <a:pt x="222" y="1163"/>
                  </a:cubicBezTo>
                  <a:cubicBezTo>
                    <a:pt x="231" y="1168"/>
                    <a:pt x="239" y="1174"/>
                    <a:pt x="244" y="1180"/>
                  </a:cubicBezTo>
                  <a:close/>
                  <a:moveTo>
                    <a:pt x="204" y="990"/>
                  </a:moveTo>
                  <a:lnTo>
                    <a:pt x="204" y="1014"/>
                  </a:lnTo>
                  <a:lnTo>
                    <a:pt x="34" y="1014"/>
                  </a:lnTo>
                  <a:lnTo>
                    <a:pt x="53" y="1057"/>
                  </a:lnTo>
                  <a:lnTo>
                    <a:pt x="30" y="1057"/>
                  </a:lnTo>
                  <a:lnTo>
                    <a:pt x="2" y="994"/>
                  </a:lnTo>
                  <a:lnTo>
                    <a:pt x="2" y="990"/>
                  </a:lnTo>
                  <a:lnTo>
                    <a:pt x="204" y="990"/>
                  </a:lnTo>
                  <a:close/>
                  <a:moveTo>
                    <a:pt x="204" y="850"/>
                  </a:moveTo>
                  <a:lnTo>
                    <a:pt x="204" y="875"/>
                  </a:lnTo>
                  <a:lnTo>
                    <a:pt x="34" y="875"/>
                  </a:lnTo>
                  <a:lnTo>
                    <a:pt x="53" y="917"/>
                  </a:lnTo>
                  <a:lnTo>
                    <a:pt x="30" y="917"/>
                  </a:lnTo>
                  <a:lnTo>
                    <a:pt x="2" y="854"/>
                  </a:lnTo>
                  <a:lnTo>
                    <a:pt x="2" y="850"/>
                  </a:lnTo>
                  <a:lnTo>
                    <a:pt x="204" y="850"/>
                  </a:lnTo>
                  <a:close/>
                  <a:moveTo>
                    <a:pt x="141" y="676"/>
                  </a:moveTo>
                  <a:lnTo>
                    <a:pt x="141" y="690"/>
                  </a:lnTo>
                  <a:lnTo>
                    <a:pt x="204" y="690"/>
                  </a:lnTo>
                  <a:lnTo>
                    <a:pt x="204" y="714"/>
                  </a:lnTo>
                  <a:lnTo>
                    <a:pt x="55" y="714"/>
                  </a:lnTo>
                  <a:lnTo>
                    <a:pt x="55" y="690"/>
                  </a:lnTo>
                  <a:lnTo>
                    <a:pt x="118" y="690"/>
                  </a:lnTo>
                  <a:lnTo>
                    <a:pt x="118" y="678"/>
                  </a:lnTo>
                  <a:lnTo>
                    <a:pt x="55" y="637"/>
                  </a:lnTo>
                  <a:lnTo>
                    <a:pt x="55" y="608"/>
                  </a:lnTo>
                  <a:lnTo>
                    <a:pt x="126" y="658"/>
                  </a:lnTo>
                  <a:lnTo>
                    <a:pt x="204" y="604"/>
                  </a:lnTo>
                  <a:lnTo>
                    <a:pt x="204" y="635"/>
                  </a:lnTo>
                  <a:lnTo>
                    <a:pt x="141" y="676"/>
                  </a:lnTo>
                  <a:close/>
                  <a:moveTo>
                    <a:pt x="55" y="476"/>
                  </a:moveTo>
                  <a:lnTo>
                    <a:pt x="204" y="476"/>
                  </a:lnTo>
                  <a:lnTo>
                    <a:pt x="204" y="500"/>
                  </a:lnTo>
                  <a:lnTo>
                    <a:pt x="76" y="500"/>
                  </a:lnTo>
                  <a:lnTo>
                    <a:pt x="76" y="539"/>
                  </a:lnTo>
                  <a:lnTo>
                    <a:pt x="127" y="542"/>
                  </a:lnTo>
                  <a:cubicBezTo>
                    <a:pt x="155" y="543"/>
                    <a:pt x="175" y="547"/>
                    <a:pt x="186" y="553"/>
                  </a:cubicBezTo>
                  <a:cubicBezTo>
                    <a:pt x="198" y="559"/>
                    <a:pt x="204" y="569"/>
                    <a:pt x="204" y="583"/>
                  </a:cubicBezTo>
                  <a:lnTo>
                    <a:pt x="204" y="591"/>
                  </a:lnTo>
                  <a:lnTo>
                    <a:pt x="182" y="591"/>
                  </a:lnTo>
                  <a:lnTo>
                    <a:pt x="181" y="585"/>
                  </a:lnTo>
                  <a:cubicBezTo>
                    <a:pt x="180" y="578"/>
                    <a:pt x="176" y="573"/>
                    <a:pt x="167" y="571"/>
                  </a:cubicBezTo>
                  <a:cubicBezTo>
                    <a:pt x="159" y="568"/>
                    <a:pt x="143" y="566"/>
                    <a:pt x="119" y="565"/>
                  </a:cubicBezTo>
                  <a:lnTo>
                    <a:pt x="55" y="563"/>
                  </a:lnTo>
                  <a:lnTo>
                    <a:pt x="55" y="476"/>
                  </a:lnTo>
                  <a:close/>
                  <a:moveTo>
                    <a:pt x="204" y="360"/>
                  </a:moveTo>
                  <a:cubicBezTo>
                    <a:pt x="201" y="361"/>
                    <a:pt x="196" y="363"/>
                    <a:pt x="188" y="363"/>
                  </a:cubicBezTo>
                  <a:cubicBezTo>
                    <a:pt x="201" y="372"/>
                    <a:pt x="207" y="383"/>
                    <a:pt x="207" y="396"/>
                  </a:cubicBezTo>
                  <a:cubicBezTo>
                    <a:pt x="207" y="410"/>
                    <a:pt x="203" y="420"/>
                    <a:pt x="196" y="428"/>
                  </a:cubicBezTo>
                  <a:cubicBezTo>
                    <a:pt x="188" y="436"/>
                    <a:pt x="177" y="439"/>
                    <a:pt x="163" y="439"/>
                  </a:cubicBezTo>
                  <a:cubicBezTo>
                    <a:pt x="148" y="439"/>
                    <a:pt x="136" y="434"/>
                    <a:pt x="127" y="424"/>
                  </a:cubicBezTo>
                  <a:cubicBezTo>
                    <a:pt x="118" y="414"/>
                    <a:pt x="114" y="399"/>
                    <a:pt x="114" y="381"/>
                  </a:cubicBezTo>
                  <a:lnTo>
                    <a:pt x="114" y="364"/>
                  </a:lnTo>
                  <a:lnTo>
                    <a:pt x="98" y="364"/>
                  </a:lnTo>
                  <a:cubicBezTo>
                    <a:pt x="89" y="364"/>
                    <a:pt x="82" y="366"/>
                    <a:pt x="79" y="370"/>
                  </a:cubicBezTo>
                  <a:cubicBezTo>
                    <a:pt x="75" y="373"/>
                    <a:pt x="73" y="380"/>
                    <a:pt x="73" y="388"/>
                  </a:cubicBezTo>
                  <a:cubicBezTo>
                    <a:pt x="73" y="395"/>
                    <a:pt x="75" y="401"/>
                    <a:pt x="80" y="406"/>
                  </a:cubicBezTo>
                  <a:cubicBezTo>
                    <a:pt x="84" y="410"/>
                    <a:pt x="89" y="412"/>
                    <a:pt x="96" y="412"/>
                  </a:cubicBezTo>
                  <a:lnTo>
                    <a:pt x="96" y="437"/>
                  </a:lnTo>
                  <a:cubicBezTo>
                    <a:pt x="89" y="437"/>
                    <a:pt x="81" y="435"/>
                    <a:pt x="74" y="430"/>
                  </a:cubicBezTo>
                  <a:cubicBezTo>
                    <a:pt x="67" y="426"/>
                    <a:pt x="62" y="420"/>
                    <a:pt x="58" y="412"/>
                  </a:cubicBezTo>
                  <a:cubicBezTo>
                    <a:pt x="54" y="404"/>
                    <a:pt x="52" y="396"/>
                    <a:pt x="52" y="386"/>
                  </a:cubicBezTo>
                  <a:cubicBezTo>
                    <a:pt x="52" y="371"/>
                    <a:pt x="56" y="359"/>
                    <a:pt x="63" y="351"/>
                  </a:cubicBezTo>
                  <a:cubicBezTo>
                    <a:pt x="71" y="344"/>
                    <a:pt x="82" y="339"/>
                    <a:pt x="97" y="339"/>
                  </a:cubicBezTo>
                  <a:lnTo>
                    <a:pt x="172" y="339"/>
                  </a:lnTo>
                  <a:cubicBezTo>
                    <a:pt x="183" y="339"/>
                    <a:pt x="193" y="338"/>
                    <a:pt x="202" y="335"/>
                  </a:cubicBezTo>
                  <a:lnTo>
                    <a:pt x="204" y="335"/>
                  </a:lnTo>
                  <a:lnTo>
                    <a:pt x="204" y="360"/>
                  </a:lnTo>
                  <a:close/>
                  <a:moveTo>
                    <a:pt x="185" y="393"/>
                  </a:moveTo>
                  <a:cubicBezTo>
                    <a:pt x="185" y="387"/>
                    <a:pt x="183" y="381"/>
                    <a:pt x="180" y="375"/>
                  </a:cubicBezTo>
                  <a:cubicBezTo>
                    <a:pt x="176" y="370"/>
                    <a:pt x="172" y="366"/>
                    <a:pt x="167" y="364"/>
                  </a:cubicBezTo>
                  <a:lnTo>
                    <a:pt x="132" y="364"/>
                  </a:lnTo>
                  <a:lnTo>
                    <a:pt x="132" y="377"/>
                  </a:lnTo>
                  <a:cubicBezTo>
                    <a:pt x="132" y="389"/>
                    <a:pt x="134" y="398"/>
                    <a:pt x="140" y="405"/>
                  </a:cubicBezTo>
                  <a:cubicBezTo>
                    <a:pt x="145" y="412"/>
                    <a:pt x="152" y="415"/>
                    <a:pt x="161" y="415"/>
                  </a:cubicBezTo>
                  <a:cubicBezTo>
                    <a:pt x="169" y="415"/>
                    <a:pt x="175" y="413"/>
                    <a:pt x="179" y="410"/>
                  </a:cubicBezTo>
                  <a:cubicBezTo>
                    <a:pt x="183" y="406"/>
                    <a:pt x="185" y="401"/>
                    <a:pt x="185" y="393"/>
                  </a:cubicBezTo>
                  <a:close/>
                  <a:moveTo>
                    <a:pt x="186" y="250"/>
                  </a:moveTo>
                  <a:cubicBezTo>
                    <a:pt x="186" y="241"/>
                    <a:pt x="184" y="235"/>
                    <a:pt x="179" y="230"/>
                  </a:cubicBezTo>
                  <a:cubicBezTo>
                    <a:pt x="174" y="225"/>
                    <a:pt x="166" y="223"/>
                    <a:pt x="157" y="222"/>
                  </a:cubicBezTo>
                  <a:lnTo>
                    <a:pt x="157" y="199"/>
                  </a:lnTo>
                  <a:cubicBezTo>
                    <a:pt x="171" y="200"/>
                    <a:pt x="183" y="205"/>
                    <a:pt x="193" y="214"/>
                  </a:cubicBezTo>
                  <a:cubicBezTo>
                    <a:pt x="202" y="224"/>
                    <a:pt x="207" y="236"/>
                    <a:pt x="207" y="250"/>
                  </a:cubicBezTo>
                  <a:cubicBezTo>
                    <a:pt x="207" y="268"/>
                    <a:pt x="201" y="282"/>
                    <a:pt x="189" y="292"/>
                  </a:cubicBezTo>
                  <a:cubicBezTo>
                    <a:pt x="178" y="302"/>
                    <a:pt x="160" y="306"/>
                    <a:pt x="138" y="306"/>
                  </a:cubicBezTo>
                  <a:lnTo>
                    <a:pt x="121" y="306"/>
                  </a:lnTo>
                  <a:cubicBezTo>
                    <a:pt x="99" y="306"/>
                    <a:pt x="81" y="302"/>
                    <a:pt x="70" y="292"/>
                  </a:cubicBezTo>
                  <a:cubicBezTo>
                    <a:pt x="58" y="282"/>
                    <a:pt x="52" y="268"/>
                    <a:pt x="52" y="250"/>
                  </a:cubicBezTo>
                  <a:cubicBezTo>
                    <a:pt x="52" y="234"/>
                    <a:pt x="57" y="222"/>
                    <a:pt x="66" y="213"/>
                  </a:cubicBezTo>
                  <a:cubicBezTo>
                    <a:pt x="76" y="204"/>
                    <a:pt x="89" y="200"/>
                    <a:pt x="106" y="199"/>
                  </a:cubicBezTo>
                  <a:lnTo>
                    <a:pt x="106" y="222"/>
                  </a:lnTo>
                  <a:cubicBezTo>
                    <a:pt x="95" y="223"/>
                    <a:pt x="87" y="225"/>
                    <a:pt x="81" y="230"/>
                  </a:cubicBezTo>
                  <a:cubicBezTo>
                    <a:pt x="76" y="235"/>
                    <a:pt x="73" y="241"/>
                    <a:pt x="73" y="250"/>
                  </a:cubicBezTo>
                  <a:cubicBezTo>
                    <a:pt x="73" y="261"/>
                    <a:pt x="77" y="269"/>
                    <a:pt x="84" y="274"/>
                  </a:cubicBezTo>
                  <a:cubicBezTo>
                    <a:pt x="91" y="279"/>
                    <a:pt x="103" y="282"/>
                    <a:pt x="119" y="282"/>
                  </a:cubicBezTo>
                  <a:lnTo>
                    <a:pt x="138" y="282"/>
                  </a:lnTo>
                  <a:cubicBezTo>
                    <a:pt x="156" y="282"/>
                    <a:pt x="168" y="279"/>
                    <a:pt x="175" y="274"/>
                  </a:cubicBezTo>
                  <a:cubicBezTo>
                    <a:pt x="182" y="269"/>
                    <a:pt x="186" y="261"/>
                    <a:pt x="186" y="250"/>
                  </a:cubicBezTo>
                  <a:close/>
                  <a:moveTo>
                    <a:pt x="186" y="119"/>
                  </a:moveTo>
                  <a:cubicBezTo>
                    <a:pt x="186" y="111"/>
                    <a:pt x="184" y="104"/>
                    <a:pt x="179" y="100"/>
                  </a:cubicBezTo>
                  <a:cubicBezTo>
                    <a:pt x="174" y="95"/>
                    <a:pt x="166" y="92"/>
                    <a:pt x="157" y="92"/>
                  </a:cubicBezTo>
                  <a:lnTo>
                    <a:pt x="157" y="69"/>
                  </a:lnTo>
                  <a:cubicBezTo>
                    <a:pt x="171" y="69"/>
                    <a:pt x="183" y="74"/>
                    <a:pt x="193" y="84"/>
                  </a:cubicBezTo>
                  <a:cubicBezTo>
                    <a:pt x="202" y="93"/>
                    <a:pt x="207" y="105"/>
                    <a:pt x="207" y="119"/>
                  </a:cubicBezTo>
                  <a:cubicBezTo>
                    <a:pt x="207" y="138"/>
                    <a:pt x="201" y="152"/>
                    <a:pt x="189" y="161"/>
                  </a:cubicBezTo>
                  <a:cubicBezTo>
                    <a:pt x="178" y="171"/>
                    <a:pt x="160" y="176"/>
                    <a:pt x="138" y="176"/>
                  </a:cubicBezTo>
                  <a:lnTo>
                    <a:pt x="121" y="176"/>
                  </a:lnTo>
                  <a:cubicBezTo>
                    <a:pt x="99" y="176"/>
                    <a:pt x="81" y="171"/>
                    <a:pt x="70" y="161"/>
                  </a:cubicBezTo>
                  <a:cubicBezTo>
                    <a:pt x="58" y="152"/>
                    <a:pt x="52" y="138"/>
                    <a:pt x="52" y="119"/>
                  </a:cubicBezTo>
                  <a:cubicBezTo>
                    <a:pt x="52" y="104"/>
                    <a:pt x="57" y="92"/>
                    <a:pt x="66" y="83"/>
                  </a:cubicBezTo>
                  <a:cubicBezTo>
                    <a:pt x="76" y="74"/>
                    <a:pt x="89" y="69"/>
                    <a:pt x="106" y="69"/>
                  </a:cubicBezTo>
                  <a:lnTo>
                    <a:pt x="106" y="92"/>
                  </a:lnTo>
                  <a:cubicBezTo>
                    <a:pt x="95" y="92"/>
                    <a:pt x="87" y="95"/>
                    <a:pt x="81" y="100"/>
                  </a:cubicBezTo>
                  <a:cubicBezTo>
                    <a:pt x="76" y="104"/>
                    <a:pt x="73" y="111"/>
                    <a:pt x="73" y="119"/>
                  </a:cubicBezTo>
                  <a:cubicBezTo>
                    <a:pt x="73" y="130"/>
                    <a:pt x="77" y="138"/>
                    <a:pt x="84" y="143"/>
                  </a:cubicBezTo>
                  <a:cubicBezTo>
                    <a:pt x="91" y="149"/>
                    <a:pt x="103" y="151"/>
                    <a:pt x="119" y="151"/>
                  </a:cubicBezTo>
                  <a:lnTo>
                    <a:pt x="138" y="151"/>
                  </a:lnTo>
                  <a:cubicBezTo>
                    <a:pt x="156" y="151"/>
                    <a:pt x="168" y="149"/>
                    <a:pt x="175" y="144"/>
                  </a:cubicBezTo>
                  <a:cubicBezTo>
                    <a:pt x="182" y="139"/>
                    <a:pt x="186" y="130"/>
                    <a:pt x="186" y="119"/>
                  </a:cubicBezTo>
                  <a:close/>
                  <a:moveTo>
                    <a:pt x="462" y="1983"/>
                  </a:moveTo>
                  <a:cubicBezTo>
                    <a:pt x="438" y="1983"/>
                    <a:pt x="415" y="1980"/>
                    <a:pt x="394" y="1974"/>
                  </a:cubicBezTo>
                  <a:cubicBezTo>
                    <a:pt x="373" y="1967"/>
                    <a:pt x="354" y="1958"/>
                    <a:pt x="338" y="1946"/>
                  </a:cubicBezTo>
                  <a:cubicBezTo>
                    <a:pt x="328" y="1939"/>
                    <a:pt x="321" y="1932"/>
                    <a:pt x="317" y="1925"/>
                  </a:cubicBezTo>
                  <a:lnTo>
                    <a:pt x="333" y="1920"/>
                  </a:lnTo>
                  <a:cubicBezTo>
                    <a:pt x="344" y="1931"/>
                    <a:pt x="360" y="1940"/>
                    <a:pt x="381" y="1947"/>
                  </a:cubicBezTo>
                  <a:cubicBezTo>
                    <a:pt x="403" y="1954"/>
                    <a:pt x="426" y="1958"/>
                    <a:pt x="452" y="1959"/>
                  </a:cubicBezTo>
                  <a:lnTo>
                    <a:pt x="464" y="1959"/>
                  </a:lnTo>
                  <a:cubicBezTo>
                    <a:pt x="496" y="1959"/>
                    <a:pt x="525" y="1954"/>
                    <a:pt x="549" y="1945"/>
                  </a:cubicBezTo>
                  <a:cubicBezTo>
                    <a:pt x="568" y="1938"/>
                    <a:pt x="582" y="1930"/>
                    <a:pt x="593" y="1920"/>
                  </a:cubicBezTo>
                  <a:lnTo>
                    <a:pt x="608" y="1925"/>
                  </a:lnTo>
                  <a:cubicBezTo>
                    <a:pt x="603" y="1933"/>
                    <a:pt x="593" y="1942"/>
                    <a:pt x="580" y="1951"/>
                  </a:cubicBezTo>
                  <a:cubicBezTo>
                    <a:pt x="547" y="1972"/>
                    <a:pt x="508" y="1983"/>
                    <a:pt x="462" y="1983"/>
                  </a:cubicBezTo>
                  <a:close/>
                  <a:moveTo>
                    <a:pt x="543" y="1789"/>
                  </a:moveTo>
                  <a:lnTo>
                    <a:pt x="543" y="1813"/>
                  </a:lnTo>
                  <a:lnTo>
                    <a:pt x="415" y="1813"/>
                  </a:lnTo>
                  <a:lnTo>
                    <a:pt x="415" y="1867"/>
                  </a:lnTo>
                  <a:lnTo>
                    <a:pt x="543" y="1867"/>
                  </a:lnTo>
                  <a:lnTo>
                    <a:pt x="543" y="1892"/>
                  </a:lnTo>
                  <a:lnTo>
                    <a:pt x="394" y="1892"/>
                  </a:lnTo>
                  <a:lnTo>
                    <a:pt x="394" y="1789"/>
                  </a:lnTo>
                  <a:lnTo>
                    <a:pt x="543" y="1789"/>
                  </a:lnTo>
                  <a:close/>
                  <a:moveTo>
                    <a:pt x="476" y="1642"/>
                  </a:moveTo>
                  <a:cubicBezTo>
                    <a:pt x="500" y="1642"/>
                    <a:pt x="517" y="1647"/>
                    <a:pt x="529" y="1655"/>
                  </a:cubicBezTo>
                  <a:cubicBezTo>
                    <a:pt x="540" y="1664"/>
                    <a:pt x="546" y="1676"/>
                    <a:pt x="546" y="1691"/>
                  </a:cubicBezTo>
                  <a:cubicBezTo>
                    <a:pt x="546" y="1706"/>
                    <a:pt x="541" y="1718"/>
                    <a:pt x="529" y="1726"/>
                  </a:cubicBezTo>
                  <a:lnTo>
                    <a:pt x="601" y="1726"/>
                  </a:lnTo>
                  <a:lnTo>
                    <a:pt x="601" y="1750"/>
                  </a:lnTo>
                  <a:lnTo>
                    <a:pt x="394" y="1750"/>
                  </a:lnTo>
                  <a:lnTo>
                    <a:pt x="394" y="1728"/>
                  </a:lnTo>
                  <a:lnTo>
                    <a:pt x="411" y="1727"/>
                  </a:lnTo>
                  <a:cubicBezTo>
                    <a:pt x="398" y="1719"/>
                    <a:pt x="391" y="1707"/>
                    <a:pt x="391" y="1692"/>
                  </a:cubicBezTo>
                  <a:cubicBezTo>
                    <a:pt x="391" y="1675"/>
                    <a:pt x="397" y="1663"/>
                    <a:pt x="408" y="1655"/>
                  </a:cubicBezTo>
                  <a:cubicBezTo>
                    <a:pt x="420" y="1647"/>
                    <a:pt x="437" y="1643"/>
                    <a:pt x="460" y="1642"/>
                  </a:cubicBezTo>
                  <a:lnTo>
                    <a:pt x="476" y="1642"/>
                  </a:lnTo>
                  <a:close/>
                  <a:moveTo>
                    <a:pt x="462" y="1667"/>
                  </a:moveTo>
                  <a:cubicBezTo>
                    <a:pt x="445" y="1667"/>
                    <a:pt x="433" y="1669"/>
                    <a:pt x="425" y="1674"/>
                  </a:cubicBezTo>
                  <a:cubicBezTo>
                    <a:pt x="417" y="1679"/>
                    <a:pt x="413" y="1688"/>
                    <a:pt x="413" y="1699"/>
                  </a:cubicBezTo>
                  <a:cubicBezTo>
                    <a:pt x="413" y="1711"/>
                    <a:pt x="419" y="1720"/>
                    <a:pt x="430" y="1726"/>
                  </a:cubicBezTo>
                  <a:lnTo>
                    <a:pt x="508" y="1726"/>
                  </a:lnTo>
                  <a:cubicBezTo>
                    <a:pt x="520" y="1720"/>
                    <a:pt x="525" y="1711"/>
                    <a:pt x="525" y="1699"/>
                  </a:cubicBezTo>
                  <a:cubicBezTo>
                    <a:pt x="525" y="1688"/>
                    <a:pt x="521" y="1680"/>
                    <a:pt x="513" y="1675"/>
                  </a:cubicBezTo>
                  <a:cubicBezTo>
                    <a:pt x="505" y="1669"/>
                    <a:pt x="493" y="1667"/>
                    <a:pt x="477" y="1667"/>
                  </a:cubicBezTo>
                  <a:lnTo>
                    <a:pt x="462" y="1667"/>
                  </a:lnTo>
                  <a:close/>
                  <a:moveTo>
                    <a:pt x="462" y="1616"/>
                  </a:moveTo>
                  <a:cubicBezTo>
                    <a:pt x="440" y="1616"/>
                    <a:pt x="423" y="1611"/>
                    <a:pt x="410" y="1600"/>
                  </a:cubicBezTo>
                  <a:cubicBezTo>
                    <a:pt x="398" y="1590"/>
                    <a:pt x="391" y="1576"/>
                    <a:pt x="391" y="1558"/>
                  </a:cubicBezTo>
                  <a:cubicBezTo>
                    <a:pt x="391" y="1541"/>
                    <a:pt x="397" y="1527"/>
                    <a:pt x="410" y="1517"/>
                  </a:cubicBezTo>
                  <a:cubicBezTo>
                    <a:pt x="422" y="1506"/>
                    <a:pt x="439" y="1501"/>
                    <a:pt x="460" y="1500"/>
                  </a:cubicBezTo>
                  <a:lnTo>
                    <a:pt x="476" y="1500"/>
                  </a:lnTo>
                  <a:cubicBezTo>
                    <a:pt x="498" y="1500"/>
                    <a:pt x="515" y="1506"/>
                    <a:pt x="527" y="1516"/>
                  </a:cubicBezTo>
                  <a:cubicBezTo>
                    <a:pt x="540" y="1527"/>
                    <a:pt x="546" y="1541"/>
                    <a:pt x="546" y="1558"/>
                  </a:cubicBezTo>
                  <a:cubicBezTo>
                    <a:pt x="546" y="1575"/>
                    <a:pt x="540" y="1589"/>
                    <a:pt x="528" y="1600"/>
                  </a:cubicBezTo>
                  <a:cubicBezTo>
                    <a:pt x="516" y="1610"/>
                    <a:pt x="499" y="1616"/>
                    <a:pt x="478" y="1616"/>
                  </a:cubicBezTo>
                  <a:lnTo>
                    <a:pt x="462" y="1616"/>
                  </a:lnTo>
                  <a:close/>
                  <a:moveTo>
                    <a:pt x="476" y="1592"/>
                  </a:moveTo>
                  <a:cubicBezTo>
                    <a:pt x="491" y="1592"/>
                    <a:pt x="503" y="1588"/>
                    <a:pt x="512" y="1582"/>
                  </a:cubicBezTo>
                  <a:cubicBezTo>
                    <a:pt x="521" y="1576"/>
                    <a:pt x="525" y="1568"/>
                    <a:pt x="525" y="1558"/>
                  </a:cubicBezTo>
                  <a:cubicBezTo>
                    <a:pt x="525" y="1537"/>
                    <a:pt x="510" y="1526"/>
                    <a:pt x="479" y="1525"/>
                  </a:cubicBezTo>
                  <a:lnTo>
                    <a:pt x="462" y="1525"/>
                  </a:lnTo>
                  <a:cubicBezTo>
                    <a:pt x="447" y="1525"/>
                    <a:pt x="434" y="1528"/>
                    <a:pt x="426" y="1534"/>
                  </a:cubicBezTo>
                  <a:cubicBezTo>
                    <a:pt x="417" y="1540"/>
                    <a:pt x="412" y="1548"/>
                    <a:pt x="412" y="1558"/>
                  </a:cubicBezTo>
                  <a:cubicBezTo>
                    <a:pt x="412" y="1568"/>
                    <a:pt x="417" y="1576"/>
                    <a:pt x="426" y="1582"/>
                  </a:cubicBezTo>
                  <a:cubicBezTo>
                    <a:pt x="434" y="1588"/>
                    <a:pt x="446" y="1592"/>
                    <a:pt x="462" y="1592"/>
                  </a:cubicBezTo>
                  <a:lnTo>
                    <a:pt x="476" y="1592"/>
                  </a:lnTo>
                  <a:close/>
                  <a:moveTo>
                    <a:pt x="472" y="1473"/>
                  </a:moveTo>
                  <a:cubicBezTo>
                    <a:pt x="447" y="1473"/>
                    <a:pt x="427" y="1469"/>
                    <a:pt x="413" y="1461"/>
                  </a:cubicBezTo>
                  <a:cubicBezTo>
                    <a:pt x="398" y="1453"/>
                    <a:pt x="391" y="1442"/>
                    <a:pt x="391" y="1428"/>
                  </a:cubicBezTo>
                  <a:cubicBezTo>
                    <a:pt x="391" y="1422"/>
                    <a:pt x="392" y="1416"/>
                    <a:pt x="394" y="1412"/>
                  </a:cubicBezTo>
                  <a:lnTo>
                    <a:pt x="331" y="1412"/>
                  </a:lnTo>
                  <a:lnTo>
                    <a:pt x="331" y="1387"/>
                  </a:lnTo>
                  <a:lnTo>
                    <a:pt x="395" y="1387"/>
                  </a:lnTo>
                  <a:cubicBezTo>
                    <a:pt x="393" y="1382"/>
                    <a:pt x="391" y="1376"/>
                    <a:pt x="391" y="1369"/>
                  </a:cubicBezTo>
                  <a:cubicBezTo>
                    <a:pt x="391" y="1355"/>
                    <a:pt x="398" y="1344"/>
                    <a:pt x="413" y="1336"/>
                  </a:cubicBezTo>
                  <a:cubicBezTo>
                    <a:pt x="427" y="1327"/>
                    <a:pt x="448" y="1323"/>
                    <a:pt x="474" y="1323"/>
                  </a:cubicBezTo>
                  <a:cubicBezTo>
                    <a:pt x="497" y="1323"/>
                    <a:pt x="514" y="1327"/>
                    <a:pt x="527" y="1336"/>
                  </a:cubicBezTo>
                  <a:cubicBezTo>
                    <a:pt x="540" y="1344"/>
                    <a:pt x="546" y="1355"/>
                    <a:pt x="546" y="1369"/>
                  </a:cubicBezTo>
                  <a:cubicBezTo>
                    <a:pt x="546" y="1376"/>
                    <a:pt x="545" y="1382"/>
                    <a:pt x="543" y="1387"/>
                  </a:cubicBezTo>
                  <a:lnTo>
                    <a:pt x="601" y="1387"/>
                  </a:lnTo>
                  <a:lnTo>
                    <a:pt x="601" y="1412"/>
                  </a:lnTo>
                  <a:lnTo>
                    <a:pt x="543" y="1412"/>
                  </a:lnTo>
                  <a:cubicBezTo>
                    <a:pt x="545" y="1417"/>
                    <a:pt x="546" y="1422"/>
                    <a:pt x="546" y="1428"/>
                  </a:cubicBezTo>
                  <a:cubicBezTo>
                    <a:pt x="546" y="1442"/>
                    <a:pt x="540" y="1453"/>
                    <a:pt x="527" y="1461"/>
                  </a:cubicBezTo>
                  <a:cubicBezTo>
                    <a:pt x="514" y="1469"/>
                    <a:pt x="496" y="1473"/>
                    <a:pt x="472" y="1473"/>
                  </a:cubicBezTo>
                  <a:close/>
                  <a:moveTo>
                    <a:pt x="472" y="1348"/>
                  </a:moveTo>
                  <a:cubicBezTo>
                    <a:pt x="453" y="1348"/>
                    <a:pt x="438" y="1350"/>
                    <a:pt x="428" y="1355"/>
                  </a:cubicBezTo>
                  <a:cubicBezTo>
                    <a:pt x="417" y="1360"/>
                    <a:pt x="412" y="1367"/>
                    <a:pt x="412" y="1377"/>
                  </a:cubicBezTo>
                  <a:cubicBezTo>
                    <a:pt x="412" y="1381"/>
                    <a:pt x="413" y="1384"/>
                    <a:pt x="414" y="1387"/>
                  </a:cubicBezTo>
                  <a:lnTo>
                    <a:pt x="524" y="1387"/>
                  </a:lnTo>
                  <a:cubicBezTo>
                    <a:pt x="525" y="1384"/>
                    <a:pt x="526" y="1381"/>
                    <a:pt x="526" y="1376"/>
                  </a:cubicBezTo>
                  <a:cubicBezTo>
                    <a:pt x="526" y="1367"/>
                    <a:pt x="521" y="1360"/>
                    <a:pt x="512" y="1355"/>
                  </a:cubicBezTo>
                  <a:cubicBezTo>
                    <a:pt x="503" y="1350"/>
                    <a:pt x="490" y="1348"/>
                    <a:pt x="472" y="1348"/>
                  </a:cubicBezTo>
                  <a:close/>
                  <a:moveTo>
                    <a:pt x="474" y="1449"/>
                  </a:moveTo>
                  <a:cubicBezTo>
                    <a:pt x="491" y="1449"/>
                    <a:pt x="504" y="1447"/>
                    <a:pt x="513" y="1442"/>
                  </a:cubicBezTo>
                  <a:cubicBezTo>
                    <a:pt x="521" y="1437"/>
                    <a:pt x="526" y="1430"/>
                    <a:pt x="526" y="1421"/>
                  </a:cubicBezTo>
                  <a:cubicBezTo>
                    <a:pt x="526" y="1418"/>
                    <a:pt x="525" y="1415"/>
                    <a:pt x="524" y="1412"/>
                  </a:cubicBezTo>
                  <a:lnTo>
                    <a:pt x="414" y="1412"/>
                  </a:lnTo>
                  <a:cubicBezTo>
                    <a:pt x="413" y="1415"/>
                    <a:pt x="412" y="1418"/>
                    <a:pt x="412" y="1421"/>
                  </a:cubicBezTo>
                  <a:cubicBezTo>
                    <a:pt x="412" y="1430"/>
                    <a:pt x="417" y="1437"/>
                    <a:pt x="427" y="1442"/>
                  </a:cubicBezTo>
                  <a:cubicBezTo>
                    <a:pt x="437" y="1447"/>
                    <a:pt x="453" y="1449"/>
                    <a:pt x="474" y="1449"/>
                  </a:cubicBezTo>
                  <a:close/>
                  <a:moveTo>
                    <a:pt x="394" y="1210"/>
                  </a:moveTo>
                  <a:lnTo>
                    <a:pt x="394" y="1186"/>
                  </a:lnTo>
                  <a:lnTo>
                    <a:pt x="543" y="1186"/>
                  </a:lnTo>
                  <a:lnTo>
                    <a:pt x="543" y="1210"/>
                  </a:lnTo>
                  <a:lnTo>
                    <a:pt x="434" y="1210"/>
                  </a:lnTo>
                  <a:lnTo>
                    <a:pt x="543" y="1265"/>
                  </a:lnTo>
                  <a:lnTo>
                    <a:pt x="543" y="1289"/>
                  </a:lnTo>
                  <a:lnTo>
                    <a:pt x="394" y="1289"/>
                  </a:lnTo>
                  <a:lnTo>
                    <a:pt x="394" y="1265"/>
                  </a:lnTo>
                  <a:lnTo>
                    <a:pt x="503" y="1265"/>
                  </a:lnTo>
                  <a:lnTo>
                    <a:pt x="394" y="1210"/>
                  </a:lnTo>
                  <a:close/>
                  <a:moveTo>
                    <a:pt x="394" y="1042"/>
                  </a:moveTo>
                  <a:lnTo>
                    <a:pt x="543" y="1042"/>
                  </a:lnTo>
                  <a:lnTo>
                    <a:pt x="543" y="1066"/>
                  </a:lnTo>
                  <a:lnTo>
                    <a:pt x="415" y="1066"/>
                  </a:lnTo>
                  <a:lnTo>
                    <a:pt x="415" y="1106"/>
                  </a:lnTo>
                  <a:lnTo>
                    <a:pt x="466" y="1108"/>
                  </a:lnTo>
                  <a:cubicBezTo>
                    <a:pt x="494" y="1109"/>
                    <a:pt x="514" y="1113"/>
                    <a:pt x="526" y="1119"/>
                  </a:cubicBezTo>
                  <a:cubicBezTo>
                    <a:pt x="537" y="1126"/>
                    <a:pt x="543" y="1136"/>
                    <a:pt x="543" y="1149"/>
                  </a:cubicBezTo>
                  <a:lnTo>
                    <a:pt x="543" y="1158"/>
                  </a:lnTo>
                  <a:lnTo>
                    <a:pt x="521" y="1158"/>
                  </a:lnTo>
                  <a:lnTo>
                    <a:pt x="520" y="1151"/>
                  </a:lnTo>
                  <a:cubicBezTo>
                    <a:pt x="519" y="1145"/>
                    <a:pt x="515" y="1140"/>
                    <a:pt x="507" y="1137"/>
                  </a:cubicBezTo>
                  <a:cubicBezTo>
                    <a:pt x="498" y="1134"/>
                    <a:pt x="482" y="1132"/>
                    <a:pt x="458" y="1131"/>
                  </a:cubicBezTo>
                  <a:lnTo>
                    <a:pt x="394" y="1129"/>
                  </a:lnTo>
                  <a:lnTo>
                    <a:pt x="394" y="1042"/>
                  </a:lnTo>
                  <a:close/>
                  <a:moveTo>
                    <a:pt x="446" y="977"/>
                  </a:moveTo>
                  <a:lnTo>
                    <a:pt x="446" y="946"/>
                  </a:lnTo>
                  <a:cubicBezTo>
                    <a:pt x="446" y="932"/>
                    <a:pt x="450" y="920"/>
                    <a:pt x="459" y="912"/>
                  </a:cubicBezTo>
                  <a:cubicBezTo>
                    <a:pt x="467" y="903"/>
                    <a:pt x="479" y="899"/>
                    <a:pt x="494" y="899"/>
                  </a:cubicBezTo>
                  <a:cubicBezTo>
                    <a:pt x="509" y="899"/>
                    <a:pt x="521" y="903"/>
                    <a:pt x="530" y="912"/>
                  </a:cubicBezTo>
                  <a:cubicBezTo>
                    <a:pt x="539" y="920"/>
                    <a:pt x="543" y="932"/>
                    <a:pt x="543" y="946"/>
                  </a:cubicBezTo>
                  <a:lnTo>
                    <a:pt x="543" y="1001"/>
                  </a:lnTo>
                  <a:lnTo>
                    <a:pt x="394" y="1001"/>
                  </a:lnTo>
                  <a:lnTo>
                    <a:pt x="394" y="977"/>
                  </a:lnTo>
                  <a:lnTo>
                    <a:pt x="446" y="977"/>
                  </a:lnTo>
                  <a:close/>
                  <a:moveTo>
                    <a:pt x="466" y="977"/>
                  </a:moveTo>
                  <a:lnTo>
                    <a:pt x="523" y="977"/>
                  </a:lnTo>
                  <a:lnTo>
                    <a:pt x="523" y="946"/>
                  </a:lnTo>
                  <a:cubicBezTo>
                    <a:pt x="523" y="939"/>
                    <a:pt x="520" y="933"/>
                    <a:pt x="515" y="929"/>
                  </a:cubicBezTo>
                  <a:cubicBezTo>
                    <a:pt x="510" y="925"/>
                    <a:pt x="504" y="923"/>
                    <a:pt x="495" y="923"/>
                  </a:cubicBezTo>
                  <a:cubicBezTo>
                    <a:pt x="486" y="923"/>
                    <a:pt x="480" y="925"/>
                    <a:pt x="474" y="929"/>
                  </a:cubicBezTo>
                  <a:cubicBezTo>
                    <a:pt x="469" y="933"/>
                    <a:pt x="466" y="939"/>
                    <a:pt x="466" y="946"/>
                  </a:cubicBezTo>
                  <a:lnTo>
                    <a:pt x="466" y="977"/>
                  </a:lnTo>
                  <a:close/>
                  <a:moveTo>
                    <a:pt x="543" y="763"/>
                  </a:moveTo>
                  <a:lnTo>
                    <a:pt x="543" y="787"/>
                  </a:lnTo>
                  <a:lnTo>
                    <a:pt x="480" y="787"/>
                  </a:lnTo>
                  <a:lnTo>
                    <a:pt x="480" y="841"/>
                  </a:lnTo>
                  <a:lnTo>
                    <a:pt x="543" y="841"/>
                  </a:lnTo>
                  <a:lnTo>
                    <a:pt x="543" y="866"/>
                  </a:lnTo>
                  <a:lnTo>
                    <a:pt x="394" y="866"/>
                  </a:lnTo>
                  <a:lnTo>
                    <a:pt x="394" y="841"/>
                  </a:lnTo>
                  <a:lnTo>
                    <a:pt x="459" y="841"/>
                  </a:lnTo>
                  <a:lnTo>
                    <a:pt x="459" y="787"/>
                  </a:lnTo>
                  <a:lnTo>
                    <a:pt x="394" y="787"/>
                  </a:lnTo>
                  <a:lnTo>
                    <a:pt x="394" y="763"/>
                  </a:lnTo>
                  <a:lnTo>
                    <a:pt x="543" y="763"/>
                  </a:lnTo>
                  <a:close/>
                  <a:moveTo>
                    <a:pt x="543" y="647"/>
                  </a:moveTo>
                  <a:cubicBezTo>
                    <a:pt x="540" y="649"/>
                    <a:pt x="535" y="650"/>
                    <a:pt x="527" y="650"/>
                  </a:cubicBezTo>
                  <a:cubicBezTo>
                    <a:pt x="540" y="659"/>
                    <a:pt x="546" y="670"/>
                    <a:pt x="546" y="684"/>
                  </a:cubicBezTo>
                  <a:cubicBezTo>
                    <a:pt x="546" y="697"/>
                    <a:pt x="542" y="708"/>
                    <a:pt x="535" y="715"/>
                  </a:cubicBezTo>
                  <a:cubicBezTo>
                    <a:pt x="527" y="723"/>
                    <a:pt x="516" y="727"/>
                    <a:pt x="503" y="727"/>
                  </a:cubicBezTo>
                  <a:cubicBezTo>
                    <a:pt x="488" y="727"/>
                    <a:pt x="475" y="722"/>
                    <a:pt x="467" y="711"/>
                  </a:cubicBezTo>
                  <a:cubicBezTo>
                    <a:pt x="458" y="701"/>
                    <a:pt x="453" y="687"/>
                    <a:pt x="453" y="669"/>
                  </a:cubicBezTo>
                  <a:lnTo>
                    <a:pt x="453" y="651"/>
                  </a:lnTo>
                  <a:lnTo>
                    <a:pt x="437" y="651"/>
                  </a:lnTo>
                  <a:cubicBezTo>
                    <a:pt x="428" y="651"/>
                    <a:pt x="422" y="653"/>
                    <a:pt x="418" y="657"/>
                  </a:cubicBezTo>
                  <a:cubicBezTo>
                    <a:pt x="414" y="661"/>
                    <a:pt x="412" y="667"/>
                    <a:pt x="412" y="675"/>
                  </a:cubicBezTo>
                  <a:cubicBezTo>
                    <a:pt x="412" y="682"/>
                    <a:pt x="414" y="688"/>
                    <a:pt x="419" y="693"/>
                  </a:cubicBezTo>
                  <a:cubicBezTo>
                    <a:pt x="423" y="697"/>
                    <a:pt x="429" y="700"/>
                    <a:pt x="435" y="700"/>
                  </a:cubicBezTo>
                  <a:lnTo>
                    <a:pt x="435" y="724"/>
                  </a:lnTo>
                  <a:cubicBezTo>
                    <a:pt x="428" y="724"/>
                    <a:pt x="421" y="722"/>
                    <a:pt x="414" y="717"/>
                  </a:cubicBezTo>
                  <a:cubicBezTo>
                    <a:pt x="407" y="713"/>
                    <a:pt x="401" y="707"/>
                    <a:pt x="397" y="699"/>
                  </a:cubicBezTo>
                  <a:cubicBezTo>
                    <a:pt x="393" y="692"/>
                    <a:pt x="391" y="683"/>
                    <a:pt x="391" y="674"/>
                  </a:cubicBezTo>
                  <a:cubicBezTo>
                    <a:pt x="391" y="658"/>
                    <a:pt x="395" y="647"/>
                    <a:pt x="403" y="639"/>
                  </a:cubicBezTo>
                  <a:cubicBezTo>
                    <a:pt x="410" y="631"/>
                    <a:pt x="421" y="627"/>
                    <a:pt x="436" y="627"/>
                  </a:cubicBezTo>
                  <a:lnTo>
                    <a:pt x="511" y="627"/>
                  </a:lnTo>
                  <a:cubicBezTo>
                    <a:pt x="523" y="626"/>
                    <a:pt x="533" y="625"/>
                    <a:pt x="541" y="622"/>
                  </a:cubicBezTo>
                  <a:lnTo>
                    <a:pt x="543" y="622"/>
                  </a:lnTo>
                  <a:lnTo>
                    <a:pt x="543" y="647"/>
                  </a:lnTo>
                  <a:close/>
                  <a:moveTo>
                    <a:pt x="524" y="680"/>
                  </a:moveTo>
                  <a:cubicBezTo>
                    <a:pt x="524" y="674"/>
                    <a:pt x="522" y="668"/>
                    <a:pt x="519" y="663"/>
                  </a:cubicBezTo>
                  <a:cubicBezTo>
                    <a:pt x="516" y="657"/>
                    <a:pt x="512" y="653"/>
                    <a:pt x="507" y="651"/>
                  </a:cubicBezTo>
                  <a:lnTo>
                    <a:pt x="471" y="651"/>
                  </a:lnTo>
                  <a:lnTo>
                    <a:pt x="471" y="665"/>
                  </a:lnTo>
                  <a:cubicBezTo>
                    <a:pt x="471" y="676"/>
                    <a:pt x="474" y="685"/>
                    <a:pt x="479" y="692"/>
                  </a:cubicBezTo>
                  <a:cubicBezTo>
                    <a:pt x="484" y="699"/>
                    <a:pt x="491" y="702"/>
                    <a:pt x="500" y="702"/>
                  </a:cubicBezTo>
                  <a:cubicBezTo>
                    <a:pt x="508" y="702"/>
                    <a:pt x="514" y="700"/>
                    <a:pt x="518" y="697"/>
                  </a:cubicBezTo>
                  <a:cubicBezTo>
                    <a:pt x="522" y="694"/>
                    <a:pt x="524" y="688"/>
                    <a:pt x="524" y="680"/>
                  </a:cubicBezTo>
                  <a:close/>
                  <a:moveTo>
                    <a:pt x="394" y="491"/>
                  </a:moveTo>
                  <a:lnTo>
                    <a:pt x="543" y="491"/>
                  </a:lnTo>
                  <a:lnTo>
                    <a:pt x="543" y="516"/>
                  </a:lnTo>
                  <a:lnTo>
                    <a:pt x="485" y="516"/>
                  </a:lnTo>
                  <a:lnTo>
                    <a:pt x="485" y="544"/>
                  </a:lnTo>
                  <a:lnTo>
                    <a:pt x="543" y="575"/>
                  </a:lnTo>
                  <a:lnTo>
                    <a:pt x="543" y="601"/>
                  </a:lnTo>
                  <a:lnTo>
                    <a:pt x="481" y="568"/>
                  </a:lnTo>
                  <a:cubicBezTo>
                    <a:pt x="477" y="577"/>
                    <a:pt x="472" y="583"/>
                    <a:pt x="465" y="587"/>
                  </a:cubicBezTo>
                  <a:cubicBezTo>
                    <a:pt x="458" y="591"/>
                    <a:pt x="449" y="593"/>
                    <a:pt x="440" y="593"/>
                  </a:cubicBezTo>
                  <a:cubicBezTo>
                    <a:pt x="426" y="593"/>
                    <a:pt x="415" y="589"/>
                    <a:pt x="407" y="580"/>
                  </a:cubicBezTo>
                  <a:cubicBezTo>
                    <a:pt x="398" y="571"/>
                    <a:pt x="394" y="559"/>
                    <a:pt x="394" y="544"/>
                  </a:cubicBezTo>
                  <a:lnTo>
                    <a:pt x="394" y="491"/>
                  </a:lnTo>
                  <a:close/>
                  <a:moveTo>
                    <a:pt x="440" y="569"/>
                  </a:moveTo>
                  <a:cubicBezTo>
                    <a:pt x="447" y="569"/>
                    <a:pt x="453" y="567"/>
                    <a:pt x="458" y="563"/>
                  </a:cubicBezTo>
                  <a:cubicBezTo>
                    <a:pt x="462" y="559"/>
                    <a:pt x="464" y="554"/>
                    <a:pt x="464" y="547"/>
                  </a:cubicBezTo>
                  <a:lnTo>
                    <a:pt x="464" y="516"/>
                  </a:lnTo>
                  <a:lnTo>
                    <a:pt x="415" y="516"/>
                  </a:lnTo>
                  <a:lnTo>
                    <a:pt x="415" y="545"/>
                  </a:lnTo>
                  <a:cubicBezTo>
                    <a:pt x="415" y="552"/>
                    <a:pt x="417" y="558"/>
                    <a:pt x="422" y="562"/>
                  </a:cubicBezTo>
                  <a:cubicBezTo>
                    <a:pt x="426" y="567"/>
                    <a:pt x="432" y="569"/>
                    <a:pt x="440" y="569"/>
                  </a:cubicBezTo>
                  <a:close/>
                  <a:moveTo>
                    <a:pt x="583" y="452"/>
                  </a:moveTo>
                  <a:lnTo>
                    <a:pt x="573" y="467"/>
                  </a:lnTo>
                  <a:cubicBezTo>
                    <a:pt x="561" y="458"/>
                    <a:pt x="549" y="453"/>
                    <a:pt x="536" y="453"/>
                  </a:cubicBezTo>
                  <a:lnTo>
                    <a:pt x="513" y="453"/>
                  </a:lnTo>
                  <a:lnTo>
                    <a:pt x="513" y="428"/>
                  </a:lnTo>
                  <a:lnTo>
                    <a:pt x="533" y="428"/>
                  </a:lnTo>
                  <a:cubicBezTo>
                    <a:pt x="542" y="428"/>
                    <a:pt x="552" y="430"/>
                    <a:pt x="561" y="435"/>
                  </a:cubicBezTo>
                  <a:cubicBezTo>
                    <a:pt x="570" y="439"/>
                    <a:pt x="578" y="445"/>
                    <a:pt x="583" y="452"/>
                  </a:cubicBezTo>
                  <a:close/>
                  <a:moveTo>
                    <a:pt x="395" y="231"/>
                  </a:moveTo>
                  <a:cubicBezTo>
                    <a:pt x="405" y="231"/>
                    <a:pt x="414" y="233"/>
                    <a:pt x="422" y="238"/>
                  </a:cubicBezTo>
                  <a:cubicBezTo>
                    <a:pt x="429" y="242"/>
                    <a:pt x="436" y="248"/>
                    <a:pt x="440" y="256"/>
                  </a:cubicBezTo>
                  <a:cubicBezTo>
                    <a:pt x="445" y="247"/>
                    <a:pt x="451" y="240"/>
                    <a:pt x="460" y="235"/>
                  </a:cubicBezTo>
                  <a:cubicBezTo>
                    <a:pt x="468" y="230"/>
                    <a:pt x="478" y="227"/>
                    <a:pt x="489" y="227"/>
                  </a:cubicBezTo>
                  <a:cubicBezTo>
                    <a:pt x="506" y="227"/>
                    <a:pt x="520" y="232"/>
                    <a:pt x="531" y="242"/>
                  </a:cubicBezTo>
                  <a:cubicBezTo>
                    <a:pt x="541" y="252"/>
                    <a:pt x="546" y="264"/>
                    <a:pt x="546" y="281"/>
                  </a:cubicBezTo>
                  <a:cubicBezTo>
                    <a:pt x="546" y="297"/>
                    <a:pt x="541" y="310"/>
                    <a:pt x="531" y="320"/>
                  </a:cubicBezTo>
                  <a:cubicBezTo>
                    <a:pt x="520" y="329"/>
                    <a:pt x="506" y="334"/>
                    <a:pt x="489" y="334"/>
                  </a:cubicBezTo>
                  <a:cubicBezTo>
                    <a:pt x="478" y="334"/>
                    <a:pt x="468" y="332"/>
                    <a:pt x="460" y="327"/>
                  </a:cubicBezTo>
                  <a:cubicBezTo>
                    <a:pt x="451" y="322"/>
                    <a:pt x="444" y="315"/>
                    <a:pt x="440" y="306"/>
                  </a:cubicBezTo>
                  <a:cubicBezTo>
                    <a:pt x="435" y="314"/>
                    <a:pt x="429" y="320"/>
                    <a:pt x="422" y="324"/>
                  </a:cubicBezTo>
                  <a:cubicBezTo>
                    <a:pt x="414" y="328"/>
                    <a:pt x="405" y="331"/>
                    <a:pt x="395" y="331"/>
                  </a:cubicBezTo>
                  <a:cubicBezTo>
                    <a:pt x="378" y="331"/>
                    <a:pt x="365" y="326"/>
                    <a:pt x="355" y="317"/>
                  </a:cubicBezTo>
                  <a:cubicBezTo>
                    <a:pt x="345" y="308"/>
                    <a:pt x="340" y="296"/>
                    <a:pt x="340" y="281"/>
                  </a:cubicBezTo>
                  <a:cubicBezTo>
                    <a:pt x="340" y="266"/>
                    <a:pt x="345" y="254"/>
                    <a:pt x="354" y="245"/>
                  </a:cubicBezTo>
                  <a:cubicBezTo>
                    <a:pt x="364" y="235"/>
                    <a:pt x="378" y="231"/>
                    <a:pt x="395" y="231"/>
                  </a:cubicBezTo>
                  <a:close/>
                  <a:moveTo>
                    <a:pt x="489" y="251"/>
                  </a:moveTo>
                  <a:cubicBezTo>
                    <a:pt x="477" y="251"/>
                    <a:pt x="468" y="254"/>
                    <a:pt x="461" y="260"/>
                  </a:cubicBezTo>
                  <a:cubicBezTo>
                    <a:pt x="454" y="265"/>
                    <a:pt x="450" y="272"/>
                    <a:pt x="450" y="281"/>
                  </a:cubicBezTo>
                  <a:cubicBezTo>
                    <a:pt x="450" y="290"/>
                    <a:pt x="454" y="297"/>
                    <a:pt x="461" y="302"/>
                  </a:cubicBezTo>
                  <a:cubicBezTo>
                    <a:pt x="468" y="307"/>
                    <a:pt x="477" y="310"/>
                    <a:pt x="489" y="310"/>
                  </a:cubicBezTo>
                  <a:cubicBezTo>
                    <a:pt x="500" y="310"/>
                    <a:pt x="509" y="308"/>
                    <a:pt x="516" y="302"/>
                  </a:cubicBezTo>
                  <a:cubicBezTo>
                    <a:pt x="522" y="297"/>
                    <a:pt x="525" y="290"/>
                    <a:pt x="525" y="281"/>
                  </a:cubicBezTo>
                  <a:cubicBezTo>
                    <a:pt x="525" y="271"/>
                    <a:pt x="522" y="264"/>
                    <a:pt x="516" y="259"/>
                  </a:cubicBezTo>
                  <a:cubicBezTo>
                    <a:pt x="509" y="254"/>
                    <a:pt x="500" y="251"/>
                    <a:pt x="489" y="251"/>
                  </a:cubicBezTo>
                  <a:close/>
                  <a:moveTo>
                    <a:pt x="395" y="255"/>
                  </a:moveTo>
                  <a:cubicBezTo>
                    <a:pt x="385" y="255"/>
                    <a:pt x="377" y="258"/>
                    <a:pt x="370" y="262"/>
                  </a:cubicBezTo>
                  <a:cubicBezTo>
                    <a:pt x="364" y="267"/>
                    <a:pt x="361" y="273"/>
                    <a:pt x="361" y="281"/>
                  </a:cubicBezTo>
                  <a:cubicBezTo>
                    <a:pt x="361" y="288"/>
                    <a:pt x="364" y="295"/>
                    <a:pt x="370" y="299"/>
                  </a:cubicBezTo>
                  <a:cubicBezTo>
                    <a:pt x="377" y="304"/>
                    <a:pt x="385" y="306"/>
                    <a:pt x="395" y="306"/>
                  </a:cubicBezTo>
                  <a:cubicBezTo>
                    <a:pt x="406" y="306"/>
                    <a:pt x="414" y="304"/>
                    <a:pt x="420" y="299"/>
                  </a:cubicBezTo>
                  <a:cubicBezTo>
                    <a:pt x="426" y="294"/>
                    <a:pt x="430" y="288"/>
                    <a:pt x="430" y="281"/>
                  </a:cubicBezTo>
                  <a:cubicBezTo>
                    <a:pt x="430" y="273"/>
                    <a:pt x="426" y="267"/>
                    <a:pt x="420" y="262"/>
                  </a:cubicBezTo>
                  <a:cubicBezTo>
                    <a:pt x="414" y="257"/>
                    <a:pt x="406" y="255"/>
                    <a:pt x="395" y="255"/>
                  </a:cubicBezTo>
                  <a:close/>
                  <a:moveTo>
                    <a:pt x="436" y="129"/>
                  </a:moveTo>
                  <a:lnTo>
                    <a:pt x="436" y="83"/>
                  </a:lnTo>
                  <a:lnTo>
                    <a:pt x="460" y="83"/>
                  </a:lnTo>
                  <a:lnTo>
                    <a:pt x="460" y="129"/>
                  </a:lnTo>
                  <a:lnTo>
                    <a:pt x="523" y="129"/>
                  </a:lnTo>
                  <a:lnTo>
                    <a:pt x="523" y="153"/>
                  </a:lnTo>
                  <a:lnTo>
                    <a:pt x="460" y="153"/>
                  </a:lnTo>
                  <a:lnTo>
                    <a:pt x="460" y="199"/>
                  </a:lnTo>
                  <a:lnTo>
                    <a:pt x="436" y="199"/>
                  </a:lnTo>
                  <a:lnTo>
                    <a:pt x="436" y="153"/>
                  </a:lnTo>
                  <a:lnTo>
                    <a:pt x="377" y="153"/>
                  </a:lnTo>
                  <a:lnTo>
                    <a:pt x="377" y="129"/>
                  </a:lnTo>
                  <a:lnTo>
                    <a:pt x="436" y="129"/>
                  </a:lnTo>
                  <a:close/>
                  <a:moveTo>
                    <a:pt x="463" y="0"/>
                  </a:moveTo>
                  <a:cubicBezTo>
                    <a:pt x="504" y="0"/>
                    <a:pt x="541" y="9"/>
                    <a:pt x="572" y="27"/>
                  </a:cubicBezTo>
                  <a:cubicBezTo>
                    <a:pt x="589" y="37"/>
                    <a:pt x="601" y="48"/>
                    <a:pt x="608" y="58"/>
                  </a:cubicBezTo>
                  <a:lnTo>
                    <a:pt x="593" y="63"/>
                  </a:lnTo>
                  <a:cubicBezTo>
                    <a:pt x="582" y="51"/>
                    <a:pt x="565" y="42"/>
                    <a:pt x="542" y="35"/>
                  </a:cubicBezTo>
                  <a:cubicBezTo>
                    <a:pt x="519" y="28"/>
                    <a:pt x="494" y="24"/>
                    <a:pt x="467" y="24"/>
                  </a:cubicBezTo>
                  <a:lnTo>
                    <a:pt x="462" y="24"/>
                  </a:lnTo>
                  <a:cubicBezTo>
                    <a:pt x="427" y="24"/>
                    <a:pt x="395" y="30"/>
                    <a:pt x="368" y="41"/>
                  </a:cubicBezTo>
                  <a:cubicBezTo>
                    <a:pt x="353" y="48"/>
                    <a:pt x="341" y="55"/>
                    <a:pt x="332" y="63"/>
                  </a:cubicBezTo>
                  <a:lnTo>
                    <a:pt x="317" y="58"/>
                  </a:lnTo>
                  <a:cubicBezTo>
                    <a:pt x="323" y="48"/>
                    <a:pt x="335" y="38"/>
                    <a:pt x="350" y="29"/>
                  </a:cubicBezTo>
                  <a:cubicBezTo>
                    <a:pt x="382" y="9"/>
                    <a:pt x="420" y="0"/>
                    <a:pt x="463" y="0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5" name="Freeform 1787"/>
            <p:cNvSpPr>
              <a:spLocks noEditPoints="1"/>
            </p:cNvSpPr>
            <p:nvPr/>
          </p:nvSpPr>
          <p:spPr bwMode="auto">
            <a:xfrm>
              <a:off x="5910529" y="3226688"/>
              <a:ext cx="276936" cy="844753"/>
            </a:xfrm>
            <a:custGeom>
              <a:avLst/>
              <a:gdLst/>
              <a:ahLst/>
              <a:cxnLst>
                <a:cxn ang="0">
                  <a:pos x="25" y="1846"/>
                </a:cxn>
                <a:cxn ang="0">
                  <a:pos x="3" y="1685"/>
                </a:cxn>
                <a:cxn ang="0">
                  <a:pos x="3" y="1445"/>
                </a:cxn>
                <a:cxn ang="0">
                  <a:pos x="204" y="1540"/>
                </a:cxn>
                <a:cxn ang="0">
                  <a:pos x="3" y="1583"/>
                </a:cxn>
                <a:cxn ang="0">
                  <a:pos x="55" y="1406"/>
                </a:cxn>
                <a:cxn ang="0">
                  <a:pos x="61" y="1314"/>
                </a:cxn>
                <a:cxn ang="0">
                  <a:pos x="91" y="1344"/>
                </a:cxn>
                <a:cxn ang="0">
                  <a:pos x="178" y="1403"/>
                </a:cxn>
                <a:cxn ang="0">
                  <a:pos x="153" y="1314"/>
                </a:cxn>
                <a:cxn ang="0">
                  <a:pos x="55" y="1260"/>
                </a:cxn>
                <a:cxn ang="0">
                  <a:pos x="61" y="1168"/>
                </a:cxn>
                <a:cxn ang="0">
                  <a:pos x="91" y="1197"/>
                </a:cxn>
                <a:cxn ang="0">
                  <a:pos x="178" y="1257"/>
                </a:cxn>
                <a:cxn ang="0">
                  <a:pos x="153" y="1168"/>
                </a:cxn>
                <a:cxn ang="0">
                  <a:pos x="194" y="1088"/>
                </a:cxn>
                <a:cxn ang="0">
                  <a:pos x="53" y="988"/>
                </a:cxn>
                <a:cxn ang="0">
                  <a:pos x="204" y="806"/>
                </a:cxn>
                <a:cxn ang="0">
                  <a:pos x="204" y="782"/>
                </a:cxn>
                <a:cxn ang="0">
                  <a:pos x="55" y="621"/>
                </a:cxn>
                <a:cxn ang="0">
                  <a:pos x="204" y="536"/>
                </a:cxn>
                <a:cxn ang="0">
                  <a:pos x="76" y="432"/>
                </a:cxn>
                <a:cxn ang="0">
                  <a:pos x="181" y="523"/>
                </a:cxn>
                <a:cxn ang="0">
                  <a:pos x="204" y="292"/>
                </a:cxn>
                <a:cxn ang="0">
                  <a:pos x="113" y="313"/>
                </a:cxn>
                <a:cxn ang="0">
                  <a:pos x="96" y="344"/>
                </a:cxn>
                <a:cxn ang="0">
                  <a:pos x="96" y="271"/>
                </a:cxn>
                <a:cxn ang="0">
                  <a:pos x="180" y="307"/>
                </a:cxn>
                <a:cxn ang="0">
                  <a:pos x="179" y="341"/>
                </a:cxn>
                <a:cxn ang="0">
                  <a:pos x="193" y="146"/>
                </a:cxn>
                <a:cxn ang="0">
                  <a:pos x="52" y="181"/>
                </a:cxn>
                <a:cxn ang="0">
                  <a:pos x="84" y="206"/>
                </a:cxn>
                <a:cxn ang="0">
                  <a:pos x="178" y="31"/>
                </a:cxn>
                <a:cxn ang="0">
                  <a:pos x="137" y="108"/>
                </a:cxn>
                <a:cxn ang="0">
                  <a:pos x="106" y="23"/>
                </a:cxn>
                <a:cxn ang="0">
                  <a:pos x="175" y="75"/>
                </a:cxn>
                <a:cxn ang="0">
                  <a:pos x="333" y="1362"/>
                </a:cxn>
                <a:cxn ang="0">
                  <a:pos x="608" y="1367"/>
                </a:cxn>
                <a:cxn ang="0">
                  <a:pos x="394" y="1279"/>
                </a:cxn>
                <a:cxn ang="0">
                  <a:pos x="474" y="1191"/>
                </a:cxn>
                <a:cxn ang="0">
                  <a:pos x="543" y="1279"/>
                </a:cxn>
                <a:cxn ang="0">
                  <a:pos x="412" y="1244"/>
                </a:cxn>
                <a:cxn ang="0">
                  <a:pos x="474" y="1316"/>
                </a:cxn>
                <a:cxn ang="0">
                  <a:pos x="427" y="1309"/>
                </a:cxn>
                <a:cxn ang="0">
                  <a:pos x="434" y="1078"/>
                </a:cxn>
                <a:cxn ang="0">
                  <a:pos x="394" y="1078"/>
                </a:cxn>
                <a:cxn ang="0">
                  <a:pos x="546" y="970"/>
                </a:cxn>
                <a:cxn ang="0">
                  <a:pos x="519" y="952"/>
                </a:cxn>
                <a:cxn ang="0">
                  <a:pos x="456" y="967"/>
                </a:cxn>
                <a:cxn ang="0">
                  <a:pos x="436" y="1018"/>
                </a:cxn>
                <a:cxn ang="0">
                  <a:pos x="394" y="783"/>
                </a:cxn>
                <a:cxn ang="0">
                  <a:pos x="394" y="886"/>
                </a:cxn>
                <a:cxn ang="0">
                  <a:pos x="543" y="718"/>
                </a:cxn>
                <a:cxn ang="0">
                  <a:pos x="394" y="665"/>
                </a:cxn>
                <a:cxn ang="0">
                  <a:pos x="543" y="532"/>
                </a:cxn>
                <a:cxn ang="0">
                  <a:pos x="453" y="553"/>
                </a:cxn>
                <a:cxn ang="0">
                  <a:pos x="435" y="584"/>
                </a:cxn>
                <a:cxn ang="0">
                  <a:pos x="436" y="511"/>
                </a:cxn>
                <a:cxn ang="0">
                  <a:pos x="519" y="547"/>
                </a:cxn>
                <a:cxn ang="0">
                  <a:pos x="518" y="582"/>
                </a:cxn>
                <a:cxn ang="0">
                  <a:pos x="542" y="456"/>
                </a:cxn>
                <a:cxn ang="0">
                  <a:pos x="350" y="450"/>
                </a:cxn>
              </a:cxnLst>
              <a:rect l="0" t="0" r="r" b="b"/>
              <a:pathLst>
                <a:path w="608" h="1846">
                  <a:moveTo>
                    <a:pt x="25" y="1716"/>
                  </a:moveTo>
                  <a:lnTo>
                    <a:pt x="25" y="1768"/>
                  </a:lnTo>
                  <a:lnTo>
                    <a:pt x="204" y="1768"/>
                  </a:lnTo>
                  <a:lnTo>
                    <a:pt x="204" y="1794"/>
                  </a:lnTo>
                  <a:lnTo>
                    <a:pt x="25" y="1794"/>
                  </a:lnTo>
                  <a:lnTo>
                    <a:pt x="25" y="1846"/>
                  </a:lnTo>
                  <a:lnTo>
                    <a:pt x="3" y="1846"/>
                  </a:lnTo>
                  <a:lnTo>
                    <a:pt x="3" y="1716"/>
                  </a:lnTo>
                  <a:lnTo>
                    <a:pt x="25" y="1716"/>
                  </a:lnTo>
                  <a:close/>
                  <a:moveTo>
                    <a:pt x="204" y="1659"/>
                  </a:moveTo>
                  <a:lnTo>
                    <a:pt x="204" y="1685"/>
                  </a:lnTo>
                  <a:lnTo>
                    <a:pt x="3" y="1685"/>
                  </a:lnTo>
                  <a:lnTo>
                    <a:pt x="3" y="1659"/>
                  </a:lnTo>
                  <a:lnTo>
                    <a:pt x="204" y="1659"/>
                  </a:lnTo>
                  <a:close/>
                  <a:moveTo>
                    <a:pt x="3" y="1583"/>
                  </a:moveTo>
                  <a:lnTo>
                    <a:pt x="167" y="1530"/>
                  </a:lnTo>
                  <a:lnTo>
                    <a:pt x="3" y="1478"/>
                  </a:lnTo>
                  <a:lnTo>
                    <a:pt x="3" y="1445"/>
                  </a:lnTo>
                  <a:lnTo>
                    <a:pt x="204" y="1445"/>
                  </a:lnTo>
                  <a:lnTo>
                    <a:pt x="204" y="1470"/>
                  </a:lnTo>
                  <a:lnTo>
                    <a:pt x="126" y="1470"/>
                  </a:lnTo>
                  <a:lnTo>
                    <a:pt x="47" y="1468"/>
                  </a:lnTo>
                  <a:lnTo>
                    <a:pt x="204" y="1521"/>
                  </a:lnTo>
                  <a:lnTo>
                    <a:pt x="204" y="1540"/>
                  </a:lnTo>
                  <a:lnTo>
                    <a:pt x="48" y="1592"/>
                  </a:lnTo>
                  <a:lnTo>
                    <a:pt x="126" y="1590"/>
                  </a:lnTo>
                  <a:lnTo>
                    <a:pt x="204" y="1590"/>
                  </a:lnTo>
                  <a:lnTo>
                    <a:pt x="204" y="1615"/>
                  </a:lnTo>
                  <a:lnTo>
                    <a:pt x="3" y="1615"/>
                  </a:lnTo>
                  <a:lnTo>
                    <a:pt x="3" y="1583"/>
                  </a:lnTo>
                  <a:close/>
                  <a:moveTo>
                    <a:pt x="153" y="1314"/>
                  </a:moveTo>
                  <a:cubicBezTo>
                    <a:pt x="143" y="1314"/>
                    <a:pt x="135" y="1317"/>
                    <a:pt x="130" y="1322"/>
                  </a:cubicBezTo>
                  <a:cubicBezTo>
                    <a:pt x="125" y="1327"/>
                    <a:pt x="120" y="1337"/>
                    <a:pt x="115" y="1351"/>
                  </a:cubicBezTo>
                  <a:cubicBezTo>
                    <a:pt x="109" y="1366"/>
                    <a:pt x="104" y="1377"/>
                    <a:pt x="99" y="1384"/>
                  </a:cubicBezTo>
                  <a:cubicBezTo>
                    <a:pt x="93" y="1391"/>
                    <a:pt x="87" y="1397"/>
                    <a:pt x="80" y="1401"/>
                  </a:cubicBezTo>
                  <a:cubicBezTo>
                    <a:pt x="72" y="1405"/>
                    <a:pt x="64" y="1406"/>
                    <a:pt x="55" y="1406"/>
                  </a:cubicBezTo>
                  <a:cubicBezTo>
                    <a:pt x="39" y="1406"/>
                    <a:pt x="26" y="1401"/>
                    <a:pt x="16" y="1390"/>
                  </a:cubicBezTo>
                  <a:cubicBezTo>
                    <a:pt x="5" y="1380"/>
                    <a:pt x="0" y="1366"/>
                    <a:pt x="0" y="1349"/>
                  </a:cubicBezTo>
                  <a:cubicBezTo>
                    <a:pt x="0" y="1337"/>
                    <a:pt x="3" y="1326"/>
                    <a:pt x="8" y="1317"/>
                  </a:cubicBezTo>
                  <a:cubicBezTo>
                    <a:pt x="14" y="1308"/>
                    <a:pt x="21" y="1301"/>
                    <a:pt x="30" y="1296"/>
                  </a:cubicBezTo>
                  <a:cubicBezTo>
                    <a:pt x="40" y="1291"/>
                    <a:pt x="50" y="1289"/>
                    <a:pt x="61" y="1289"/>
                  </a:cubicBezTo>
                  <a:lnTo>
                    <a:pt x="61" y="1314"/>
                  </a:lnTo>
                  <a:cubicBezTo>
                    <a:pt x="49" y="1314"/>
                    <a:pt x="39" y="1317"/>
                    <a:pt x="32" y="1323"/>
                  </a:cubicBezTo>
                  <a:cubicBezTo>
                    <a:pt x="25" y="1329"/>
                    <a:pt x="22" y="1337"/>
                    <a:pt x="22" y="1349"/>
                  </a:cubicBezTo>
                  <a:cubicBezTo>
                    <a:pt x="22" y="1359"/>
                    <a:pt x="25" y="1367"/>
                    <a:pt x="31" y="1372"/>
                  </a:cubicBezTo>
                  <a:cubicBezTo>
                    <a:pt x="36" y="1378"/>
                    <a:pt x="44" y="1381"/>
                    <a:pt x="55" y="1381"/>
                  </a:cubicBezTo>
                  <a:cubicBezTo>
                    <a:pt x="63" y="1381"/>
                    <a:pt x="70" y="1378"/>
                    <a:pt x="76" y="1372"/>
                  </a:cubicBezTo>
                  <a:cubicBezTo>
                    <a:pt x="82" y="1366"/>
                    <a:pt x="87" y="1356"/>
                    <a:pt x="91" y="1344"/>
                  </a:cubicBezTo>
                  <a:cubicBezTo>
                    <a:pt x="98" y="1324"/>
                    <a:pt x="106" y="1310"/>
                    <a:pt x="115" y="1301"/>
                  </a:cubicBezTo>
                  <a:cubicBezTo>
                    <a:pt x="125" y="1293"/>
                    <a:pt x="137" y="1288"/>
                    <a:pt x="153" y="1288"/>
                  </a:cubicBezTo>
                  <a:cubicBezTo>
                    <a:pt x="169" y="1288"/>
                    <a:pt x="182" y="1294"/>
                    <a:pt x="192" y="1304"/>
                  </a:cubicBezTo>
                  <a:cubicBezTo>
                    <a:pt x="202" y="1315"/>
                    <a:pt x="207" y="1329"/>
                    <a:pt x="207" y="1347"/>
                  </a:cubicBezTo>
                  <a:cubicBezTo>
                    <a:pt x="207" y="1359"/>
                    <a:pt x="204" y="1370"/>
                    <a:pt x="199" y="1380"/>
                  </a:cubicBezTo>
                  <a:cubicBezTo>
                    <a:pt x="194" y="1390"/>
                    <a:pt x="187" y="1398"/>
                    <a:pt x="178" y="1403"/>
                  </a:cubicBezTo>
                  <a:cubicBezTo>
                    <a:pt x="168" y="1409"/>
                    <a:pt x="158" y="1412"/>
                    <a:pt x="146" y="1412"/>
                  </a:cubicBezTo>
                  <a:lnTo>
                    <a:pt x="146" y="1386"/>
                  </a:lnTo>
                  <a:cubicBezTo>
                    <a:pt x="158" y="1386"/>
                    <a:pt x="168" y="1383"/>
                    <a:pt x="175" y="1376"/>
                  </a:cubicBezTo>
                  <a:cubicBezTo>
                    <a:pt x="182" y="1369"/>
                    <a:pt x="185" y="1359"/>
                    <a:pt x="185" y="1347"/>
                  </a:cubicBezTo>
                  <a:cubicBezTo>
                    <a:pt x="185" y="1336"/>
                    <a:pt x="182" y="1328"/>
                    <a:pt x="177" y="1322"/>
                  </a:cubicBezTo>
                  <a:cubicBezTo>
                    <a:pt x="171" y="1317"/>
                    <a:pt x="163" y="1314"/>
                    <a:pt x="153" y="1314"/>
                  </a:cubicBezTo>
                  <a:close/>
                  <a:moveTo>
                    <a:pt x="153" y="1168"/>
                  </a:moveTo>
                  <a:cubicBezTo>
                    <a:pt x="143" y="1168"/>
                    <a:pt x="135" y="1170"/>
                    <a:pt x="130" y="1176"/>
                  </a:cubicBezTo>
                  <a:cubicBezTo>
                    <a:pt x="125" y="1181"/>
                    <a:pt x="120" y="1191"/>
                    <a:pt x="115" y="1205"/>
                  </a:cubicBezTo>
                  <a:cubicBezTo>
                    <a:pt x="109" y="1219"/>
                    <a:pt x="104" y="1230"/>
                    <a:pt x="99" y="1238"/>
                  </a:cubicBezTo>
                  <a:cubicBezTo>
                    <a:pt x="93" y="1245"/>
                    <a:pt x="87" y="1251"/>
                    <a:pt x="80" y="1254"/>
                  </a:cubicBezTo>
                  <a:cubicBezTo>
                    <a:pt x="72" y="1258"/>
                    <a:pt x="64" y="1260"/>
                    <a:pt x="55" y="1260"/>
                  </a:cubicBezTo>
                  <a:cubicBezTo>
                    <a:pt x="39" y="1260"/>
                    <a:pt x="26" y="1255"/>
                    <a:pt x="16" y="1244"/>
                  </a:cubicBezTo>
                  <a:cubicBezTo>
                    <a:pt x="5" y="1233"/>
                    <a:pt x="0" y="1219"/>
                    <a:pt x="0" y="1202"/>
                  </a:cubicBezTo>
                  <a:cubicBezTo>
                    <a:pt x="0" y="1191"/>
                    <a:pt x="3" y="1180"/>
                    <a:pt x="8" y="1171"/>
                  </a:cubicBezTo>
                  <a:cubicBezTo>
                    <a:pt x="14" y="1162"/>
                    <a:pt x="21" y="1155"/>
                    <a:pt x="30" y="1150"/>
                  </a:cubicBezTo>
                  <a:cubicBezTo>
                    <a:pt x="40" y="1145"/>
                    <a:pt x="50" y="1142"/>
                    <a:pt x="61" y="1142"/>
                  </a:cubicBezTo>
                  <a:lnTo>
                    <a:pt x="61" y="1168"/>
                  </a:lnTo>
                  <a:cubicBezTo>
                    <a:pt x="49" y="1168"/>
                    <a:pt x="39" y="1170"/>
                    <a:pt x="32" y="1176"/>
                  </a:cubicBezTo>
                  <a:cubicBezTo>
                    <a:pt x="25" y="1182"/>
                    <a:pt x="22" y="1191"/>
                    <a:pt x="22" y="1202"/>
                  </a:cubicBezTo>
                  <a:cubicBezTo>
                    <a:pt x="22" y="1213"/>
                    <a:pt x="25" y="1220"/>
                    <a:pt x="31" y="1226"/>
                  </a:cubicBezTo>
                  <a:cubicBezTo>
                    <a:pt x="36" y="1232"/>
                    <a:pt x="44" y="1234"/>
                    <a:pt x="55" y="1234"/>
                  </a:cubicBezTo>
                  <a:cubicBezTo>
                    <a:pt x="63" y="1234"/>
                    <a:pt x="70" y="1231"/>
                    <a:pt x="76" y="1225"/>
                  </a:cubicBezTo>
                  <a:cubicBezTo>
                    <a:pt x="82" y="1219"/>
                    <a:pt x="87" y="1210"/>
                    <a:pt x="91" y="1197"/>
                  </a:cubicBezTo>
                  <a:cubicBezTo>
                    <a:pt x="98" y="1177"/>
                    <a:pt x="106" y="1163"/>
                    <a:pt x="115" y="1155"/>
                  </a:cubicBezTo>
                  <a:cubicBezTo>
                    <a:pt x="125" y="1146"/>
                    <a:pt x="137" y="1142"/>
                    <a:pt x="153" y="1142"/>
                  </a:cubicBezTo>
                  <a:cubicBezTo>
                    <a:pt x="169" y="1142"/>
                    <a:pt x="182" y="1147"/>
                    <a:pt x="192" y="1158"/>
                  </a:cubicBezTo>
                  <a:cubicBezTo>
                    <a:pt x="202" y="1168"/>
                    <a:pt x="207" y="1183"/>
                    <a:pt x="207" y="1201"/>
                  </a:cubicBezTo>
                  <a:cubicBezTo>
                    <a:pt x="207" y="1213"/>
                    <a:pt x="204" y="1224"/>
                    <a:pt x="199" y="1233"/>
                  </a:cubicBezTo>
                  <a:cubicBezTo>
                    <a:pt x="194" y="1243"/>
                    <a:pt x="187" y="1251"/>
                    <a:pt x="178" y="1257"/>
                  </a:cubicBezTo>
                  <a:cubicBezTo>
                    <a:pt x="168" y="1262"/>
                    <a:pt x="158" y="1265"/>
                    <a:pt x="146" y="1265"/>
                  </a:cubicBezTo>
                  <a:lnTo>
                    <a:pt x="146" y="1240"/>
                  </a:lnTo>
                  <a:cubicBezTo>
                    <a:pt x="158" y="1240"/>
                    <a:pt x="168" y="1236"/>
                    <a:pt x="175" y="1229"/>
                  </a:cubicBezTo>
                  <a:cubicBezTo>
                    <a:pt x="182" y="1222"/>
                    <a:pt x="185" y="1213"/>
                    <a:pt x="185" y="1201"/>
                  </a:cubicBezTo>
                  <a:cubicBezTo>
                    <a:pt x="185" y="1190"/>
                    <a:pt x="182" y="1182"/>
                    <a:pt x="177" y="1176"/>
                  </a:cubicBezTo>
                  <a:cubicBezTo>
                    <a:pt x="171" y="1170"/>
                    <a:pt x="163" y="1168"/>
                    <a:pt x="153" y="1168"/>
                  </a:cubicBezTo>
                  <a:close/>
                  <a:moveTo>
                    <a:pt x="244" y="1112"/>
                  </a:moveTo>
                  <a:lnTo>
                    <a:pt x="234" y="1127"/>
                  </a:lnTo>
                  <a:cubicBezTo>
                    <a:pt x="222" y="1118"/>
                    <a:pt x="210" y="1113"/>
                    <a:pt x="197" y="1113"/>
                  </a:cubicBezTo>
                  <a:lnTo>
                    <a:pt x="174" y="1113"/>
                  </a:lnTo>
                  <a:lnTo>
                    <a:pt x="174" y="1088"/>
                  </a:lnTo>
                  <a:lnTo>
                    <a:pt x="194" y="1088"/>
                  </a:lnTo>
                  <a:cubicBezTo>
                    <a:pt x="203" y="1088"/>
                    <a:pt x="212" y="1090"/>
                    <a:pt x="222" y="1095"/>
                  </a:cubicBezTo>
                  <a:cubicBezTo>
                    <a:pt x="231" y="1099"/>
                    <a:pt x="238" y="1105"/>
                    <a:pt x="244" y="1112"/>
                  </a:cubicBezTo>
                  <a:close/>
                  <a:moveTo>
                    <a:pt x="204" y="921"/>
                  </a:moveTo>
                  <a:lnTo>
                    <a:pt x="204" y="946"/>
                  </a:lnTo>
                  <a:lnTo>
                    <a:pt x="34" y="946"/>
                  </a:lnTo>
                  <a:lnTo>
                    <a:pt x="53" y="988"/>
                  </a:lnTo>
                  <a:lnTo>
                    <a:pt x="30" y="988"/>
                  </a:lnTo>
                  <a:lnTo>
                    <a:pt x="2" y="925"/>
                  </a:lnTo>
                  <a:lnTo>
                    <a:pt x="2" y="921"/>
                  </a:lnTo>
                  <a:lnTo>
                    <a:pt x="204" y="921"/>
                  </a:lnTo>
                  <a:close/>
                  <a:moveTo>
                    <a:pt x="204" y="782"/>
                  </a:moveTo>
                  <a:lnTo>
                    <a:pt x="204" y="806"/>
                  </a:lnTo>
                  <a:lnTo>
                    <a:pt x="34" y="806"/>
                  </a:lnTo>
                  <a:lnTo>
                    <a:pt x="53" y="849"/>
                  </a:lnTo>
                  <a:lnTo>
                    <a:pt x="30" y="849"/>
                  </a:lnTo>
                  <a:lnTo>
                    <a:pt x="2" y="786"/>
                  </a:lnTo>
                  <a:lnTo>
                    <a:pt x="2" y="782"/>
                  </a:lnTo>
                  <a:lnTo>
                    <a:pt x="204" y="782"/>
                  </a:lnTo>
                  <a:close/>
                  <a:moveTo>
                    <a:pt x="140" y="608"/>
                  </a:moveTo>
                  <a:lnTo>
                    <a:pt x="140" y="621"/>
                  </a:lnTo>
                  <a:lnTo>
                    <a:pt x="204" y="621"/>
                  </a:lnTo>
                  <a:lnTo>
                    <a:pt x="204" y="646"/>
                  </a:lnTo>
                  <a:lnTo>
                    <a:pt x="55" y="646"/>
                  </a:lnTo>
                  <a:lnTo>
                    <a:pt x="55" y="621"/>
                  </a:lnTo>
                  <a:lnTo>
                    <a:pt x="118" y="621"/>
                  </a:lnTo>
                  <a:lnTo>
                    <a:pt x="118" y="609"/>
                  </a:lnTo>
                  <a:lnTo>
                    <a:pt x="55" y="569"/>
                  </a:lnTo>
                  <a:lnTo>
                    <a:pt x="55" y="540"/>
                  </a:lnTo>
                  <a:lnTo>
                    <a:pt x="126" y="589"/>
                  </a:lnTo>
                  <a:lnTo>
                    <a:pt x="204" y="536"/>
                  </a:lnTo>
                  <a:lnTo>
                    <a:pt x="204" y="567"/>
                  </a:lnTo>
                  <a:lnTo>
                    <a:pt x="140" y="608"/>
                  </a:lnTo>
                  <a:close/>
                  <a:moveTo>
                    <a:pt x="55" y="407"/>
                  </a:moveTo>
                  <a:lnTo>
                    <a:pt x="204" y="407"/>
                  </a:lnTo>
                  <a:lnTo>
                    <a:pt x="204" y="432"/>
                  </a:lnTo>
                  <a:lnTo>
                    <a:pt x="76" y="432"/>
                  </a:lnTo>
                  <a:lnTo>
                    <a:pt x="76" y="471"/>
                  </a:lnTo>
                  <a:lnTo>
                    <a:pt x="126" y="473"/>
                  </a:lnTo>
                  <a:cubicBezTo>
                    <a:pt x="154" y="475"/>
                    <a:pt x="174" y="478"/>
                    <a:pt x="186" y="485"/>
                  </a:cubicBezTo>
                  <a:cubicBezTo>
                    <a:pt x="198" y="491"/>
                    <a:pt x="204" y="501"/>
                    <a:pt x="204" y="515"/>
                  </a:cubicBezTo>
                  <a:lnTo>
                    <a:pt x="204" y="523"/>
                  </a:lnTo>
                  <a:lnTo>
                    <a:pt x="181" y="523"/>
                  </a:lnTo>
                  <a:lnTo>
                    <a:pt x="181" y="517"/>
                  </a:lnTo>
                  <a:cubicBezTo>
                    <a:pt x="180" y="510"/>
                    <a:pt x="175" y="505"/>
                    <a:pt x="167" y="502"/>
                  </a:cubicBezTo>
                  <a:cubicBezTo>
                    <a:pt x="159" y="499"/>
                    <a:pt x="143" y="498"/>
                    <a:pt x="119" y="497"/>
                  </a:cubicBezTo>
                  <a:lnTo>
                    <a:pt x="55" y="494"/>
                  </a:lnTo>
                  <a:lnTo>
                    <a:pt x="55" y="407"/>
                  </a:lnTo>
                  <a:close/>
                  <a:moveTo>
                    <a:pt x="204" y="292"/>
                  </a:moveTo>
                  <a:cubicBezTo>
                    <a:pt x="201" y="293"/>
                    <a:pt x="195" y="294"/>
                    <a:pt x="188" y="295"/>
                  </a:cubicBezTo>
                  <a:cubicBezTo>
                    <a:pt x="200" y="303"/>
                    <a:pt x="207" y="314"/>
                    <a:pt x="207" y="328"/>
                  </a:cubicBezTo>
                  <a:cubicBezTo>
                    <a:pt x="207" y="341"/>
                    <a:pt x="203" y="352"/>
                    <a:pt x="195" y="360"/>
                  </a:cubicBezTo>
                  <a:cubicBezTo>
                    <a:pt x="188" y="367"/>
                    <a:pt x="177" y="371"/>
                    <a:pt x="163" y="371"/>
                  </a:cubicBezTo>
                  <a:cubicBezTo>
                    <a:pt x="148" y="371"/>
                    <a:pt x="136" y="366"/>
                    <a:pt x="127" y="356"/>
                  </a:cubicBezTo>
                  <a:cubicBezTo>
                    <a:pt x="118" y="345"/>
                    <a:pt x="114" y="331"/>
                    <a:pt x="113" y="313"/>
                  </a:cubicBezTo>
                  <a:lnTo>
                    <a:pt x="113" y="295"/>
                  </a:lnTo>
                  <a:lnTo>
                    <a:pt x="98" y="295"/>
                  </a:lnTo>
                  <a:cubicBezTo>
                    <a:pt x="89" y="295"/>
                    <a:pt x="82" y="297"/>
                    <a:pt x="78" y="301"/>
                  </a:cubicBezTo>
                  <a:cubicBezTo>
                    <a:pt x="75" y="305"/>
                    <a:pt x="73" y="311"/>
                    <a:pt x="73" y="319"/>
                  </a:cubicBezTo>
                  <a:cubicBezTo>
                    <a:pt x="73" y="327"/>
                    <a:pt x="75" y="333"/>
                    <a:pt x="79" y="337"/>
                  </a:cubicBezTo>
                  <a:cubicBezTo>
                    <a:pt x="84" y="342"/>
                    <a:pt x="89" y="344"/>
                    <a:pt x="96" y="344"/>
                  </a:cubicBezTo>
                  <a:lnTo>
                    <a:pt x="96" y="368"/>
                  </a:lnTo>
                  <a:cubicBezTo>
                    <a:pt x="88" y="368"/>
                    <a:pt x="81" y="366"/>
                    <a:pt x="74" y="362"/>
                  </a:cubicBezTo>
                  <a:cubicBezTo>
                    <a:pt x="67" y="357"/>
                    <a:pt x="62" y="351"/>
                    <a:pt x="58" y="343"/>
                  </a:cubicBezTo>
                  <a:cubicBezTo>
                    <a:pt x="54" y="336"/>
                    <a:pt x="52" y="327"/>
                    <a:pt x="52" y="318"/>
                  </a:cubicBezTo>
                  <a:cubicBezTo>
                    <a:pt x="52" y="303"/>
                    <a:pt x="56" y="291"/>
                    <a:pt x="63" y="283"/>
                  </a:cubicBezTo>
                  <a:cubicBezTo>
                    <a:pt x="71" y="275"/>
                    <a:pt x="82" y="271"/>
                    <a:pt x="96" y="271"/>
                  </a:cubicBezTo>
                  <a:lnTo>
                    <a:pt x="172" y="271"/>
                  </a:lnTo>
                  <a:cubicBezTo>
                    <a:pt x="183" y="271"/>
                    <a:pt x="193" y="269"/>
                    <a:pt x="202" y="266"/>
                  </a:cubicBezTo>
                  <a:lnTo>
                    <a:pt x="204" y="266"/>
                  </a:lnTo>
                  <a:lnTo>
                    <a:pt x="204" y="292"/>
                  </a:lnTo>
                  <a:close/>
                  <a:moveTo>
                    <a:pt x="185" y="324"/>
                  </a:moveTo>
                  <a:cubicBezTo>
                    <a:pt x="185" y="318"/>
                    <a:pt x="183" y="313"/>
                    <a:pt x="180" y="307"/>
                  </a:cubicBezTo>
                  <a:cubicBezTo>
                    <a:pt x="176" y="302"/>
                    <a:pt x="172" y="298"/>
                    <a:pt x="167" y="295"/>
                  </a:cubicBezTo>
                  <a:lnTo>
                    <a:pt x="132" y="295"/>
                  </a:lnTo>
                  <a:lnTo>
                    <a:pt x="132" y="309"/>
                  </a:lnTo>
                  <a:cubicBezTo>
                    <a:pt x="132" y="321"/>
                    <a:pt x="134" y="330"/>
                    <a:pt x="139" y="336"/>
                  </a:cubicBezTo>
                  <a:cubicBezTo>
                    <a:pt x="144" y="343"/>
                    <a:pt x="151" y="347"/>
                    <a:pt x="160" y="347"/>
                  </a:cubicBezTo>
                  <a:cubicBezTo>
                    <a:pt x="169" y="347"/>
                    <a:pt x="175" y="345"/>
                    <a:pt x="179" y="341"/>
                  </a:cubicBezTo>
                  <a:cubicBezTo>
                    <a:pt x="183" y="338"/>
                    <a:pt x="185" y="332"/>
                    <a:pt x="185" y="324"/>
                  </a:cubicBezTo>
                  <a:close/>
                  <a:moveTo>
                    <a:pt x="186" y="181"/>
                  </a:moveTo>
                  <a:cubicBezTo>
                    <a:pt x="186" y="173"/>
                    <a:pt x="183" y="167"/>
                    <a:pt x="178" y="162"/>
                  </a:cubicBezTo>
                  <a:cubicBezTo>
                    <a:pt x="173" y="157"/>
                    <a:pt x="166" y="154"/>
                    <a:pt x="157" y="154"/>
                  </a:cubicBezTo>
                  <a:lnTo>
                    <a:pt x="157" y="131"/>
                  </a:lnTo>
                  <a:cubicBezTo>
                    <a:pt x="171" y="131"/>
                    <a:pt x="183" y="136"/>
                    <a:pt x="193" y="146"/>
                  </a:cubicBezTo>
                  <a:cubicBezTo>
                    <a:pt x="202" y="156"/>
                    <a:pt x="207" y="167"/>
                    <a:pt x="207" y="181"/>
                  </a:cubicBezTo>
                  <a:cubicBezTo>
                    <a:pt x="207" y="200"/>
                    <a:pt x="201" y="214"/>
                    <a:pt x="189" y="224"/>
                  </a:cubicBezTo>
                  <a:cubicBezTo>
                    <a:pt x="178" y="233"/>
                    <a:pt x="160" y="238"/>
                    <a:pt x="137" y="238"/>
                  </a:cubicBezTo>
                  <a:lnTo>
                    <a:pt x="121" y="238"/>
                  </a:lnTo>
                  <a:cubicBezTo>
                    <a:pt x="98" y="238"/>
                    <a:pt x="81" y="233"/>
                    <a:pt x="69" y="224"/>
                  </a:cubicBezTo>
                  <a:cubicBezTo>
                    <a:pt x="58" y="214"/>
                    <a:pt x="52" y="200"/>
                    <a:pt x="52" y="181"/>
                  </a:cubicBezTo>
                  <a:cubicBezTo>
                    <a:pt x="52" y="166"/>
                    <a:pt x="57" y="154"/>
                    <a:pt x="66" y="145"/>
                  </a:cubicBezTo>
                  <a:cubicBezTo>
                    <a:pt x="76" y="136"/>
                    <a:pt x="89" y="131"/>
                    <a:pt x="106" y="131"/>
                  </a:cubicBezTo>
                  <a:lnTo>
                    <a:pt x="106" y="154"/>
                  </a:lnTo>
                  <a:cubicBezTo>
                    <a:pt x="95" y="154"/>
                    <a:pt x="87" y="157"/>
                    <a:pt x="81" y="162"/>
                  </a:cubicBezTo>
                  <a:cubicBezTo>
                    <a:pt x="76" y="166"/>
                    <a:pt x="73" y="173"/>
                    <a:pt x="73" y="181"/>
                  </a:cubicBezTo>
                  <a:cubicBezTo>
                    <a:pt x="73" y="192"/>
                    <a:pt x="76" y="200"/>
                    <a:pt x="84" y="206"/>
                  </a:cubicBezTo>
                  <a:cubicBezTo>
                    <a:pt x="91" y="211"/>
                    <a:pt x="102" y="213"/>
                    <a:pt x="119" y="214"/>
                  </a:cubicBezTo>
                  <a:lnTo>
                    <a:pt x="138" y="214"/>
                  </a:lnTo>
                  <a:cubicBezTo>
                    <a:pt x="155" y="214"/>
                    <a:pt x="168" y="211"/>
                    <a:pt x="175" y="206"/>
                  </a:cubicBezTo>
                  <a:cubicBezTo>
                    <a:pt x="182" y="201"/>
                    <a:pt x="186" y="192"/>
                    <a:pt x="186" y="181"/>
                  </a:cubicBezTo>
                  <a:close/>
                  <a:moveTo>
                    <a:pt x="186" y="51"/>
                  </a:moveTo>
                  <a:cubicBezTo>
                    <a:pt x="186" y="43"/>
                    <a:pt x="183" y="36"/>
                    <a:pt x="178" y="31"/>
                  </a:cubicBezTo>
                  <a:cubicBezTo>
                    <a:pt x="173" y="26"/>
                    <a:pt x="166" y="24"/>
                    <a:pt x="157" y="23"/>
                  </a:cubicBezTo>
                  <a:lnTo>
                    <a:pt x="157" y="0"/>
                  </a:lnTo>
                  <a:cubicBezTo>
                    <a:pt x="171" y="1"/>
                    <a:pt x="183" y="6"/>
                    <a:pt x="193" y="15"/>
                  </a:cubicBezTo>
                  <a:cubicBezTo>
                    <a:pt x="202" y="25"/>
                    <a:pt x="207" y="37"/>
                    <a:pt x="207" y="51"/>
                  </a:cubicBezTo>
                  <a:cubicBezTo>
                    <a:pt x="207" y="69"/>
                    <a:pt x="201" y="83"/>
                    <a:pt x="189" y="93"/>
                  </a:cubicBezTo>
                  <a:cubicBezTo>
                    <a:pt x="178" y="103"/>
                    <a:pt x="160" y="108"/>
                    <a:pt x="137" y="108"/>
                  </a:cubicBezTo>
                  <a:lnTo>
                    <a:pt x="121" y="108"/>
                  </a:lnTo>
                  <a:cubicBezTo>
                    <a:pt x="98" y="108"/>
                    <a:pt x="81" y="103"/>
                    <a:pt x="69" y="93"/>
                  </a:cubicBezTo>
                  <a:cubicBezTo>
                    <a:pt x="58" y="83"/>
                    <a:pt x="52" y="69"/>
                    <a:pt x="52" y="51"/>
                  </a:cubicBezTo>
                  <a:cubicBezTo>
                    <a:pt x="52" y="36"/>
                    <a:pt x="57" y="23"/>
                    <a:pt x="66" y="14"/>
                  </a:cubicBezTo>
                  <a:cubicBezTo>
                    <a:pt x="76" y="5"/>
                    <a:pt x="89" y="1"/>
                    <a:pt x="106" y="0"/>
                  </a:cubicBezTo>
                  <a:lnTo>
                    <a:pt x="106" y="23"/>
                  </a:lnTo>
                  <a:cubicBezTo>
                    <a:pt x="95" y="24"/>
                    <a:pt x="87" y="26"/>
                    <a:pt x="81" y="31"/>
                  </a:cubicBezTo>
                  <a:cubicBezTo>
                    <a:pt x="76" y="36"/>
                    <a:pt x="73" y="42"/>
                    <a:pt x="73" y="51"/>
                  </a:cubicBezTo>
                  <a:cubicBezTo>
                    <a:pt x="73" y="62"/>
                    <a:pt x="76" y="70"/>
                    <a:pt x="84" y="75"/>
                  </a:cubicBezTo>
                  <a:cubicBezTo>
                    <a:pt x="91" y="80"/>
                    <a:pt x="102" y="83"/>
                    <a:pt x="119" y="83"/>
                  </a:cubicBezTo>
                  <a:lnTo>
                    <a:pt x="138" y="83"/>
                  </a:lnTo>
                  <a:cubicBezTo>
                    <a:pt x="155" y="83"/>
                    <a:pt x="168" y="80"/>
                    <a:pt x="175" y="75"/>
                  </a:cubicBezTo>
                  <a:cubicBezTo>
                    <a:pt x="182" y="70"/>
                    <a:pt x="186" y="62"/>
                    <a:pt x="186" y="51"/>
                  </a:cubicBezTo>
                  <a:close/>
                  <a:moveTo>
                    <a:pt x="462" y="1425"/>
                  </a:moveTo>
                  <a:cubicBezTo>
                    <a:pt x="438" y="1425"/>
                    <a:pt x="415" y="1422"/>
                    <a:pt x="394" y="1416"/>
                  </a:cubicBezTo>
                  <a:cubicBezTo>
                    <a:pt x="372" y="1409"/>
                    <a:pt x="354" y="1400"/>
                    <a:pt x="338" y="1388"/>
                  </a:cubicBezTo>
                  <a:cubicBezTo>
                    <a:pt x="328" y="1381"/>
                    <a:pt x="321" y="1374"/>
                    <a:pt x="316" y="1367"/>
                  </a:cubicBezTo>
                  <a:lnTo>
                    <a:pt x="333" y="1362"/>
                  </a:lnTo>
                  <a:cubicBezTo>
                    <a:pt x="344" y="1373"/>
                    <a:pt x="360" y="1382"/>
                    <a:pt x="381" y="1389"/>
                  </a:cubicBezTo>
                  <a:cubicBezTo>
                    <a:pt x="402" y="1396"/>
                    <a:pt x="426" y="1400"/>
                    <a:pt x="452" y="1401"/>
                  </a:cubicBezTo>
                  <a:lnTo>
                    <a:pt x="463" y="1401"/>
                  </a:lnTo>
                  <a:cubicBezTo>
                    <a:pt x="496" y="1401"/>
                    <a:pt x="524" y="1396"/>
                    <a:pt x="549" y="1387"/>
                  </a:cubicBezTo>
                  <a:cubicBezTo>
                    <a:pt x="568" y="1380"/>
                    <a:pt x="582" y="1372"/>
                    <a:pt x="593" y="1362"/>
                  </a:cubicBezTo>
                  <a:lnTo>
                    <a:pt x="608" y="1367"/>
                  </a:lnTo>
                  <a:cubicBezTo>
                    <a:pt x="602" y="1375"/>
                    <a:pt x="593" y="1384"/>
                    <a:pt x="580" y="1393"/>
                  </a:cubicBezTo>
                  <a:cubicBezTo>
                    <a:pt x="547" y="1415"/>
                    <a:pt x="508" y="1425"/>
                    <a:pt x="462" y="1425"/>
                  </a:cubicBezTo>
                  <a:close/>
                  <a:moveTo>
                    <a:pt x="471" y="1341"/>
                  </a:moveTo>
                  <a:cubicBezTo>
                    <a:pt x="446" y="1341"/>
                    <a:pt x="427" y="1337"/>
                    <a:pt x="413" y="1329"/>
                  </a:cubicBezTo>
                  <a:cubicBezTo>
                    <a:pt x="398" y="1321"/>
                    <a:pt x="391" y="1309"/>
                    <a:pt x="391" y="1295"/>
                  </a:cubicBezTo>
                  <a:cubicBezTo>
                    <a:pt x="391" y="1289"/>
                    <a:pt x="392" y="1284"/>
                    <a:pt x="394" y="1279"/>
                  </a:cubicBezTo>
                  <a:lnTo>
                    <a:pt x="331" y="1279"/>
                  </a:lnTo>
                  <a:lnTo>
                    <a:pt x="331" y="1255"/>
                  </a:lnTo>
                  <a:lnTo>
                    <a:pt x="395" y="1255"/>
                  </a:lnTo>
                  <a:cubicBezTo>
                    <a:pt x="392" y="1249"/>
                    <a:pt x="391" y="1243"/>
                    <a:pt x="391" y="1237"/>
                  </a:cubicBezTo>
                  <a:cubicBezTo>
                    <a:pt x="391" y="1222"/>
                    <a:pt x="398" y="1211"/>
                    <a:pt x="412" y="1203"/>
                  </a:cubicBezTo>
                  <a:cubicBezTo>
                    <a:pt x="427" y="1195"/>
                    <a:pt x="447" y="1191"/>
                    <a:pt x="474" y="1191"/>
                  </a:cubicBezTo>
                  <a:cubicBezTo>
                    <a:pt x="497" y="1191"/>
                    <a:pt x="514" y="1195"/>
                    <a:pt x="527" y="1203"/>
                  </a:cubicBezTo>
                  <a:cubicBezTo>
                    <a:pt x="540" y="1211"/>
                    <a:pt x="546" y="1222"/>
                    <a:pt x="546" y="1236"/>
                  </a:cubicBezTo>
                  <a:cubicBezTo>
                    <a:pt x="546" y="1243"/>
                    <a:pt x="545" y="1249"/>
                    <a:pt x="543" y="1255"/>
                  </a:cubicBezTo>
                  <a:lnTo>
                    <a:pt x="601" y="1255"/>
                  </a:lnTo>
                  <a:lnTo>
                    <a:pt x="601" y="1279"/>
                  </a:lnTo>
                  <a:lnTo>
                    <a:pt x="543" y="1279"/>
                  </a:lnTo>
                  <a:cubicBezTo>
                    <a:pt x="545" y="1284"/>
                    <a:pt x="546" y="1289"/>
                    <a:pt x="546" y="1295"/>
                  </a:cubicBezTo>
                  <a:cubicBezTo>
                    <a:pt x="546" y="1309"/>
                    <a:pt x="540" y="1321"/>
                    <a:pt x="527" y="1329"/>
                  </a:cubicBezTo>
                  <a:cubicBezTo>
                    <a:pt x="514" y="1337"/>
                    <a:pt x="495" y="1341"/>
                    <a:pt x="471" y="1341"/>
                  </a:cubicBezTo>
                  <a:close/>
                  <a:moveTo>
                    <a:pt x="471" y="1215"/>
                  </a:moveTo>
                  <a:cubicBezTo>
                    <a:pt x="453" y="1215"/>
                    <a:pt x="438" y="1218"/>
                    <a:pt x="428" y="1223"/>
                  </a:cubicBezTo>
                  <a:cubicBezTo>
                    <a:pt x="417" y="1228"/>
                    <a:pt x="412" y="1235"/>
                    <a:pt x="412" y="1244"/>
                  </a:cubicBezTo>
                  <a:cubicBezTo>
                    <a:pt x="412" y="1248"/>
                    <a:pt x="413" y="1251"/>
                    <a:pt x="414" y="1255"/>
                  </a:cubicBezTo>
                  <a:lnTo>
                    <a:pt x="524" y="1255"/>
                  </a:lnTo>
                  <a:cubicBezTo>
                    <a:pt x="525" y="1252"/>
                    <a:pt x="525" y="1248"/>
                    <a:pt x="525" y="1244"/>
                  </a:cubicBezTo>
                  <a:cubicBezTo>
                    <a:pt x="525" y="1235"/>
                    <a:pt x="521" y="1227"/>
                    <a:pt x="512" y="1223"/>
                  </a:cubicBezTo>
                  <a:cubicBezTo>
                    <a:pt x="503" y="1218"/>
                    <a:pt x="490" y="1215"/>
                    <a:pt x="471" y="1215"/>
                  </a:cubicBezTo>
                  <a:close/>
                  <a:moveTo>
                    <a:pt x="474" y="1316"/>
                  </a:moveTo>
                  <a:cubicBezTo>
                    <a:pt x="491" y="1316"/>
                    <a:pt x="504" y="1314"/>
                    <a:pt x="512" y="1309"/>
                  </a:cubicBezTo>
                  <a:cubicBezTo>
                    <a:pt x="521" y="1305"/>
                    <a:pt x="525" y="1298"/>
                    <a:pt x="525" y="1289"/>
                  </a:cubicBezTo>
                  <a:cubicBezTo>
                    <a:pt x="525" y="1285"/>
                    <a:pt x="525" y="1282"/>
                    <a:pt x="524" y="1279"/>
                  </a:cubicBezTo>
                  <a:lnTo>
                    <a:pt x="414" y="1279"/>
                  </a:lnTo>
                  <a:cubicBezTo>
                    <a:pt x="413" y="1282"/>
                    <a:pt x="412" y="1285"/>
                    <a:pt x="412" y="1289"/>
                  </a:cubicBezTo>
                  <a:cubicBezTo>
                    <a:pt x="412" y="1298"/>
                    <a:pt x="417" y="1305"/>
                    <a:pt x="427" y="1309"/>
                  </a:cubicBezTo>
                  <a:cubicBezTo>
                    <a:pt x="437" y="1314"/>
                    <a:pt x="453" y="1316"/>
                    <a:pt x="474" y="1316"/>
                  </a:cubicBezTo>
                  <a:close/>
                  <a:moveTo>
                    <a:pt x="394" y="1078"/>
                  </a:moveTo>
                  <a:lnTo>
                    <a:pt x="394" y="1054"/>
                  </a:lnTo>
                  <a:lnTo>
                    <a:pt x="543" y="1054"/>
                  </a:lnTo>
                  <a:lnTo>
                    <a:pt x="543" y="1078"/>
                  </a:lnTo>
                  <a:lnTo>
                    <a:pt x="434" y="1078"/>
                  </a:lnTo>
                  <a:lnTo>
                    <a:pt x="543" y="1132"/>
                  </a:lnTo>
                  <a:lnTo>
                    <a:pt x="543" y="1156"/>
                  </a:lnTo>
                  <a:lnTo>
                    <a:pt x="394" y="1156"/>
                  </a:lnTo>
                  <a:lnTo>
                    <a:pt x="394" y="1132"/>
                  </a:lnTo>
                  <a:lnTo>
                    <a:pt x="503" y="1132"/>
                  </a:lnTo>
                  <a:lnTo>
                    <a:pt x="394" y="1078"/>
                  </a:lnTo>
                  <a:close/>
                  <a:moveTo>
                    <a:pt x="435" y="923"/>
                  </a:moveTo>
                  <a:cubicBezTo>
                    <a:pt x="441" y="923"/>
                    <a:pt x="447" y="925"/>
                    <a:pt x="453" y="928"/>
                  </a:cubicBezTo>
                  <a:cubicBezTo>
                    <a:pt x="459" y="931"/>
                    <a:pt x="463" y="936"/>
                    <a:pt x="466" y="943"/>
                  </a:cubicBezTo>
                  <a:cubicBezTo>
                    <a:pt x="472" y="928"/>
                    <a:pt x="484" y="921"/>
                    <a:pt x="501" y="921"/>
                  </a:cubicBezTo>
                  <a:cubicBezTo>
                    <a:pt x="515" y="921"/>
                    <a:pt x="526" y="925"/>
                    <a:pt x="534" y="934"/>
                  </a:cubicBezTo>
                  <a:cubicBezTo>
                    <a:pt x="542" y="943"/>
                    <a:pt x="546" y="955"/>
                    <a:pt x="546" y="970"/>
                  </a:cubicBezTo>
                  <a:cubicBezTo>
                    <a:pt x="546" y="985"/>
                    <a:pt x="542" y="997"/>
                    <a:pt x="533" y="1006"/>
                  </a:cubicBezTo>
                  <a:cubicBezTo>
                    <a:pt x="525" y="1015"/>
                    <a:pt x="513" y="1020"/>
                    <a:pt x="499" y="1020"/>
                  </a:cubicBezTo>
                  <a:lnTo>
                    <a:pt x="499" y="996"/>
                  </a:lnTo>
                  <a:cubicBezTo>
                    <a:pt x="506" y="996"/>
                    <a:pt x="513" y="994"/>
                    <a:pt x="518" y="989"/>
                  </a:cubicBezTo>
                  <a:cubicBezTo>
                    <a:pt x="523" y="984"/>
                    <a:pt x="526" y="977"/>
                    <a:pt x="526" y="970"/>
                  </a:cubicBezTo>
                  <a:cubicBezTo>
                    <a:pt x="526" y="962"/>
                    <a:pt x="523" y="956"/>
                    <a:pt x="519" y="952"/>
                  </a:cubicBezTo>
                  <a:cubicBezTo>
                    <a:pt x="514" y="947"/>
                    <a:pt x="508" y="945"/>
                    <a:pt x="501" y="945"/>
                  </a:cubicBezTo>
                  <a:cubicBezTo>
                    <a:pt x="493" y="945"/>
                    <a:pt x="487" y="947"/>
                    <a:pt x="483" y="951"/>
                  </a:cubicBezTo>
                  <a:cubicBezTo>
                    <a:pt x="480" y="954"/>
                    <a:pt x="478" y="960"/>
                    <a:pt x="478" y="968"/>
                  </a:cubicBezTo>
                  <a:lnTo>
                    <a:pt x="478" y="991"/>
                  </a:lnTo>
                  <a:lnTo>
                    <a:pt x="456" y="991"/>
                  </a:lnTo>
                  <a:lnTo>
                    <a:pt x="456" y="967"/>
                  </a:lnTo>
                  <a:cubicBezTo>
                    <a:pt x="456" y="954"/>
                    <a:pt x="449" y="947"/>
                    <a:pt x="435" y="947"/>
                  </a:cubicBezTo>
                  <a:cubicBezTo>
                    <a:pt x="428" y="947"/>
                    <a:pt x="422" y="949"/>
                    <a:pt x="418" y="953"/>
                  </a:cubicBezTo>
                  <a:cubicBezTo>
                    <a:pt x="414" y="957"/>
                    <a:pt x="412" y="963"/>
                    <a:pt x="412" y="970"/>
                  </a:cubicBezTo>
                  <a:cubicBezTo>
                    <a:pt x="412" y="977"/>
                    <a:pt x="414" y="983"/>
                    <a:pt x="419" y="987"/>
                  </a:cubicBezTo>
                  <a:cubicBezTo>
                    <a:pt x="423" y="992"/>
                    <a:pt x="429" y="994"/>
                    <a:pt x="436" y="994"/>
                  </a:cubicBezTo>
                  <a:lnTo>
                    <a:pt x="436" y="1018"/>
                  </a:lnTo>
                  <a:cubicBezTo>
                    <a:pt x="423" y="1018"/>
                    <a:pt x="412" y="1014"/>
                    <a:pt x="404" y="1004"/>
                  </a:cubicBezTo>
                  <a:cubicBezTo>
                    <a:pt x="395" y="995"/>
                    <a:pt x="391" y="984"/>
                    <a:pt x="391" y="970"/>
                  </a:cubicBezTo>
                  <a:cubicBezTo>
                    <a:pt x="391" y="955"/>
                    <a:pt x="395" y="944"/>
                    <a:pt x="403" y="935"/>
                  </a:cubicBezTo>
                  <a:cubicBezTo>
                    <a:pt x="410" y="927"/>
                    <a:pt x="421" y="923"/>
                    <a:pt x="435" y="923"/>
                  </a:cubicBezTo>
                  <a:close/>
                  <a:moveTo>
                    <a:pt x="394" y="808"/>
                  </a:moveTo>
                  <a:lnTo>
                    <a:pt x="394" y="783"/>
                  </a:lnTo>
                  <a:lnTo>
                    <a:pt x="543" y="783"/>
                  </a:lnTo>
                  <a:lnTo>
                    <a:pt x="543" y="808"/>
                  </a:lnTo>
                  <a:lnTo>
                    <a:pt x="434" y="808"/>
                  </a:lnTo>
                  <a:lnTo>
                    <a:pt x="543" y="862"/>
                  </a:lnTo>
                  <a:lnTo>
                    <a:pt x="543" y="886"/>
                  </a:lnTo>
                  <a:lnTo>
                    <a:pt x="394" y="886"/>
                  </a:lnTo>
                  <a:lnTo>
                    <a:pt x="394" y="862"/>
                  </a:lnTo>
                  <a:lnTo>
                    <a:pt x="503" y="862"/>
                  </a:lnTo>
                  <a:lnTo>
                    <a:pt x="394" y="808"/>
                  </a:lnTo>
                  <a:close/>
                  <a:moveTo>
                    <a:pt x="480" y="704"/>
                  </a:moveTo>
                  <a:lnTo>
                    <a:pt x="480" y="718"/>
                  </a:lnTo>
                  <a:lnTo>
                    <a:pt x="543" y="718"/>
                  </a:lnTo>
                  <a:lnTo>
                    <a:pt x="543" y="742"/>
                  </a:lnTo>
                  <a:lnTo>
                    <a:pt x="394" y="742"/>
                  </a:lnTo>
                  <a:lnTo>
                    <a:pt x="394" y="718"/>
                  </a:lnTo>
                  <a:lnTo>
                    <a:pt x="457" y="718"/>
                  </a:lnTo>
                  <a:lnTo>
                    <a:pt x="457" y="706"/>
                  </a:lnTo>
                  <a:lnTo>
                    <a:pt x="394" y="665"/>
                  </a:lnTo>
                  <a:lnTo>
                    <a:pt x="394" y="636"/>
                  </a:lnTo>
                  <a:lnTo>
                    <a:pt x="465" y="685"/>
                  </a:lnTo>
                  <a:lnTo>
                    <a:pt x="543" y="632"/>
                  </a:lnTo>
                  <a:lnTo>
                    <a:pt x="543" y="663"/>
                  </a:lnTo>
                  <a:lnTo>
                    <a:pt x="480" y="704"/>
                  </a:lnTo>
                  <a:close/>
                  <a:moveTo>
                    <a:pt x="543" y="532"/>
                  </a:moveTo>
                  <a:cubicBezTo>
                    <a:pt x="540" y="533"/>
                    <a:pt x="535" y="534"/>
                    <a:pt x="527" y="535"/>
                  </a:cubicBezTo>
                  <a:cubicBezTo>
                    <a:pt x="540" y="544"/>
                    <a:pt x="546" y="555"/>
                    <a:pt x="546" y="568"/>
                  </a:cubicBezTo>
                  <a:cubicBezTo>
                    <a:pt x="546" y="582"/>
                    <a:pt x="542" y="592"/>
                    <a:pt x="535" y="600"/>
                  </a:cubicBezTo>
                  <a:cubicBezTo>
                    <a:pt x="527" y="607"/>
                    <a:pt x="516" y="611"/>
                    <a:pt x="503" y="611"/>
                  </a:cubicBezTo>
                  <a:cubicBezTo>
                    <a:pt x="487" y="611"/>
                    <a:pt x="475" y="606"/>
                    <a:pt x="466" y="596"/>
                  </a:cubicBezTo>
                  <a:cubicBezTo>
                    <a:pt x="457" y="585"/>
                    <a:pt x="453" y="571"/>
                    <a:pt x="453" y="553"/>
                  </a:cubicBezTo>
                  <a:lnTo>
                    <a:pt x="453" y="535"/>
                  </a:lnTo>
                  <a:lnTo>
                    <a:pt x="437" y="535"/>
                  </a:lnTo>
                  <a:cubicBezTo>
                    <a:pt x="428" y="535"/>
                    <a:pt x="422" y="537"/>
                    <a:pt x="418" y="541"/>
                  </a:cubicBezTo>
                  <a:cubicBezTo>
                    <a:pt x="414" y="545"/>
                    <a:pt x="412" y="551"/>
                    <a:pt x="412" y="559"/>
                  </a:cubicBezTo>
                  <a:cubicBezTo>
                    <a:pt x="412" y="567"/>
                    <a:pt x="414" y="573"/>
                    <a:pt x="419" y="577"/>
                  </a:cubicBezTo>
                  <a:cubicBezTo>
                    <a:pt x="423" y="582"/>
                    <a:pt x="429" y="584"/>
                    <a:pt x="435" y="584"/>
                  </a:cubicBezTo>
                  <a:lnTo>
                    <a:pt x="435" y="609"/>
                  </a:lnTo>
                  <a:cubicBezTo>
                    <a:pt x="428" y="609"/>
                    <a:pt x="420" y="606"/>
                    <a:pt x="413" y="602"/>
                  </a:cubicBezTo>
                  <a:cubicBezTo>
                    <a:pt x="406" y="597"/>
                    <a:pt x="401" y="591"/>
                    <a:pt x="397" y="584"/>
                  </a:cubicBezTo>
                  <a:cubicBezTo>
                    <a:pt x="393" y="576"/>
                    <a:pt x="391" y="568"/>
                    <a:pt x="391" y="558"/>
                  </a:cubicBezTo>
                  <a:cubicBezTo>
                    <a:pt x="391" y="543"/>
                    <a:pt x="395" y="531"/>
                    <a:pt x="403" y="523"/>
                  </a:cubicBezTo>
                  <a:cubicBezTo>
                    <a:pt x="410" y="515"/>
                    <a:pt x="421" y="511"/>
                    <a:pt x="436" y="511"/>
                  </a:cubicBezTo>
                  <a:lnTo>
                    <a:pt x="511" y="511"/>
                  </a:lnTo>
                  <a:cubicBezTo>
                    <a:pt x="523" y="511"/>
                    <a:pt x="533" y="510"/>
                    <a:pt x="541" y="506"/>
                  </a:cubicBezTo>
                  <a:lnTo>
                    <a:pt x="543" y="506"/>
                  </a:lnTo>
                  <a:lnTo>
                    <a:pt x="543" y="532"/>
                  </a:lnTo>
                  <a:close/>
                  <a:moveTo>
                    <a:pt x="524" y="564"/>
                  </a:moveTo>
                  <a:cubicBezTo>
                    <a:pt x="524" y="558"/>
                    <a:pt x="522" y="553"/>
                    <a:pt x="519" y="547"/>
                  </a:cubicBezTo>
                  <a:cubicBezTo>
                    <a:pt x="515" y="542"/>
                    <a:pt x="511" y="538"/>
                    <a:pt x="506" y="535"/>
                  </a:cubicBezTo>
                  <a:lnTo>
                    <a:pt x="471" y="535"/>
                  </a:lnTo>
                  <a:lnTo>
                    <a:pt x="471" y="549"/>
                  </a:lnTo>
                  <a:cubicBezTo>
                    <a:pt x="471" y="561"/>
                    <a:pt x="474" y="570"/>
                    <a:pt x="479" y="577"/>
                  </a:cubicBezTo>
                  <a:cubicBezTo>
                    <a:pt x="484" y="583"/>
                    <a:pt x="491" y="587"/>
                    <a:pt x="500" y="587"/>
                  </a:cubicBezTo>
                  <a:cubicBezTo>
                    <a:pt x="508" y="587"/>
                    <a:pt x="514" y="585"/>
                    <a:pt x="518" y="582"/>
                  </a:cubicBezTo>
                  <a:cubicBezTo>
                    <a:pt x="522" y="578"/>
                    <a:pt x="524" y="573"/>
                    <a:pt x="524" y="564"/>
                  </a:cubicBezTo>
                  <a:close/>
                  <a:moveTo>
                    <a:pt x="463" y="421"/>
                  </a:moveTo>
                  <a:cubicBezTo>
                    <a:pt x="504" y="421"/>
                    <a:pt x="540" y="430"/>
                    <a:pt x="572" y="448"/>
                  </a:cubicBezTo>
                  <a:cubicBezTo>
                    <a:pt x="589" y="458"/>
                    <a:pt x="601" y="469"/>
                    <a:pt x="608" y="479"/>
                  </a:cubicBezTo>
                  <a:lnTo>
                    <a:pt x="593" y="484"/>
                  </a:lnTo>
                  <a:cubicBezTo>
                    <a:pt x="581" y="473"/>
                    <a:pt x="564" y="463"/>
                    <a:pt x="542" y="456"/>
                  </a:cubicBezTo>
                  <a:cubicBezTo>
                    <a:pt x="519" y="449"/>
                    <a:pt x="494" y="445"/>
                    <a:pt x="466" y="445"/>
                  </a:cubicBezTo>
                  <a:lnTo>
                    <a:pt x="461" y="445"/>
                  </a:lnTo>
                  <a:cubicBezTo>
                    <a:pt x="426" y="445"/>
                    <a:pt x="395" y="451"/>
                    <a:pt x="368" y="462"/>
                  </a:cubicBezTo>
                  <a:cubicBezTo>
                    <a:pt x="352" y="469"/>
                    <a:pt x="341" y="476"/>
                    <a:pt x="332" y="484"/>
                  </a:cubicBezTo>
                  <a:lnTo>
                    <a:pt x="316" y="479"/>
                  </a:lnTo>
                  <a:cubicBezTo>
                    <a:pt x="323" y="469"/>
                    <a:pt x="334" y="459"/>
                    <a:pt x="350" y="450"/>
                  </a:cubicBezTo>
                  <a:cubicBezTo>
                    <a:pt x="382" y="430"/>
                    <a:pt x="420" y="421"/>
                    <a:pt x="463" y="421"/>
                  </a:cubicBezTo>
                  <a:close/>
                </a:path>
              </a:pathLst>
            </a:custGeom>
            <a:solidFill>
              <a:srgbClr val="4C4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6" name="Freeform 1788"/>
            <p:cNvSpPr>
              <a:spLocks noEditPoints="1"/>
            </p:cNvSpPr>
            <p:nvPr/>
          </p:nvSpPr>
          <p:spPr bwMode="auto">
            <a:xfrm>
              <a:off x="734424" y="4503779"/>
              <a:ext cx="4486754" cy="490116"/>
            </a:xfrm>
            <a:custGeom>
              <a:avLst/>
              <a:gdLst/>
              <a:ahLst/>
              <a:cxnLst>
                <a:cxn ang="0">
                  <a:pos x="9304" y="537"/>
                </a:cxn>
                <a:cxn ang="0">
                  <a:pos x="536" y="537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9304" y="537"/>
                </a:cxn>
                <a:cxn ang="0">
                  <a:pos x="9840" y="1073"/>
                </a:cxn>
                <a:cxn ang="0">
                  <a:pos x="9840" y="1073"/>
                </a:cxn>
              </a:cxnLst>
              <a:rect l="0" t="0" r="r" b="b"/>
              <a:pathLst>
                <a:path w="9840" h="1073">
                  <a:moveTo>
                    <a:pt x="9304" y="537"/>
                  </a:moveTo>
                  <a:lnTo>
                    <a:pt x="536" y="537"/>
                  </a:lnTo>
                  <a:cubicBezTo>
                    <a:pt x="241" y="537"/>
                    <a:pt x="0" y="296"/>
                    <a:pt x="0" y="0"/>
                  </a:cubicBezTo>
                  <a:lnTo>
                    <a:pt x="0" y="0"/>
                  </a:lnTo>
                  <a:moveTo>
                    <a:pt x="9304" y="537"/>
                  </a:moveTo>
                  <a:cubicBezTo>
                    <a:pt x="9599" y="537"/>
                    <a:pt x="9840" y="778"/>
                    <a:pt x="9840" y="1073"/>
                  </a:cubicBezTo>
                  <a:lnTo>
                    <a:pt x="9840" y="1073"/>
                  </a:lnTo>
                </a:path>
              </a:pathLst>
            </a:custGeom>
            <a:noFill/>
            <a:ln w="7938" cap="flat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7" name="Freeform 1789"/>
            <p:cNvSpPr>
              <a:spLocks noEditPoints="1"/>
            </p:cNvSpPr>
            <p:nvPr/>
          </p:nvSpPr>
          <p:spPr bwMode="auto">
            <a:xfrm>
              <a:off x="5221178" y="4503779"/>
              <a:ext cx="4297482" cy="490116"/>
            </a:xfrm>
            <a:custGeom>
              <a:avLst/>
              <a:gdLst/>
              <a:ahLst/>
              <a:cxnLst>
                <a:cxn ang="0">
                  <a:pos x="514" y="537"/>
                </a:cxn>
                <a:cxn ang="0">
                  <a:pos x="8914" y="537"/>
                </a:cxn>
                <a:cxn ang="0">
                  <a:pos x="9428" y="0"/>
                </a:cxn>
                <a:cxn ang="0">
                  <a:pos x="9428" y="0"/>
                </a:cxn>
                <a:cxn ang="0">
                  <a:pos x="514" y="537"/>
                </a:cxn>
                <a:cxn ang="0">
                  <a:pos x="0" y="1073"/>
                </a:cxn>
                <a:cxn ang="0">
                  <a:pos x="0" y="1073"/>
                </a:cxn>
              </a:cxnLst>
              <a:rect l="0" t="0" r="r" b="b"/>
              <a:pathLst>
                <a:path w="9428" h="1073">
                  <a:moveTo>
                    <a:pt x="514" y="537"/>
                  </a:moveTo>
                  <a:lnTo>
                    <a:pt x="8914" y="537"/>
                  </a:lnTo>
                  <a:cubicBezTo>
                    <a:pt x="9196" y="537"/>
                    <a:pt x="9428" y="296"/>
                    <a:pt x="9428" y="0"/>
                  </a:cubicBezTo>
                  <a:lnTo>
                    <a:pt x="9428" y="0"/>
                  </a:lnTo>
                  <a:moveTo>
                    <a:pt x="514" y="537"/>
                  </a:moveTo>
                  <a:cubicBezTo>
                    <a:pt x="231" y="537"/>
                    <a:pt x="0" y="778"/>
                    <a:pt x="0" y="1073"/>
                  </a:cubicBezTo>
                  <a:lnTo>
                    <a:pt x="0" y="1073"/>
                  </a:lnTo>
                </a:path>
              </a:pathLst>
            </a:cu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8" name="Freeform 1790"/>
            <p:cNvSpPr>
              <a:spLocks noEditPoints="1"/>
            </p:cNvSpPr>
            <p:nvPr/>
          </p:nvSpPr>
          <p:spPr bwMode="auto">
            <a:xfrm>
              <a:off x="9705940" y="4503779"/>
              <a:ext cx="886592" cy="490116"/>
            </a:xfrm>
            <a:custGeom>
              <a:avLst/>
              <a:gdLst/>
              <a:ahLst/>
              <a:cxnLst>
                <a:cxn ang="0">
                  <a:pos x="1341" y="537"/>
                </a:cxn>
                <a:cxn ang="0">
                  <a:pos x="603" y="537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341" y="537"/>
                </a:cxn>
                <a:cxn ang="0">
                  <a:pos x="1943" y="1073"/>
                </a:cxn>
                <a:cxn ang="0">
                  <a:pos x="1943" y="1073"/>
                </a:cxn>
              </a:cxnLst>
              <a:rect l="0" t="0" r="r" b="b"/>
              <a:pathLst>
                <a:path w="1943" h="1073">
                  <a:moveTo>
                    <a:pt x="1341" y="537"/>
                  </a:moveTo>
                  <a:lnTo>
                    <a:pt x="603" y="537"/>
                  </a:lnTo>
                  <a:cubicBezTo>
                    <a:pt x="271" y="537"/>
                    <a:pt x="0" y="296"/>
                    <a:pt x="0" y="0"/>
                  </a:cubicBezTo>
                  <a:lnTo>
                    <a:pt x="0" y="0"/>
                  </a:lnTo>
                  <a:moveTo>
                    <a:pt x="1341" y="537"/>
                  </a:moveTo>
                  <a:cubicBezTo>
                    <a:pt x="1672" y="537"/>
                    <a:pt x="1943" y="778"/>
                    <a:pt x="1943" y="1073"/>
                  </a:cubicBezTo>
                  <a:lnTo>
                    <a:pt x="1943" y="1073"/>
                  </a:lnTo>
                </a:path>
              </a:pathLst>
            </a:cu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39" name="Freeform 1791"/>
            <p:cNvSpPr>
              <a:spLocks noEditPoints="1"/>
            </p:cNvSpPr>
            <p:nvPr/>
          </p:nvSpPr>
          <p:spPr bwMode="auto">
            <a:xfrm>
              <a:off x="10592532" y="4503779"/>
              <a:ext cx="884600" cy="490116"/>
            </a:xfrm>
            <a:custGeom>
              <a:avLst/>
              <a:gdLst/>
              <a:ahLst/>
              <a:cxnLst>
                <a:cxn ang="0">
                  <a:pos x="602" y="537"/>
                </a:cxn>
                <a:cxn ang="0">
                  <a:pos x="1341" y="537"/>
                </a:cxn>
                <a:cxn ang="0">
                  <a:pos x="1943" y="0"/>
                </a:cxn>
                <a:cxn ang="0">
                  <a:pos x="1943" y="0"/>
                </a:cxn>
                <a:cxn ang="0">
                  <a:pos x="602" y="537"/>
                </a:cxn>
                <a:cxn ang="0">
                  <a:pos x="0" y="1073"/>
                </a:cxn>
                <a:cxn ang="0">
                  <a:pos x="0" y="1073"/>
                </a:cxn>
              </a:cxnLst>
              <a:rect l="0" t="0" r="r" b="b"/>
              <a:pathLst>
                <a:path w="1943" h="1073">
                  <a:moveTo>
                    <a:pt x="602" y="537"/>
                  </a:moveTo>
                  <a:lnTo>
                    <a:pt x="1341" y="537"/>
                  </a:lnTo>
                  <a:cubicBezTo>
                    <a:pt x="1672" y="537"/>
                    <a:pt x="1943" y="296"/>
                    <a:pt x="1943" y="0"/>
                  </a:cubicBezTo>
                  <a:lnTo>
                    <a:pt x="1943" y="0"/>
                  </a:lnTo>
                  <a:moveTo>
                    <a:pt x="602" y="537"/>
                  </a:moveTo>
                  <a:cubicBezTo>
                    <a:pt x="271" y="537"/>
                    <a:pt x="0" y="778"/>
                    <a:pt x="0" y="1073"/>
                  </a:cubicBezTo>
                  <a:lnTo>
                    <a:pt x="0" y="1073"/>
                  </a:lnTo>
                </a:path>
              </a:pathLst>
            </a:custGeom>
            <a:noFill/>
            <a:ln w="9525" cap="rnd">
              <a:solidFill>
                <a:srgbClr val="4C4C4C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 flipV="1">
            <a:off x="429511" y="2520808"/>
            <a:ext cx="8269322" cy="3208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7925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7826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4" t="18134" r="1875" b="14431"/>
          <a:stretch/>
        </p:blipFill>
        <p:spPr bwMode="auto">
          <a:xfrm>
            <a:off x="971600" y="0"/>
            <a:ext cx="8172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174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6802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5" t="18093" r="1450" b="14374"/>
          <a:stretch/>
        </p:blipFill>
        <p:spPr bwMode="auto">
          <a:xfrm>
            <a:off x="971600" y="0"/>
            <a:ext cx="8172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1073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928662" y="6274378"/>
            <a:ext cx="72152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0"/>
            <a:r>
              <a:rPr lang="en-US" kern="0" dirty="0">
                <a:solidFill>
                  <a:srgbClr val="000000"/>
                </a:solidFill>
                <a:latin typeface="Helvetica"/>
                <a:sym typeface="Helvetica"/>
              </a:rPr>
              <a:t>http://fioco.ru/fioko-news</a:t>
            </a:r>
            <a:endParaRPr lang="ru-RU" kern="0" dirty="0">
              <a:solidFill>
                <a:srgbClr val="000000"/>
              </a:solidFill>
              <a:sym typeface="Helvetica"/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4284" y="1405488"/>
            <a:ext cx="8690164" cy="4881039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ffectLst/>
        </p:spPr>
      </p:pic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201648" y="714356"/>
            <a:ext cx="8715436" cy="5000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marL="274320" indent="-274320" algn="ctr" hangingPunct="0">
              <a:spcBef>
                <a:spcPts val="600"/>
              </a:spcBef>
              <a:buClr>
                <a:srgbClr val="4F81BD"/>
              </a:buClr>
              <a:buSzPct val="76000"/>
              <a:defRPr/>
            </a:pPr>
            <a:r>
              <a:rPr lang="ru-RU" sz="2400" kern="0" dirty="0">
                <a:solidFill>
                  <a:srgbClr val="0070C0"/>
                </a:solidFill>
                <a:sym typeface="Helvetica"/>
              </a:rPr>
              <a:t>Идеолог исследования </a:t>
            </a:r>
            <a:r>
              <a:rPr lang="en-US" sz="2400" kern="0" dirty="0">
                <a:solidFill>
                  <a:srgbClr val="0070C0"/>
                </a:solidFill>
                <a:latin typeface="Helvetica"/>
                <a:sym typeface="Helvetica"/>
              </a:rPr>
              <a:t>PISA</a:t>
            </a:r>
            <a:r>
              <a:rPr lang="ru-RU" sz="2400" kern="0" dirty="0">
                <a:solidFill>
                  <a:srgbClr val="0070C0"/>
                </a:solidFill>
                <a:sym typeface="Helvetica"/>
              </a:rPr>
              <a:t>     Андреас </a:t>
            </a:r>
            <a:r>
              <a:rPr lang="ru-RU" sz="2400" kern="0" dirty="0" err="1">
                <a:solidFill>
                  <a:srgbClr val="0070C0"/>
                </a:solidFill>
                <a:sym typeface="Helvetica"/>
              </a:rPr>
              <a:t>Шляйхер</a:t>
            </a:r>
            <a:r>
              <a:rPr lang="ru-RU" sz="2400" kern="0" dirty="0">
                <a:solidFill>
                  <a:srgbClr val="0070C0"/>
                </a:solidFill>
                <a:sym typeface="Helvetica"/>
              </a:rPr>
              <a:t>  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442948" y="6287665"/>
            <a:ext cx="196524" cy="338550"/>
          </a:xfrm>
          <a:prstGeom prst="rect">
            <a:avLst/>
          </a:prstGeom>
        </p:spPr>
        <p:txBody>
          <a:bodyPr/>
          <a:lstStyle/>
          <a:p>
            <a:fld id="{725C68B6-61C2-468F-89AB-4B9F7531AA68}" type="slidenum">
              <a:rPr lang="ru-RU" smtClean="0">
                <a:solidFill>
                  <a:srgbClr val="000000"/>
                </a:solidFill>
              </a:rPr>
              <a:pPr/>
              <a:t>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 flipH="1">
            <a:off x="0" y="-27384"/>
            <a:ext cx="9144000" cy="741740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hangingPunct="0"/>
            <a:r>
              <a:rPr lang="ru-RU" sz="2800" b="1" kern="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"/>
              </a:rPr>
              <a:t>Оценка качества общего образования </a:t>
            </a:r>
          </a:p>
        </p:txBody>
      </p:sp>
      <p:cxnSp>
        <p:nvCxnSpPr>
          <p:cNvPr id="4" name="Прямая со стрелкой 3"/>
          <p:cNvCxnSpPr/>
          <p:nvPr/>
        </p:nvCxnSpPr>
        <p:spPr>
          <a:xfrm>
            <a:off x="6084168" y="2852936"/>
            <a:ext cx="0" cy="216024"/>
          </a:xfrm>
          <a:prstGeom prst="straightConnector1">
            <a:avLst/>
          </a:prstGeom>
          <a:noFill/>
          <a:ln w="25400" cap="flat">
            <a:solidFill>
              <a:srgbClr val="C00000"/>
            </a:solidFill>
            <a:prstDash val="solid"/>
            <a:round/>
            <a:tailEnd type="arrow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611560" y="4149080"/>
            <a:ext cx="7776864" cy="0"/>
          </a:xfrm>
          <a:prstGeom prst="line">
            <a:avLst/>
          </a:prstGeom>
          <a:ln>
            <a:prstDash val="sys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5937068" y="2623793"/>
            <a:ext cx="278277" cy="261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hangingPunct="0"/>
            <a:r>
              <a:rPr lang="ru-RU" sz="1100" kern="0" dirty="0">
                <a:solidFill>
                  <a:srgbClr val="FF0000"/>
                </a:solidFill>
                <a:sym typeface="Helvetica"/>
              </a:rPr>
              <a:t>РФ</a:t>
            </a:r>
          </a:p>
        </p:txBody>
      </p:sp>
    </p:spTree>
    <p:extLst>
      <p:ext uri="{BB962C8B-B14F-4D97-AF65-F5344CB8AC3E}">
        <p14:creationId xmlns:p14="http://schemas.microsoft.com/office/powerpoint/2010/main" val="1526584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077" y="25"/>
            <a:ext cx="54292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725930" y="96061"/>
            <a:ext cx="5852160" cy="95410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28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ea typeface="MS PGothic" pitchFamily="34" charset="-128"/>
              </a:rPr>
              <a:t>Модель оценки функциональной грамотности: </a:t>
            </a:r>
            <a:r>
              <a:rPr lang="en-US" altLang="ru-RU" sz="28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ea typeface="MS PGothic" pitchFamily="34" charset="-128"/>
              </a:rPr>
              <a:t>PISA</a:t>
            </a:r>
            <a:r>
              <a:rPr lang="ru-RU" altLang="ru-RU" sz="28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ea typeface="MS PGothic" pitchFamily="34" charset="-128"/>
              </a:rPr>
              <a:t>-201</a:t>
            </a:r>
            <a:r>
              <a:rPr lang="en-US" altLang="ru-RU" sz="28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ea typeface="MS PGothic" pitchFamily="34" charset="-128"/>
              </a:rPr>
              <a:t>8</a:t>
            </a:r>
            <a:endParaRPr lang="ru-RU" sz="28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  <a:ea typeface="MS PGothic" pitchFamily="34" charset="-128"/>
            </a:endParaRPr>
          </a:p>
        </p:txBody>
      </p:sp>
      <p:sp>
        <p:nvSpPr>
          <p:cNvPr id="22" name="Овал 4"/>
          <p:cNvSpPr>
            <a:spLocks noChangeArrowheads="1"/>
          </p:cNvSpPr>
          <p:nvPr/>
        </p:nvSpPr>
        <p:spPr bwMode="auto">
          <a:xfrm>
            <a:off x="122082" y="1550626"/>
            <a:ext cx="3466164" cy="978470"/>
          </a:xfrm>
          <a:prstGeom prst="ellipse">
            <a:avLst/>
          </a:prstGeom>
          <a:solidFill>
            <a:srgbClr val="00B0F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108823" tIns="54411" rIns="108823" bIns="54411" anchor="ctr"/>
          <a:lstStyle/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Математическая</a:t>
            </a:r>
          </a:p>
          <a:p>
            <a:pPr algn="ctr">
              <a:defRPr/>
            </a:pPr>
            <a:r>
              <a:rPr lang="ru-RU" sz="2400" dirty="0">
                <a:solidFill>
                  <a:srgbClr val="002060"/>
                </a:solidFill>
              </a:rPr>
              <a:t>грамотность</a:t>
            </a:r>
          </a:p>
        </p:txBody>
      </p:sp>
      <p:sp>
        <p:nvSpPr>
          <p:cNvPr id="23" name="Овал 6"/>
          <p:cNvSpPr>
            <a:spLocks noChangeArrowheads="1"/>
          </p:cNvSpPr>
          <p:nvPr/>
        </p:nvSpPr>
        <p:spPr bwMode="auto">
          <a:xfrm>
            <a:off x="4656720" y="1537358"/>
            <a:ext cx="4258680" cy="978470"/>
          </a:xfrm>
          <a:prstGeom prst="ellipse">
            <a:avLst/>
          </a:prstGeom>
          <a:solidFill>
            <a:srgbClr val="92D05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108823" tIns="54411" rIns="108823" bIns="54411" anchor="ctr"/>
          <a:lstStyle/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Естественнонаучная </a:t>
            </a:r>
          </a:p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грамотность</a:t>
            </a:r>
          </a:p>
        </p:txBody>
      </p:sp>
      <p:sp>
        <p:nvSpPr>
          <p:cNvPr id="24" name="Овал 7"/>
          <p:cNvSpPr>
            <a:spLocks noChangeArrowheads="1"/>
          </p:cNvSpPr>
          <p:nvPr/>
        </p:nvSpPr>
        <p:spPr bwMode="auto">
          <a:xfrm>
            <a:off x="2812304" y="5389316"/>
            <a:ext cx="4397565" cy="976811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108823" tIns="54411" rIns="108823" bIns="54411" anchor="ctr"/>
          <a:lstStyle/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Глобальные </a:t>
            </a:r>
          </a:p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компетенции</a:t>
            </a:r>
          </a:p>
        </p:txBody>
      </p:sp>
      <p:sp>
        <p:nvSpPr>
          <p:cNvPr id="25" name="Овал 24"/>
          <p:cNvSpPr/>
          <p:nvPr/>
        </p:nvSpPr>
        <p:spPr bwMode="auto">
          <a:xfrm>
            <a:off x="2818268" y="3190445"/>
            <a:ext cx="4397565" cy="1354931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8823" tIns="54411" rIns="108823" bIns="54411" anchor="ctr"/>
          <a:lstStyle/>
          <a:p>
            <a:pPr algn="ctr">
              <a:defRPr/>
            </a:pPr>
            <a:r>
              <a:rPr lang="ru-RU" sz="3300" dirty="0">
                <a:solidFill>
                  <a:prstClr val="black"/>
                </a:solidFill>
                <a:latin typeface="Arial" charset="0"/>
              </a:rPr>
              <a:t>Читательская</a:t>
            </a:r>
          </a:p>
          <a:p>
            <a:pPr algn="ctr">
              <a:defRPr/>
            </a:pPr>
            <a:r>
              <a:rPr lang="ru-RU" sz="3300" dirty="0">
                <a:solidFill>
                  <a:prstClr val="black"/>
                </a:solidFill>
                <a:latin typeface="Arial" charset="0"/>
              </a:rPr>
              <a:t>грамотность</a:t>
            </a:r>
          </a:p>
        </p:txBody>
      </p:sp>
      <p:cxnSp>
        <p:nvCxnSpPr>
          <p:cNvPr id="26" name="Прямая соединительная линия 25"/>
          <p:cNvCxnSpPr>
            <a:stCxn id="23" idx="5"/>
            <a:endCxn id="24" idx="6"/>
          </p:cNvCxnSpPr>
          <p:nvPr/>
        </p:nvCxnSpPr>
        <p:spPr bwMode="auto">
          <a:xfrm flipH="1">
            <a:off x="7209871" y="2372534"/>
            <a:ext cx="1081862" cy="350409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Прямая соединительная линия 26"/>
          <p:cNvCxnSpPr>
            <a:stCxn id="22" idx="4"/>
          </p:cNvCxnSpPr>
          <p:nvPr/>
        </p:nvCxnSpPr>
        <p:spPr bwMode="auto">
          <a:xfrm>
            <a:off x="1855186" y="2529096"/>
            <a:ext cx="1049959" cy="3233926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Прямая соединительная линия 27"/>
          <p:cNvCxnSpPr>
            <a:stCxn id="22" idx="6"/>
            <a:endCxn id="23" idx="2"/>
          </p:cNvCxnSpPr>
          <p:nvPr/>
        </p:nvCxnSpPr>
        <p:spPr bwMode="auto">
          <a:xfrm flipV="1">
            <a:off x="3588246" y="2026593"/>
            <a:ext cx="1068474" cy="13268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Прямая соединительная линия 29"/>
          <p:cNvCxnSpPr>
            <a:stCxn id="22" idx="4"/>
            <a:endCxn id="25" idx="1"/>
          </p:cNvCxnSpPr>
          <p:nvPr/>
        </p:nvCxnSpPr>
        <p:spPr bwMode="auto">
          <a:xfrm>
            <a:off x="1855164" y="2530194"/>
            <a:ext cx="1607112" cy="859767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Прямая соединительная линия 30"/>
          <p:cNvCxnSpPr>
            <a:stCxn id="23" idx="4"/>
            <a:endCxn id="25" idx="7"/>
          </p:cNvCxnSpPr>
          <p:nvPr/>
        </p:nvCxnSpPr>
        <p:spPr bwMode="auto">
          <a:xfrm flipH="1">
            <a:off x="6572374" y="2516926"/>
            <a:ext cx="214235" cy="873035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Прямая соединительная линия 31"/>
          <p:cNvCxnSpPr>
            <a:stCxn id="25" idx="4"/>
            <a:endCxn id="24" idx="0"/>
          </p:cNvCxnSpPr>
          <p:nvPr/>
        </p:nvCxnSpPr>
        <p:spPr bwMode="auto">
          <a:xfrm flipH="1">
            <a:off x="5011087" y="4546467"/>
            <a:ext cx="5964" cy="842849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55"/>
          <p:cNvSpPr txBox="1">
            <a:spLocks noChangeArrowheads="1"/>
          </p:cNvSpPr>
          <p:nvPr/>
        </p:nvSpPr>
        <p:spPr bwMode="auto">
          <a:xfrm>
            <a:off x="1822128" y="3954892"/>
            <a:ext cx="936442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4%</a:t>
            </a:r>
          </a:p>
        </p:txBody>
      </p:sp>
      <p:sp>
        <p:nvSpPr>
          <p:cNvPr id="34" name="TextBox 56"/>
          <p:cNvSpPr txBox="1">
            <a:spLocks noChangeArrowheads="1"/>
          </p:cNvSpPr>
          <p:nvPr/>
        </p:nvSpPr>
        <p:spPr bwMode="auto">
          <a:xfrm>
            <a:off x="3675372" y="1465269"/>
            <a:ext cx="936442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4%</a:t>
            </a:r>
          </a:p>
        </p:txBody>
      </p:sp>
      <p:sp>
        <p:nvSpPr>
          <p:cNvPr id="35" name="TextBox 57"/>
          <p:cNvSpPr txBox="1">
            <a:spLocks noChangeArrowheads="1"/>
          </p:cNvSpPr>
          <p:nvPr/>
        </p:nvSpPr>
        <p:spPr bwMode="auto">
          <a:xfrm>
            <a:off x="7242495" y="3954892"/>
            <a:ext cx="936442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4%</a:t>
            </a:r>
          </a:p>
        </p:txBody>
      </p:sp>
      <p:sp>
        <p:nvSpPr>
          <p:cNvPr id="36" name="TextBox 58"/>
          <p:cNvSpPr txBox="1">
            <a:spLocks noChangeArrowheads="1"/>
          </p:cNvSpPr>
          <p:nvPr/>
        </p:nvSpPr>
        <p:spPr bwMode="auto">
          <a:xfrm>
            <a:off x="2137272" y="2758937"/>
            <a:ext cx="1216962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33%</a:t>
            </a:r>
          </a:p>
        </p:txBody>
      </p:sp>
      <p:sp>
        <p:nvSpPr>
          <p:cNvPr id="37" name="TextBox 59"/>
          <p:cNvSpPr txBox="1">
            <a:spLocks noChangeArrowheads="1"/>
          </p:cNvSpPr>
          <p:nvPr/>
        </p:nvSpPr>
        <p:spPr bwMode="auto">
          <a:xfrm>
            <a:off x="6178662" y="2713834"/>
            <a:ext cx="1214899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33%</a:t>
            </a:r>
          </a:p>
        </p:txBody>
      </p:sp>
      <p:sp>
        <p:nvSpPr>
          <p:cNvPr id="38" name="TextBox 60"/>
          <p:cNvSpPr txBox="1">
            <a:spLocks noChangeArrowheads="1"/>
          </p:cNvSpPr>
          <p:nvPr/>
        </p:nvSpPr>
        <p:spPr bwMode="auto">
          <a:xfrm>
            <a:off x="4402606" y="4787307"/>
            <a:ext cx="1216962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>
              <a:defRPr/>
            </a:pPr>
            <a:r>
              <a:rPr lang="ru-RU" sz="2400" dirty="0">
                <a:solidFill>
                  <a:prstClr val="black"/>
                </a:solidFill>
              </a:rPr>
              <a:t>22%</a:t>
            </a:r>
          </a:p>
        </p:txBody>
      </p:sp>
      <p:sp>
        <p:nvSpPr>
          <p:cNvPr id="39" name="Овал 21"/>
          <p:cNvSpPr>
            <a:spLocks noChangeArrowheads="1"/>
          </p:cNvSpPr>
          <p:nvPr/>
        </p:nvSpPr>
        <p:spPr bwMode="auto">
          <a:xfrm>
            <a:off x="60941" y="5837387"/>
            <a:ext cx="2772198" cy="875647"/>
          </a:xfrm>
          <a:prstGeom prst="ellipse">
            <a:avLst/>
          </a:prstGeom>
          <a:blipFill dpi="0" rotWithShape="1">
            <a:blip r:embed="rId3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108823" tIns="54411" rIns="108823" bIns="54411" anchor="ctr"/>
          <a:lstStyle/>
          <a:p>
            <a:pPr algn="ctr">
              <a:defRPr/>
            </a:pPr>
            <a:r>
              <a:rPr lang="ru-RU" sz="2400" dirty="0">
                <a:solidFill>
                  <a:srgbClr val="002060"/>
                </a:solidFill>
                <a:latin typeface="Times" pitchFamily="18" charset="0"/>
              </a:rPr>
              <a:t>Финансовая</a:t>
            </a:r>
          </a:p>
          <a:p>
            <a:pPr algn="ctr">
              <a:defRPr/>
            </a:pPr>
            <a:r>
              <a:rPr lang="ru-RU" sz="2400" dirty="0">
                <a:solidFill>
                  <a:srgbClr val="002060"/>
                </a:solidFill>
                <a:latin typeface="Times" pitchFamily="18" charset="0"/>
              </a:rPr>
              <a:t> грамотность</a:t>
            </a:r>
          </a:p>
        </p:txBody>
      </p:sp>
    </p:spTree>
    <p:extLst>
      <p:ext uri="{BB962C8B-B14F-4D97-AF65-F5344CB8AC3E}">
        <p14:creationId xmlns:p14="http://schemas.microsoft.com/office/powerpoint/2010/main" val="1527943872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xmlns="" Requires="p15">
      <p:transition xmlns:p14="http://schemas.microsoft.com/office/powerpoint/2010/main" spd="slow" p14:dur="1250">
        <p15:prstTrans prst="peelOff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8" name="image1.jpeg"/>
          <p:cNvPicPr>
            <a:picLocks noChangeAspect="1"/>
          </p:cNvPicPr>
          <p:nvPr/>
        </p:nvPicPr>
        <p:blipFill>
          <a:blip r:embed="rId2" cstate="print">
            <a:extLst/>
          </a:blip>
          <a:srcRect r="5562"/>
          <a:stretch>
            <a:fillRect/>
          </a:stretch>
        </p:blipFill>
        <p:spPr>
          <a:xfrm>
            <a:off x="17942" y="5"/>
            <a:ext cx="9143985" cy="6933307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image68.png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3810839" y="6669375"/>
            <a:ext cx="1873329" cy="1880647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Прямоугольник 1"/>
          <p:cNvSpPr/>
          <p:nvPr/>
        </p:nvSpPr>
        <p:spPr>
          <a:xfrm>
            <a:off x="3419872" y="2205144"/>
            <a:ext cx="57066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0">
              <a:spcBef>
                <a:spcPct val="50000"/>
              </a:spcBef>
            </a:pPr>
            <a:endParaRPr lang="ru-RU" sz="2400" b="1" kern="0" dirty="0">
              <a:solidFill>
                <a:srgbClr val="4F81BD">
                  <a:lumMod val="75000"/>
                </a:srgbClr>
              </a:solidFill>
              <a:latin typeface="Helvetica"/>
              <a:cs typeface="Helvetica"/>
              <a:sym typeface="Helvetica"/>
            </a:endParaRPr>
          </a:p>
        </p:txBody>
      </p:sp>
      <p:sp>
        <p:nvSpPr>
          <p:cNvPr id="7" name="Подзаголовок 2"/>
          <p:cNvSpPr txBox="1">
            <a:spLocks/>
          </p:cNvSpPr>
          <p:nvPr/>
        </p:nvSpPr>
        <p:spPr>
          <a:xfrm>
            <a:off x="2483768" y="4653136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r" hangingPunct="0">
              <a:spcBef>
                <a:spcPts val="0"/>
              </a:spcBef>
              <a:buFont typeface="Arial"/>
              <a:buNone/>
            </a:pPr>
            <a:r>
              <a:rPr lang="ru-RU" sz="2000" kern="0" dirty="0" err="1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ндрякова</a:t>
            </a:r>
            <a:r>
              <a:rPr lang="ru-RU" sz="2000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Елена Владимировна</a:t>
            </a:r>
          </a:p>
          <a:p>
            <a:pPr marL="0" indent="0" algn="r" hangingPunct="0">
              <a:spcBef>
                <a:spcPts val="0"/>
              </a:spcBef>
              <a:buFont typeface="Arial"/>
              <a:buNone/>
            </a:pPr>
            <a:r>
              <a:rPr lang="ru-RU" sz="2000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ведущий методист  редакции химии</a:t>
            </a:r>
          </a:p>
          <a:p>
            <a:pPr marL="0" indent="0" algn="r" hangingPunct="0">
              <a:spcBef>
                <a:spcPts val="0"/>
              </a:spcBef>
              <a:buFont typeface="Arial"/>
              <a:buNone/>
            </a:pPr>
            <a:r>
              <a:rPr lang="ru-RU" sz="2000" kern="0" dirty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2000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дательства « Просвещение»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068" y="772602"/>
            <a:ext cx="1017587" cy="712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6223453"/>
            <a:ext cx="933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635898" y="2204904"/>
            <a:ext cx="524867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2400" dirty="0">
              <a:solidFill>
                <a:srgbClr val="FF0000"/>
              </a:solidFill>
            </a:endParaRPr>
          </a:p>
          <a:p>
            <a:pPr algn="ctr"/>
            <a:endParaRPr lang="ru-RU" sz="2400" dirty="0">
              <a:solidFill>
                <a:srgbClr val="FF000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707904" y="1556811"/>
            <a:ext cx="468052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жение </a:t>
            </a:r>
            <a:r>
              <a:rPr lang="ru-RU" sz="2000" b="1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апредметных</a:t>
            </a:r>
            <a:r>
              <a:rPr lang="ru-RU" sz="20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езультатов и формирование естественнонаучной грамотности в процессе обучения на уроках химии и во внеурочной деятельности</a:t>
            </a:r>
            <a:endParaRPr lang="ru-RU" sz="20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540629"/>
      </p:ext>
    </p:extLst>
  </p:cSld>
  <p:clrMapOvr>
    <a:masterClrMapping/>
  </p:clrMapOvr>
  <p:transition spd="med"/>
  <p:timing>
    <p:tnLst>
      <p:par>
        <p:cTn id="1" dur="indefinite" restart="never" fill="hold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8850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3" t="18133" b="14334"/>
          <a:stretch/>
        </p:blipFill>
        <p:spPr bwMode="auto">
          <a:xfrm>
            <a:off x="971600" y="0"/>
            <a:ext cx="8172400" cy="6813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8103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4754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5" t="18326" r="1415" b="14334"/>
          <a:stretch/>
        </p:blipFill>
        <p:spPr bwMode="auto">
          <a:xfrm>
            <a:off x="755576" y="0"/>
            <a:ext cx="841801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6518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4" y="557909"/>
            <a:ext cx="464493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prstClr val="white">
                    <a:lumMod val="50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2</a:t>
            </a:fld>
            <a:endParaRPr lang="en" sz="1100" dirty="0">
              <a:solidFill>
                <a:prstClr val="white">
                  <a:lumMod val="50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32716" y="472784"/>
            <a:ext cx="7258044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2800" b="1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Times New Roman" panose="02020603050405020304" pitchFamily="18" charset="0"/>
                <a:ea typeface="Open Sans" panose="020B0606030504020204" pitchFamily="34" charset="0"/>
                <a:cs typeface="Times New Roman" panose="02020603050405020304" pitchFamily="18" charset="0"/>
              </a:rPr>
              <a:t>Направления в национальном проекте «Образование»</a:t>
            </a:r>
          </a:p>
        </p:txBody>
      </p:sp>
      <p:sp>
        <p:nvSpPr>
          <p:cNvPr id="26" name="Подзаголовок 2"/>
          <p:cNvSpPr txBox="1">
            <a:spLocks/>
          </p:cNvSpPr>
          <p:nvPr/>
        </p:nvSpPr>
        <p:spPr>
          <a:xfrm>
            <a:off x="2285632" y="2473922"/>
            <a:ext cx="5150461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300"/>
              </a:spcAft>
              <a:buClrTx/>
              <a:buSzTx/>
              <a:tabLst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spcAft>
                <a:spcPts val="0"/>
              </a:spcAft>
              <a:defRPr/>
            </a:pPr>
            <a:r>
              <a:rPr lang="ru-RU" dirty="0">
                <a:solidFill>
                  <a:srgbClr val="2D2B8D"/>
                </a:solidFill>
              </a:rPr>
              <a:t>Федеральный проект «Успех каждого ребёнка» </a:t>
            </a:r>
            <a:endParaRPr lang="en-US" dirty="0">
              <a:solidFill>
                <a:srgbClr val="2D2B8D"/>
              </a:solidFill>
            </a:endParaRPr>
          </a:p>
          <a:p>
            <a:pPr>
              <a:spcAft>
                <a:spcPts val="0"/>
              </a:spcAft>
            </a:pPr>
            <a:r>
              <a:rPr lang="ru-RU" b="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ыявление, поддержка и развитие способностей и талантов у детей и молодёжи. </a:t>
            </a:r>
            <a:r>
              <a:rPr lang="en-US" b="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/>
            </a:r>
            <a:br>
              <a:rPr lang="en-US" b="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b="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амоопределение и профессиональная ориентация всех обучающихся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1" y="1227866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Овал 26">
            <a:extLst>
              <a:ext uri="{FF2B5EF4-FFF2-40B4-BE49-F238E27FC236}">
                <a16:creationId xmlns:a16="http://schemas.microsoft.com/office/drawing/2014/main" xmlns="" id="{226710D7-580D-472E-B365-43A08C7C7B76}"/>
              </a:ext>
            </a:extLst>
          </p:cNvPr>
          <p:cNvSpPr/>
          <p:nvPr/>
        </p:nvSpPr>
        <p:spPr>
          <a:xfrm>
            <a:off x="1766899" y="1818473"/>
            <a:ext cx="380687" cy="507580"/>
          </a:xfrm>
          <a:prstGeom prst="ellips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59506F52-4973-4E27-8A25-05D28B1793AC}"/>
              </a:ext>
            </a:extLst>
          </p:cNvPr>
          <p:cNvSpPr/>
          <p:nvPr/>
        </p:nvSpPr>
        <p:spPr>
          <a:xfrm>
            <a:off x="2285560" y="1795263"/>
            <a:ext cx="4572000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временная школа»</a:t>
            </a:r>
          </a:p>
          <a:p>
            <a:pPr>
              <a:defRPr/>
            </a:pPr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едрение новых методов обучения и воспитания, образовательных технологий. Обновление предметной области «Технология»</a:t>
            </a:r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xmlns="" id="{2EF426BB-FC3B-4A1D-9874-257B372DD233}"/>
              </a:ext>
            </a:extLst>
          </p:cNvPr>
          <p:cNvSpPr/>
          <p:nvPr/>
        </p:nvSpPr>
        <p:spPr>
          <a:xfrm>
            <a:off x="1766899" y="2497132"/>
            <a:ext cx="380687" cy="507580"/>
          </a:xfrm>
          <a:prstGeom prst="ellips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C79C12D3-C450-4917-B9EC-06EA61B7FC5D}"/>
              </a:ext>
            </a:extLst>
          </p:cNvPr>
          <p:cNvSpPr/>
          <p:nvPr/>
        </p:nvSpPr>
        <p:spPr>
          <a:xfrm>
            <a:off x="2285560" y="3152581"/>
            <a:ext cx="4572000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Поддержка семей, имеющих детей»</a:t>
            </a:r>
            <a:endParaRPr lang="en-US" sz="1200" b="1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здание условий для раннего развития детей. Психолого-педагогическая, методическая и консультативная помощь родителям</a:t>
            </a:r>
            <a:endParaRPr lang="ru-RU" sz="1200" b="1" dirty="0">
              <a:solidFill>
                <a:prstClr val="black">
                  <a:lumMod val="65000"/>
                  <a:lumOff val="35000"/>
                </a:prst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xmlns="" id="{C73AB62E-A8F3-48C0-8DE5-767D510971DE}"/>
              </a:ext>
            </a:extLst>
          </p:cNvPr>
          <p:cNvSpPr/>
          <p:nvPr/>
        </p:nvSpPr>
        <p:spPr>
          <a:xfrm>
            <a:off x="1766899" y="3175791"/>
            <a:ext cx="380687" cy="507580"/>
          </a:xfrm>
          <a:prstGeom prst="ellips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2024BC76-BC45-4860-9F1F-B7B0541DE700}"/>
              </a:ext>
            </a:extLst>
          </p:cNvPr>
          <p:cNvSpPr/>
          <p:nvPr/>
        </p:nvSpPr>
        <p:spPr>
          <a:xfrm>
            <a:off x="2285560" y="3831240"/>
            <a:ext cx="4572000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Цифровая</a:t>
            </a:r>
            <a:r>
              <a:rPr lang="en-US" sz="12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разовательная среда» </a:t>
            </a:r>
          </a:p>
          <a:p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здание современной и безопасной цифровой образовательной среды. </a:t>
            </a:r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/>
            </a:r>
            <a:b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ысокое качество и доступность образования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3E9AC25E-68F9-4EC6-94B9-5E15DEF3B760}"/>
              </a:ext>
            </a:extLst>
          </p:cNvPr>
          <p:cNvSpPr/>
          <p:nvPr/>
        </p:nvSpPr>
        <p:spPr>
          <a:xfrm>
            <a:off x="2285632" y="4509898"/>
            <a:ext cx="5150461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Учитель будущего»</a:t>
            </a:r>
            <a:endParaRPr lang="en-US" sz="1200" b="1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едрение национальной системы профессионального роста педагогических работников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C415CE3E-2750-4CFD-AD73-9513F856C859}"/>
              </a:ext>
            </a:extLst>
          </p:cNvPr>
          <p:cNvSpPr/>
          <p:nvPr/>
        </p:nvSpPr>
        <p:spPr>
          <a:xfrm>
            <a:off x="2285658" y="5096225"/>
            <a:ext cx="3398125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циальная активность»</a:t>
            </a:r>
            <a:endParaRPr lang="en-US" sz="1200" b="1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ддержка общественных инициатив и проектов, в том числе в сфере добровольчества (волонтёрства)</a:t>
            </a:r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xmlns="" id="{7D321514-DB09-401C-B13E-899FC68BE37B}"/>
              </a:ext>
            </a:extLst>
          </p:cNvPr>
          <p:cNvSpPr/>
          <p:nvPr/>
        </p:nvSpPr>
        <p:spPr>
          <a:xfrm>
            <a:off x="1766899" y="3854450"/>
            <a:ext cx="380687" cy="507580"/>
          </a:xfrm>
          <a:prstGeom prst="ellips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xmlns="" id="{293AE289-D650-42D0-AF04-7AA6E609EDB1}"/>
              </a:ext>
            </a:extLst>
          </p:cNvPr>
          <p:cNvSpPr/>
          <p:nvPr/>
        </p:nvSpPr>
        <p:spPr>
          <a:xfrm>
            <a:off x="1766899" y="4533109"/>
            <a:ext cx="380687" cy="507580"/>
          </a:xfrm>
          <a:prstGeom prst="ellips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xmlns="" id="{8C85DE25-B4A0-4F3E-B875-CF523A70292B}"/>
              </a:ext>
            </a:extLst>
          </p:cNvPr>
          <p:cNvSpPr/>
          <p:nvPr/>
        </p:nvSpPr>
        <p:spPr>
          <a:xfrm>
            <a:off x="1766899" y="5211768"/>
            <a:ext cx="380687" cy="507580"/>
          </a:xfrm>
          <a:prstGeom prst="ellips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xmlns="" id="{3841F3D1-D7DA-49CC-98D5-8AA33CAFE566}"/>
              </a:ext>
            </a:extLst>
          </p:cNvPr>
          <p:cNvCxnSpPr/>
          <p:nvPr/>
        </p:nvCxnSpPr>
        <p:spPr>
          <a:xfrm>
            <a:off x="1766786" y="2411593"/>
            <a:ext cx="5669303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xmlns="" id="{B03A7F2D-9AFD-4EAF-AD89-127F93A2FD17}"/>
              </a:ext>
            </a:extLst>
          </p:cNvPr>
          <p:cNvCxnSpPr/>
          <p:nvPr/>
        </p:nvCxnSpPr>
        <p:spPr>
          <a:xfrm>
            <a:off x="1766786" y="3090252"/>
            <a:ext cx="5669303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xmlns="" id="{4F7E782C-BE4A-4BF1-9F76-B90C5C332C94}"/>
              </a:ext>
            </a:extLst>
          </p:cNvPr>
          <p:cNvCxnSpPr/>
          <p:nvPr/>
        </p:nvCxnSpPr>
        <p:spPr>
          <a:xfrm>
            <a:off x="1766786" y="3768911"/>
            <a:ext cx="5669303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xmlns="" id="{E3B61965-2076-4F50-B1A8-08B46E276016}"/>
              </a:ext>
            </a:extLst>
          </p:cNvPr>
          <p:cNvCxnSpPr/>
          <p:nvPr/>
        </p:nvCxnSpPr>
        <p:spPr>
          <a:xfrm>
            <a:off x="1766786" y="4447570"/>
            <a:ext cx="5669303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xmlns="" id="{697FDD59-DC5D-4398-B1D3-75246DD7B1AC}"/>
              </a:ext>
            </a:extLst>
          </p:cNvPr>
          <p:cNvCxnSpPr/>
          <p:nvPr/>
        </p:nvCxnSpPr>
        <p:spPr>
          <a:xfrm>
            <a:off x="1766786" y="5126229"/>
            <a:ext cx="5669303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xmlns="" id="{919FAC1F-D87F-4C50-843E-41FDE462E699}"/>
              </a:ext>
            </a:extLst>
          </p:cNvPr>
          <p:cNvCxnSpPr/>
          <p:nvPr/>
        </p:nvCxnSpPr>
        <p:spPr>
          <a:xfrm>
            <a:off x="1766786" y="5804887"/>
            <a:ext cx="5669303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9D3BE4D3-49B0-4901-AFA7-3D6EE91E93A2}"/>
              </a:ext>
            </a:extLst>
          </p:cNvPr>
          <p:cNvSpPr/>
          <p:nvPr/>
        </p:nvSpPr>
        <p:spPr>
          <a:xfrm>
            <a:off x="1304529" y="1835964"/>
            <a:ext cx="354450" cy="472598"/>
          </a:xfrm>
          <a:prstGeom prst="rect">
            <a:avLst/>
          </a:prstGeom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sz="36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1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1262E4B8-E30D-4AC8-B126-26F376DC1C5F}"/>
              </a:ext>
            </a:extLst>
          </p:cNvPr>
          <p:cNvSpPr/>
          <p:nvPr/>
        </p:nvSpPr>
        <p:spPr>
          <a:xfrm>
            <a:off x="1304529" y="2514623"/>
            <a:ext cx="354450" cy="472598"/>
          </a:xfrm>
          <a:prstGeom prst="rect">
            <a:avLst/>
          </a:prstGeom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36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2</a:t>
            </a:r>
            <a:endParaRPr lang="ru-RU" sz="36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FC2EAECB-0F98-4C06-A6C3-040EDEC12648}"/>
              </a:ext>
            </a:extLst>
          </p:cNvPr>
          <p:cNvSpPr/>
          <p:nvPr/>
        </p:nvSpPr>
        <p:spPr>
          <a:xfrm>
            <a:off x="1304529" y="3193282"/>
            <a:ext cx="354450" cy="472598"/>
          </a:xfrm>
          <a:prstGeom prst="rect">
            <a:avLst/>
          </a:prstGeom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36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3</a:t>
            </a:r>
            <a:endParaRPr lang="ru-RU" sz="36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A5BF4D07-9EDB-4F7F-9D43-A94D92842161}"/>
              </a:ext>
            </a:extLst>
          </p:cNvPr>
          <p:cNvSpPr/>
          <p:nvPr/>
        </p:nvSpPr>
        <p:spPr>
          <a:xfrm>
            <a:off x="1304529" y="3871941"/>
            <a:ext cx="354450" cy="472598"/>
          </a:xfrm>
          <a:prstGeom prst="rect">
            <a:avLst/>
          </a:prstGeom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36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4</a:t>
            </a:r>
            <a:endParaRPr lang="ru-RU" sz="36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55DC156E-5DF5-4113-BE5C-4EBC08904D72}"/>
              </a:ext>
            </a:extLst>
          </p:cNvPr>
          <p:cNvSpPr/>
          <p:nvPr/>
        </p:nvSpPr>
        <p:spPr>
          <a:xfrm>
            <a:off x="1304529" y="4550600"/>
            <a:ext cx="354450" cy="472598"/>
          </a:xfrm>
          <a:prstGeom prst="rect">
            <a:avLst/>
          </a:prstGeom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36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5</a:t>
            </a:r>
            <a:endParaRPr lang="ru-RU" sz="36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6F37FFAF-8DAA-446B-A9FE-6FC35AAAEA92}"/>
              </a:ext>
            </a:extLst>
          </p:cNvPr>
          <p:cNvSpPr/>
          <p:nvPr/>
        </p:nvSpPr>
        <p:spPr>
          <a:xfrm>
            <a:off x="1304529" y="5229259"/>
            <a:ext cx="354450" cy="472598"/>
          </a:xfrm>
          <a:prstGeom prst="rect">
            <a:avLst/>
          </a:prstGeom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36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6</a:t>
            </a:r>
            <a:endParaRPr lang="ru-RU" sz="36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D1AF5349-752C-4591-8A7F-FF928F8CAA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8371" y="1913771"/>
            <a:ext cx="237745" cy="31699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F3C698A-7E61-48BE-9F93-63FA2F4A3DC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8371" y="2592789"/>
            <a:ext cx="237745" cy="31699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3F057979-A247-4D0C-8C4D-8B451A8F4C0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8371" y="3297864"/>
            <a:ext cx="237745" cy="231648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D61A4A0-2FB7-4276-A854-D8C2D272A94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8371" y="3989159"/>
            <a:ext cx="237745" cy="265177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60D1A8DA-8B7C-4433-9C5B-32003A4CD7F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4798" y="4628604"/>
            <a:ext cx="237745" cy="316993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A7A324AD-47DB-4B75-9E38-F96469ECBE1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8371" y="5305074"/>
            <a:ext cx="237745" cy="316993"/>
          </a:xfrm>
          <a:prstGeom prst="rect">
            <a:avLst/>
          </a:prstGeom>
        </p:spPr>
      </p:pic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839" y="6093510"/>
            <a:ext cx="104469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0007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981556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5355581" y="0"/>
            <a:ext cx="381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7" name="Подзаголовок 2"/>
          <p:cNvSpPr txBox="1">
            <a:spLocks/>
          </p:cNvSpPr>
          <p:nvPr/>
        </p:nvSpPr>
        <p:spPr>
          <a:xfrm>
            <a:off x="1331641" y="4119998"/>
            <a:ext cx="3744416" cy="169277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800" b="0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актики развивающего обучения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тивирующие учебные ситуации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бота в парах и малых группах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исковая активность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>
                    <a:lumMod val="65000"/>
                    <a:lumOff val="3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очная деятельность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47732" y="2769912"/>
            <a:ext cx="3262985" cy="95677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400" dirty="0">
                <a:solidFill>
                  <a:prstClr val="white"/>
                </a:solidFill>
              </a:rPr>
              <a:t>Современная школа – это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187625" y="1268761"/>
            <a:ext cx="4248472" cy="8186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28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временная школа»</a:t>
            </a:r>
          </a:p>
        </p:txBody>
      </p:sp>
      <p:sp>
        <p:nvSpPr>
          <p:cNvPr id="60" name="Номер слайда 2">
            <a:extLst>
              <a:ext uri="{FF2B5EF4-FFF2-40B4-BE49-F238E27FC236}">
                <a16:creationId xmlns=""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8460434" y="557943"/>
            <a:ext cx="464493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prstClr val="white">
                    <a:lumMod val="8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3</a:t>
            </a:fld>
            <a:endParaRPr lang="en" sz="1100" dirty="0">
              <a:solidFill>
                <a:prstClr val="white">
                  <a:lumMod val="85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464262" y="1612202"/>
            <a:ext cx="178458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b="1" dirty="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ициирование учебной деятельност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464262" y="4712863"/>
            <a:ext cx="2113555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b="1" dirty="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ценочная самостоятельность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464261" y="3350643"/>
            <a:ext cx="2377909" cy="984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b="1" dirty="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исковая активность. Учебные исследования, проекты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5669810" y="1617031"/>
            <a:ext cx="546255" cy="728336"/>
            <a:chOff x="7559745" y="1617031"/>
            <a:chExt cx="728340" cy="728336"/>
          </a:xfrm>
        </p:grpSpPr>
        <p:sp>
          <p:nvSpPr>
            <p:cNvPr id="41" name="Овал 40">
              <a:extLst>
                <a:ext uri="{FF2B5EF4-FFF2-40B4-BE49-F238E27FC236}">
                  <a16:creationId xmlns=""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7" name="Рисунок 6" descr="Попасть в яблочко">
              <a:extLst>
                <a:ext uri="{FF2B5EF4-FFF2-40B4-BE49-F238E27FC236}">
                  <a16:creationId xmlns=""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6" name="Группа 5"/>
          <p:cNvGrpSpPr/>
          <p:nvPr/>
        </p:nvGrpSpPr>
        <p:grpSpPr>
          <a:xfrm>
            <a:off x="5669810" y="3547431"/>
            <a:ext cx="546255" cy="728336"/>
            <a:chOff x="7559745" y="3547431"/>
            <a:chExt cx="728340" cy="728336"/>
          </a:xfrm>
        </p:grpSpPr>
        <p:sp>
          <p:nvSpPr>
            <p:cNvPr id="58" name="Овал 57">
              <a:extLst>
                <a:ext uri="{FF2B5EF4-FFF2-40B4-BE49-F238E27FC236}">
                  <a16:creationId xmlns="" xmlns:a16="http://schemas.microsoft.com/office/drawing/2014/main" id="{9D1C2D6B-6670-4D68-9651-6A127E35AB9F}"/>
                </a:ext>
              </a:extLst>
            </p:cNvPr>
            <p:cNvSpPr/>
            <p:nvPr/>
          </p:nvSpPr>
          <p:spPr>
            <a:xfrm>
              <a:off x="7559745" y="35474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2" name="Рисунок 11" descr="Исследование">
              <a:extLst>
                <a:ext uri="{FF2B5EF4-FFF2-40B4-BE49-F238E27FC236}">
                  <a16:creationId xmlns="" xmlns:a16="http://schemas.microsoft.com/office/drawing/2014/main" id="{3C638EEF-D7A5-4C97-A66A-9841D1BA7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7696200" y="3670217"/>
              <a:ext cx="449664" cy="449664"/>
            </a:xfrm>
            <a:prstGeom prst="rect">
              <a:avLst/>
            </a:prstGeom>
          </p:spPr>
        </p:pic>
      </p:grpSp>
      <p:grpSp>
        <p:nvGrpSpPr>
          <p:cNvPr id="5" name="Группа 4"/>
          <p:cNvGrpSpPr/>
          <p:nvPr/>
        </p:nvGrpSpPr>
        <p:grpSpPr>
          <a:xfrm>
            <a:off x="5667647" y="4609791"/>
            <a:ext cx="546255" cy="728336"/>
            <a:chOff x="7559745" y="2582231"/>
            <a:chExt cx="728340" cy="728336"/>
          </a:xfrm>
        </p:grpSpPr>
        <p:sp>
          <p:nvSpPr>
            <p:cNvPr id="48" name="Овал 47">
              <a:extLst>
                <a:ext uri="{FF2B5EF4-FFF2-40B4-BE49-F238E27FC236}">
                  <a16:creationId xmlns="" xmlns:a16="http://schemas.microsoft.com/office/drawing/2014/main" id="{377042B6-C110-438B-99EF-B695BC21B9C3}"/>
                </a:ext>
              </a:extLst>
            </p:cNvPr>
            <p:cNvSpPr/>
            <p:nvPr/>
          </p:nvSpPr>
          <p:spPr>
            <a:xfrm>
              <a:off x="7559745" y="25822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7" name="Рисунок 16" descr="Голова с шестеренками">
              <a:extLst>
                <a:ext uri="{FF2B5EF4-FFF2-40B4-BE49-F238E27FC236}">
                  <a16:creationId xmlns="" xmlns:a16="http://schemas.microsoft.com/office/drawing/2014/main" id="{BE45F391-707E-4DD7-A536-C9A5E30EF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7735046" y="2753425"/>
              <a:ext cx="410734" cy="410734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81863" y="1228570"/>
            <a:ext cx="596899" cy="777337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=""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=""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sp>
        <p:nvSpPr>
          <p:cNvPr id="32" name="Прямоугольник 31"/>
          <p:cNvSpPr/>
          <p:nvPr/>
        </p:nvSpPr>
        <p:spPr>
          <a:xfrm>
            <a:off x="6502155" y="2604760"/>
            <a:ext cx="1958278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b="1" dirty="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ое сотрудничество</a:t>
            </a:r>
          </a:p>
        </p:txBody>
      </p:sp>
      <p:grpSp>
        <p:nvGrpSpPr>
          <p:cNvPr id="33" name="Группа 32"/>
          <p:cNvGrpSpPr/>
          <p:nvPr/>
        </p:nvGrpSpPr>
        <p:grpSpPr>
          <a:xfrm>
            <a:off x="5667647" y="2603659"/>
            <a:ext cx="546255" cy="728336"/>
            <a:chOff x="7559745" y="4512631"/>
            <a:chExt cx="728340" cy="728336"/>
          </a:xfrm>
        </p:grpSpPr>
        <p:sp>
          <p:nvSpPr>
            <p:cNvPr id="34" name="Овал 33">
              <a:extLst>
                <a:ext uri="{FF2B5EF4-FFF2-40B4-BE49-F238E27FC236}">
                  <a16:creationId xmlns="" xmlns:a16="http://schemas.microsoft.com/office/drawing/2014/main" id="{EB215521-21E4-4805-8BEF-4813B85BBA98}"/>
                </a:ext>
              </a:extLst>
            </p:cNvPr>
            <p:cNvSpPr/>
            <p:nvPr/>
          </p:nvSpPr>
          <p:spPr>
            <a:xfrm>
              <a:off x="7559745" y="45126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35" name="Рисунок 34" descr="Отзыв заказчика">
              <a:extLst>
                <a:ext uri="{FF2B5EF4-FFF2-40B4-BE49-F238E27FC236}">
                  <a16:creationId xmlns="" xmlns:a16="http://schemas.microsoft.com/office/drawing/2014/main" id="{DF1AC323-3F64-4719-BA68-02DA6FB42D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7729803" y="4678676"/>
              <a:ext cx="400737" cy="400737"/>
            </a:xfrm>
            <a:prstGeom prst="rect">
              <a:avLst/>
            </a:prstGeom>
          </p:spPr>
        </p:pic>
      </p:grpSp>
      <p:pic>
        <p:nvPicPr>
          <p:cNvPr id="3173" name="Picture 101" descr="C:\Users\lmartynova\AppData\Local\Microsoft\Windows\Temporary Internet Files\Content.Outlook\59X04JPV\logo_prosveschenie-01 (2)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9605" y="6146394"/>
            <a:ext cx="1104901" cy="60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0276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b="1" u="sng" dirty="0">
                <a:solidFill>
                  <a:srgbClr val="3891A7">
                    <a:lumMod val="75000"/>
                  </a:srgb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Формы и методы проведения уроков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о-опытный участок                       Экскурсии на заводы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 smtClean="0"/>
          </a:p>
          <a:p>
            <a:endParaRPr lang="ru-RU" sz="2400" dirty="0"/>
          </a:p>
          <a:p>
            <a:endParaRPr lang="ru-RU" sz="2000" dirty="0" smtClean="0"/>
          </a:p>
          <a:p>
            <a:endParaRPr lang="ru-RU" sz="2000" dirty="0"/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кскурсии                                                  Практические работы</a:t>
            </a:r>
          </a:p>
          <a:p>
            <a:endParaRPr lang="ru-RU" sz="2400" dirty="0"/>
          </a:p>
          <a:p>
            <a:endParaRPr lang="ru-RU" sz="2000" dirty="0" smtClean="0"/>
          </a:p>
          <a:p>
            <a:endParaRPr lang="ru-RU" sz="2000" dirty="0"/>
          </a:p>
          <a:p>
            <a:endParaRPr lang="ru-RU" sz="2000" dirty="0" smtClean="0"/>
          </a:p>
          <a:p>
            <a:endParaRPr lang="ru-RU" sz="2400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8280" y="1844939"/>
            <a:ext cx="2651714" cy="15846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908" y="3861048"/>
            <a:ext cx="2625084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994" y="1856663"/>
            <a:ext cx="2736304" cy="1607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3861048"/>
            <a:ext cx="2648145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379" y="6093296"/>
            <a:ext cx="105410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22134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1551214" y="192428"/>
            <a:ext cx="1538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1673687" y="284041"/>
            <a:ext cx="7258044" cy="4001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000" b="0">
                <a:solidFill>
                  <a:srgbClr val="345DAE"/>
                </a:solidFill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rgbClr val="003366"/>
                </a:solidFill>
              </a:rPr>
              <a:t>ФЕДЕРАЛЬНЫЙ ПЕРЕЧЕНЬ — НОРМАТИВНО-ПРАВОВЫЕ АКТЫ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043608" y="818726"/>
            <a:ext cx="7953728" cy="5706618"/>
          </a:xfrm>
          <a:prstGeom prst="rect">
            <a:avLst/>
          </a:prstGeom>
          <a:solidFill>
            <a:srgbClr val="4472C4">
              <a:lumMod val="20000"/>
              <a:lumOff val="80000"/>
              <a:alpha val="20000"/>
            </a:srgbClr>
          </a:solidFill>
          <a:ln w="12700" cap="flat" cmpd="sng" algn="ctr">
            <a:solidFill>
              <a:srgbClr val="294891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kern="0" dirty="0">
                <a:solidFill>
                  <a:srgbClr val="003366"/>
                </a:solidFill>
              </a:rPr>
              <a:t>Приказом Министерства просвещения Российской Федерации от 28 декабря 2018 г. № 345 </a:t>
            </a:r>
            <a:r>
              <a:rPr lang="ru-RU" sz="1600" kern="0" dirty="0">
                <a:solidFill>
                  <a:srgbClr val="003366"/>
                </a:solidFill>
              </a:rPr>
              <a:t>«О федеральном перечне учебников, рекомендуемых к использованию при реализации имеющих государственную аккредитацию образовательных программ начального общего, основного общего, среднего общего образования» утвержден новый Федеральный перечень учебников. 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kern="0" dirty="0">
                <a:solidFill>
                  <a:srgbClr val="003366"/>
                </a:solidFill>
              </a:rPr>
              <a:t>Приказ Минобрнауки РФ от 31 марта 2014 г. № 253 с последующими изменениями </a:t>
            </a:r>
            <a:r>
              <a:rPr lang="ru-RU" sz="1600" kern="0" dirty="0">
                <a:solidFill>
                  <a:srgbClr val="003366"/>
                </a:solidFill>
              </a:rPr>
              <a:t>признан утратившим силу с момента публикации нового перечня ФПУ, то есть с 29.12.2018 г.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kern="0" dirty="0">
                <a:solidFill>
                  <a:srgbClr val="003366"/>
                </a:solidFill>
              </a:rPr>
              <a:t>Организации, осуществляющие образовательную деятельность по основным общеобразовательным программам, вправе в течение 3 (трёх) лет использовать в образовательной деятельности приобретённые до вступления в силу настоящего Приказа учебники.</a:t>
            </a:r>
          </a:p>
          <a:p>
            <a:pPr algn="just">
              <a:defRPr/>
            </a:pPr>
            <a:endParaRPr lang="ru-RU" sz="1600" b="1" kern="0" dirty="0">
              <a:solidFill>
                <a:srgbClr val="003366"/>
              </a:solidFill>
            </a:endParaRPr>
          </a:p>
          <a:p>
            <a:pPr algn="just">
              <a:defRPr/>
            </a:pPr>
            <a:r>
              <a:rPr lang="ru-RU" sz="1600" b="1" kern="0" dirty="0">
                <a:solidFill>
                  <a:srgbClr val="003366"/>
                </a:solidFill>
              </a:rPr>
              <a:t>Обновлённый Федеральный перечень учебников имеет 3 раздела: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003366"/>
                </a:solidFill>
              </a:rPr>
              <a:t>1. «Учебники, рекомендованные для реализации обязательной части образовательной программы»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003366"/>
                </a:solidFill>
              </a:rPr>
              <a:t>2. «Учебники, рекомендованные для реализации части образовательной программы, формируемой участниками образовательных отношений, учебники для предметов по выбору, специальные учебники для реализации адаптированных программ».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ru-RU" sz="1600" kern="0" dirty="0">
                <a:solidFill>
                  <a:srgbClr val="003366"/>
                </a:solidFill>
              </a:rPr>
              <a:t>3. «Учебники, обеспечивающие учёт региональных и этнокультурных особенностей субъектов РФ».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endParaRPr lang="ru-RU" sz="1600" kern="0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339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ятиугольник 25"/>
          <p:cNvSpPr/>
          <p:nvPr/>
        </p:nvSpPr>
        <p:spPr>
          <a:xfrm>
            <a:off x="73692" y="3121750"/>
            <a:ext cx="8984681" cy="830993"/>
          </a:xfrm>
          <a:prstGeom prst="homePlate">
            <a:avLst>
              <a:gd name="adj" fmla="val 50001"/>
            </a:avLst>
          </a:prstGeom>
          <a:solidFill>
            <a:srgbClr val="FFFFFF"/>
          </a:solidFill>
          <a:ln w="25400" cap="flat">
            <a:solidFill>
              <a:schemeClr val="tx2">
                <a:lumMod val="60000"/>
                <a:lumOff val="4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txBody>
          <a:bodyPr spcFirstLastPara="1" wrap="square" lIns="45718" tIns="45718" rIns="45718" bIns="45718" spcCol="38100" anchor="ctr">
            <a:spAutoFit/>
          </a:bodyPr>
          <a:lstStyle/>
          <a:p>
            <a:pPr hangingPunct="0">
              <a:defRPr/>
            </a:pPr>
            <a:r>
              <a:rPr lang="ru-RU" sz="1200" kern="0" dirty="0">
                <a:solidFill>
                  <a:srgbClr val="000000"/>
                </a:solidFill>
                <a:latin typeface="Impact" panose="020B0806030902050204" pitchFamily="34" charset="0"/>
                <a:cs typeface="Times New Roman" panose="02020603050405020304" pitchFamily="18" charset="0"/>
                <a:sym typeface="Helvetica"/>
              </a:rPr>
              <a:t>                                                                 УМК</a:t>
            </a:r>
          </a:p>
          <a:p>
            <a:pPr hangingPunct="0">
              <a:defRPr/>
            </a:pPr>
            <a:r>
              <a:rPr lang="ru-RU" sz="1200" kern="0" dirty="0">
                <a:solidFill>
                  <a:srgbClr val="000000"/>
                </a:solidFill>
                <a:latin typeface="Impact" panose="020B0806030902050204" pitchFamily="34" charset="0"/>
                <a:cs typeface="Times New Roman" panose="02020603050405020304" pitchFamily="18" charset="0"/>
                <a:sym typeface="Helvetica"/>
              </a:rPr>
              <a:t>                                                   О.С. Габриелян</a:t>
            </a:r>
          </a:p>
          <a:p>
            <a:pPr hangingPunct="0">
              <a:defRPr/>
            </a:pPr>
            <a:r>
              <a:rPr lang="ru-RU" sz="1200" kern="0" dirty="0">
                <a:solidFill>
                  <a:srgbClr val="000000"/>
                </a:solidFill>
                <a:latin typeface="Impact" panose="020B0806030902050204" pitchFamily="34" charset="0"/>
                <a:cs typeface="Times New Roman" panose="02020603050405020304" pitchFamily="18" charset="0"/>
                <a:sym typeface="Helvetica"/>
              </a:rPr>
              <a:t>                                                    И.Г. Остроумов</a:t>
            </a:r>
          </a:p>
          <a:p>
            <a:pPr hangingPunct="0">
              <a:defRPr/>
            </a:pPr>
            <a:r>
              <a:rPr lang="ru-RU" sz="1200" kern="0" dirty="0">
                <a:solidFill>
                  <a:srgbClr val="000000"/>
                </a:solidFill>
                <a:latin typeface="Impact" panose="020B0806030902050204" pitchFamily="34" charset="0"/>
                <a:cs typeface="Times New Roman" panose="02020603050405020304" pitchFamily="18" charset="0"/>
                <a:sym typeface="Helvetica"/>
              </a:rPr>
              <a:t>                                                      С.А. Сладков</a:t>
            </a:r>
          </a:p>
        </p:txBody>
      </p:sp>
      <p:sp>
        <p:nvSpPr>
          <p:cNvPr id="27" name="Пятиугольник 26"/>
          <p:cNvSpPr/>
          <p:nvPr/>
        </p:nvSpPr>
        <p:spPr>
          <a:xfrm>
            <a:off x="73692" y="1548406"/>
            <a:ext cx="8984681" cy="369328"/>
          </a:xfrm>
          <a:prstGeom prst="homePlate">
            <a:avLst/>
          </a:prstGeom>
          <a:solidFill>
            <a:srgbClr val="FFFFFF"/>
          </a:solidFill>
          <a:ln w="25400" cap="flat">
            <a:solidFill>
              <a:schemeClr val="accent1">
                <a:lumMod val="40000"/>
                <a:lumOff val="6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txBody>
          <a:bodyPr spcFirstLastPara="1" wrap="square" lIns="45718" tIns="45718" rIns="45718" bIns="45718" spcCol="38100" anchor="ctr">
            <a:spAutoFit/>
          </a:bodyPr>
          <a:lstStyle/>
          <a:p>
            <a:pPr hangingPunct="0">
              <a:defRPr/>
            </a:pPr>
            <a:endParaRPr lang="ru-RU" kern="0">
              <a:solidFill>
                <a:srgbClr val="000000"/>
              </a:solidFill>
              <a:latin typeface="Arial"/>
              <a:sym typeface="Helvetica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37785" y="1263859"/>
            <a:ext cx="1246191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latin typeface="Impact" panose="020B0806030902050204" pitchFamily="34" charset="0"/>
              </a:rPr>
              <a:t>УМК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latin typeface="Impact" panose="020B0806030902050204" pitchFamily="34" charset="0"/>
              </a:rPr>
              <a:t>Г.Е. Рудзитис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err="1" smtClean="0">
                <a:latin typeface="Impact" panose="020B0806030902050204" pitchFamily="34" charset="0"/>
              </a:rPr>
              <a:t>Ф.Г.Фельдман</a:t>
            </a:r>
            <a:endParaRPr lang="ru-RU" altLang="ru-RU" sz="1200" dirty="0">
              <a:latin typeface="Impact" panose="020B080603090205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904755" y="2743197"/>
            <a:ext cx="4141867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Impact" panose="020B0806030902050204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Impact" panose="020B0806030902050204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latin typeface="Impact" panose="020B0806030902050204" pitchFamily="34" charset="0"/>
              </a:rPr>
              <a:t>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87853" y="2899297"/>
            <a:ext cx="1350169" cy="784830"/>
          </a:xfrm>
          <a:prstGeom prst="rect">
            <a:avLst/>
          </a:prstGeom>
        </p:spPr>
        <p:txBody>
          <a:bodyPr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500" dirty="0">
                <a:latin typeface="Impact" panose="020B0806030902050204" pitchFamily="34" charset="0"/>
              </a:rPr>
              <a:t>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1500" dirty="0">
              <a:latin typeface="Impact" panose="020B0806030902050204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500" dirty="0">
                <a:latin typeface="Impact" panose="020B0806030902050204" pitchFamily="34" charset="0"/>
              </a:rPr>
              <a:t>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222159" y="3197227"/>
            <a:ext cx="4259773" cy="1015663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500" dirty="0" smtClean="0">
                <a:latin typeface="Impact" panose="020B0806030902050204" pitchFamily="34" charset="0"/>
              </a:rPr>
              <a:t>Базовый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500" dirty="0" smtClean="0">
                <a:latin typeface="Impact" panose="020B0806030902050204" pitchFamily="34" charset="0"/>
              </a:rPr>
              <a:t>        уровень </a:t>
            </a:r>
            <a:endParaRPr lang="ru-RU" altLang="ru-RU" sz="1500" dirty="0">
              <a:latin typeface="Impact" panose="020B0806030902050204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1500" dirty="0">
              <a:latin typeface="Impact" panose="020B0806030902050204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500" dirty="0">
                <a:latin typeface="Impact" panose="020B0806030902050204" pitchFamily="34" charset="0"/>
              </a:rPr>
              <a:t>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4271006" y="1402681"/>
            <a:ext cx="2210757" cy="1107996"/>
          </a:xfrm>
          <a:prstGeom prst="rect">
            <a:avLst/>
          </a:prstGeom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100" dirty="0" smtClean="0">
                <a:latin typeface="Impact" panose="020B0806030902050204" pitchFamily="34" charset="0"/>
              </a:rPr>
              <a:t>Базовый уровень                </a:t>
            </a:r>
            <a:r>
              <a:rPr lang="en-US" altLang="ru-RU" sz="1100" dirty="0" smtClean="0">
                <a:latin typeface="Impact" panose="020B0806030902050204" pitchFamily="34" charset="0"/>
              </a:rPr>
              <a:t>                          </a:t>
            </a:r>
            <a:r>
              <a:rPr lang="ru-RU" altLang="ru-RU" sz="1100" dirty="0" smtClean="0">
                <a:latin typeface="Impact" panose="020B0806030902050204" pitchFamily="34" charset="0"/>
              </a:rPr>
              <a:t>    </a:t>
            </a:r>
            <a:r>
              <a:rPr lang="ru-RU" altLang="ru-RU" sz="1100" dirty="0">
                <a:latin typeface="Impact" panose="020B0806030902050204" pitchFamily="34" charset="0"/>
              </a:rPr>
              <a:t>УМК                                        </a:t>
            </a:r>
            <a:r>
              <a:rPr lang="ru-RU" altLang="ru-RU" sz="1100" dirty="0" smtClean="0">
                <a:latin typeface="Impact" panose="020B0806030902050204" pitchFamily="34" charset="0"/>
              </a:rPr>
              <a:t>С</a:t>
            </a:r>
            <a:r>
              <a:rPr lang="ru-RU" altLang="ru-RU" sz="1100" dirty="0">
                <a:latin typeface="Impact" panose="020B0806030902050204" pitchFamily="34" charset="0"/>
              </a:rPr>
              <a:t>. А. ПУЗАКОВ </a:t>
            </a:r>
            <a:r>
              <a:rPr lang="ru-RU" altLang="ru-RU" sz="1100" dirty="0" smtClean="0">
                <a:latin typeface="Impact" panose="020B0806030902050204" pitchFamily="34" charset="0"/>
              </a:rPr>
              <a:t/>
            </a:r>
            <a:br>
              <a:rPr lang="ru-RU" altLang="ru-RU" sz="1100" dirty="0" smtClean="0">
                <a:latin typeface="Impact" panose="020B0806030902050204" pitchFamily="34" charset="0"/>
              </a:rPr>
            </a:br>
            <a:r>
              <a:rPr lang="ru-RU" altLang="ru-RU" sz="1100" dirty="0" smtClean="0">
                <a:latin typeface="Impact" panose="020B0806030902050204" pitchFamily="34" charset="0"/>
              </a:rPr>
              <a:t>                                               </a:t>
            </a:r>
            <a:r>
              <a:rPr lang="en-US" altLang="ru-RU" sz="1100" dirty="0" smtClean="0">
                <a:latin typeface="Impact" panose="020B0806030902050204" pitchFamily="34" charset="0"/>
              </a:rPr>
              <a:t>                             </a:t>
            </a:r>
            <a:r>
              <a:rPr lang="ru-RU" altLang="ru-RU" sz="1100" dirty="0" smtClean="0">
                <a:latin typeface="Impact" panose="020B0806030902050204" pitchFamily="34" charset="0"/>
              </a:rPr>
              <a:t>                     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100" dirty="0" smtClean="0">
                <a:latin typeface="Impact" panose="020B0806030902050204" pitchFamily="34" charset="0"/>
              </a:rPr>
              <a:t>Н.В. МАШНИНА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100" dirty="0" smtClean="0">
                <a:latin typeface="Impact" panose="020B0806030902050204" pitchFamily="34" charset="0"/>
              </a:rPr>
              <a:t>  </a:t>
            </a:r>
            <a:r>
              <a:rPr lang="ru-RU" altLang="ru-RU" sz="1100" dirty="0">
                <a:latin typeface="Impact" panose="020B0806030902050204" pitchFamily="34" charset="0"/>
              </a:rPr>
              <a:t>В.А. ПОПКОВ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1100" dirty="0">
              <a:latin typeface="Impact" panose="020B080603090205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064667" y="1556815"/>
            <a:ext cx="99383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100" dirty="0" smtClean="0">
                <a:latin typeface="Impact" panose="020B0806030902050204" pitchFamily="34" charset="0"/>
              </a:rPr>
              <a:t>Углублённый </a:t>
            </a:r>
            <a:r>
              <a:rPr lang="ru-RU" altLang="ru-RU" sz="1100" dirty="0">
                <a:latin typeface="Impact" panose="020B0806030902050204" pitchFamily="34" charset="0"/>
              </a:rPr>
              <a:t>уровень</a:t>
            </a:r>
          </a:p>
        </p:txBody>
      </p:sp>
      <p:sp>
        <p:nvSpPr>
          <p:cNvPr id="58" name="Пятиугольник 57"/>
          <p:cNvSpPr/>
          <p:nvPr/>
        </p:nvSpPr>
        <p:spPr>
          <a:xfrm>
            <a:off x="142875" y="5165250"/>
            <a:ext cx="8915434" cy="369328"/>
          </a:xfrm>
          <a:prstGeom prst="homePlate">
            <a:avLst/>
          </a:prstGeom>
          <a:solidFill>
            <a:srgbClr val="FFFFFF"/>
          </a:solidFill>
          <a:ln w="25400" cap="flat">
            <a:solidFill>
              <a:schemeClr val="accent1">
                <a:lumMod val="60000"/>
                <a:lumOff val="40000"/>
              </a:schemeClr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45718" tIns="45718" rIns="45718" bIns="45718" spcCol="38100" anchor="ctr">
            <a:spAutoFit/>
          </a:bodyPr>
          <a:lstStyle/>
          <a:p>
            <a:pPr hangingPunct="0">
              <a:defRPr/>
            </a:pPr>
            <a:endParaRPr lang="ru-RU" dirty="0">
              <a:solidFill>
                <a:prstClr val="black"/>
              </a:solidFill>
              <a:latin typeface="Calibri Light"/>
              <a:sym typeface="Helvetica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7763277" y="4918748"/>
            <a:ext cx="826770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dirty="0">
                <a:latin typeface="Impact" panose="020B0806030902050204" pitchFamily="34" charset="0"/>
              </a:rPr>
              <a:t>Базовый уровень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253418" y="4918366"/>
            <a:ext cx="1330621" cy="1261884"/>
          </a:xfrm>
          <a:prstGeom prst="rect">
            <a:avLst/>
          </a:prstGeom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1pPr>
            <a:lvl2pPr marL="742950" indent="-28575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2pPr>
            <a:lvl3pPr marL="11430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3pPr>
            <a:lvl4pPr marL="16002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4pPr>
            <a:lvl5pPr marL="2057400" indent="-228600" eaLnBrk="0" hangingPunct="0"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Helvetica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  <a:sym typeface="Helvetica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dirty="0">
                <a:latin typeface="Impact" panose="020B0806030902050204" pitchFamily="34" charset="0"/>
              </a:rPr>
              <a:t>УМК  СФЕРЫ </a:t>
            </a:r>
            <a:r>
              <a:rPr lang="ru-RU" altLang="ru-RU" sz="1200" dirty="0" smtClean="0">
                <a:latin typeface="Impact" panose="020B0806030902050204" pitchFamily="34" charset="0"/>
              </a:rPr>
              <a:t>1-11</a:t>
            </a:r>
          </a:p>
          <a:p>
            <a:pPr algn="ctr" eaLnBrk="1" hangingPunct="1"/>
            <a:r>
              <a:rPr lang="ru-RU" altLang="ru-RU" sz="1200" dirty="0" smtClean="0">
                <a:latin typeface="Impact" panose="020B0806030902050204" pitchFamily="34" charset="0"/>
              </a:rPr>
              <a:t>А.А. </a:t>
            </a:r>
            <a:r>
              <a:rPr lang="ru-RU" altLang="ru-RU" sz="1200" dirty="0" err="1" smtClean="0">
                <a:latin typeface="Impact" panose="020B0806030902050204" pitchFamily="34" charset="0"/>
              </a:rPr>
              <a:t>Журин</a:t>
            </a:r>
            <a:endParaRPr lang="ru-RU" altLang="ru-RU" sz="1200" dirty="0" smtClean="0">
              <a:latin typeface="Impact" panose="020B0806030902050204" pitchFamily="34" charset="0"/>
            </a:endParaRPr>
          </a:p>
          <a:p>
            <a:pPr algn="ctr" eaLnBrk="1" hangingPunct="1"/>
            <a:endParaRPr lang="ru-RU" altLang="ru-RU" sz="1200" dirty="0">
              <a:latin typeface="Impact" panose="020B0806030902050204" pitchFamily="34" charset="0"/>
            </a:endParaRPr>
          </a:p>
          <a:p>
            <a:pPr algn="ctr" eaLnBrk="1" hangingPunct="1"/>
            <a:r>
              <a:rPr lang="ru-RU" altLang="ru-RU" sz="1200" dirty="0" smtClean="0">
                <a:latin typeface="Impact" panose="020B0806030902050204" pitchFamily="34" charset="0"/>
              </a:rPr>
              <a:t> </a:t>
            </a:r>
            <a:endParaRPr lang="ru-RU" altLang="ru-RU" sz="1200" dirty="0">
              <a:latin typeface="Impact" panose="020B0806030902050204" pitchFamily="34" charset="0"/>
            </a:endParaRPr>
          </a:p>
          <a:p>
            <a:pPr algn="ctr" eaLnBrk="1" hangingPunct="1"/>
            <a:endParaRPr lang="ru-RU" altLang="ru-RU" sz="1400" dirty="0">
              <a:latin typeface="Impact" panose="020B0806030902050204" pitchFamily="34" charset="0"/>
            </a:endParaRPr>
          </a:p>
          <a:p>
            <a:pPr algn="ctr" eaLnBrk="1" hangingPunct="1"/>
            <a:r>
              <a:rPr lang="ru-RU" altLang="ru-RU" sz="1400" dirty="0">
                <a:latin typeface="Impact" panose="020B0806030902050204" pitchFamily="34" charset="0"/>
              </a:rPr>
              <a:t> </a:t>
            </a:r>
          </a:p>
        </p:txBody>
      </p:sp>
      <p:sp>
        <p:nvSpPr>
          <p:cNvPr id="48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3" y="6337141"/>
            <a:ext cx="539552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600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26</a:t>
            </a:fld>
            <a:endParaRPr lang="en" sz="16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 flipH="1">
            <a:off x="-19599" y="6276975"/>
            <a:ext cx="9171134" cy="590550"/>
          </a:xfrm>
          <a:prstGeom prst="rect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598026" y="143286"/>
            <a:ext cx="5653998" cy="1120303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400" b="1" spc="-40" dirty="0">
                <a:solidFill>
                  <a:srgbClr val="294790"/>
                </a:solidFill>
                <a:latin typeface="Impact" panose="020B0806030902050204" pitchFamily="34" charset="0"/>
                <a:cs typeface="Arial" pitchFamily="34" charset="0"/>
              </a:rPr>
              <a:t>Линии УМК в составе </a:t>
            </a:r>
          </a:p>
          <a:p>
            <a:pPr algn="ctr">
              <a:lnSpc>
                <a:spcPct val="90000"/>
              </a:lnSpc>
            </a:pPr>
            <a:r>
              <a:rPr lang="ru-RU" sz="2400" b="1" spc="-40" dirty="0">
                <a:solidFill>
                  <a:srgbClr val="294790"/>
                </a:solidFill>
                <a:latin typeface="Impact" panose="020B0806030902050204" pitchFamily="34" charset="0"/>
                <a:cs typeface="Arial" pitchFamily="34" charset="0"/>
              </a:rPr>
              <a:t>Федерального    перечня      учебников</a:t>
            </a:r>
          </a:p>
          <a:p>
            <a:pPr algn="ctr">
              <a:lnSpc>
                <a:spcPct val="90000"/>
              </a:lnSpc>
            </a:pPr>
            <a:r>
              <a:rPr lang="ru-RU" sz="1400" b="1" spc="-40" dirty="0">
                <a:solidFill>
                  <a:srgbClr val="FF0000"/>
                </a:solidFill>
                <a:cs typeface="Arial" pitchFamily="34" charset="0"/>
              </a:rPr>
              <a:t>Приказ № 345 от 28.12.2018г</a:t>
            </a:r>
            <a:r>
              <a:rPr lang="ru-RU" sz="1400" b="1" spc="-40" dirty="0">
                <a:solidFill>
                  <a:srgbClr val="294790"/>
                </a:solidFill>
                <a:cs typeface="Arial" pitchFamily="34" charset="0"/>
              </a:rPr>
              <a:t>.</a:t>
            </a:r>
            <a:r>
              <a:rPr lang="ru-RU" sz="2400" b="1" spc="-40" dirty="0">
                <a:solidFill>
                  <a:srgbClr val="294790"/>
                </a:solidFill>
                <a:cs typeface="Arial" pitchFamily="34" charset="0"/>
              </a:rPr>
              <a:t> </a:t>
            </a: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253341" y="891636"/>
            <a:ext cx="8676359" cy="0"/>
          </a:xfrm>
          <a:prstGeom prst="line">
            <a:avLst/>
          </a:prstGeom>
          <a:ln w="19050"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142877" y="6438901"/>
            <a:ext cx="85439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prstClr val="white"/>
                </a:solidFill>
              </a:rPr>
              <a:t>Выбор учебников на 2019/2020 годы. Рекомендации АО «Издательство «Просвещение»</a:t>
            </a:r>
          </a:p>
        </p:txBody>
      </p:sp>
      <p:pic>
        <p:nvPicPr>
          <p:cNvPr id="55" name="Picture 2" descr="C:\Users\akladova\Desktop\logo_prosveschenie-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023" y="6180250"/>
            <a:ext cx="1085850" cy="59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16344" y="1302206"/>
            <a:ext cx="670974" cy="982445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57852" y="1302204"/>
            <a:ext cx="673637" cy="968831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873656" y="1283083"/>
            <a:ext cx="688867" cy="1009159"/>
          </a:xfrm>
          <a:prstGeom prst="rect">
            <a:avLst/>
          </a:prstGeom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602481" y="1302204"/>
            <a:ext cx="669058" cy="990034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764" y="1283079"/>
            <a:ext cx="784206" cy="1047004"/>
          </a:xfrm>
          <a:prstGeom prst="rect">
            <a:avLst/>
          </a:prstGeom>
        </p:spPr>
      </p:pic>
      <p:pic>
        <p:nvPicPr>
          <p:cNvPr id="70" name="Picture 3" descr="C:\Users\SSladkov\Desktop\ВСЁ\Обложки\Обложки углублёнка\Chemistry_11class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879" y="1283079"/>
            <a:ext cx="784507" cy="1031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27" y="2943860"/>
            <a:ext cx="777570" cy="1096046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2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329" y="2899299"/>
            <a:ext cx="797156" cy="1097224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4040" y="2863284"/>
            <a:ext cx="755000" cy="1118569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4" name="Picture 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300" y="2872125"/>
            <a:ext cx="741272" cy="1080618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5726803" y="2882260"/>
            <a:ext cx="745772" cy="1080617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" name="Picture 5" descr="C:\Users\ESindryakova\Downloads\(cover) Химия. 8 класс_ (Журин А. А.)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5" y="4472160"/>
            <a:ext cx="816897" cy="1084583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337" y="3322304"/>
            <a:ext cx="828675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669" y="3375181"/>
            <a:ext cx="828675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028" y="3261673"/>
            <a:ext cx="828675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7533" y="3260109"/>
            <a:ext cx="828675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5551" y="1660241"/>
            <a:ext cx="828675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2712" y="1676703"/>
            <a:ext cx="828675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227" y="4440541"/>
            <a:ext cx="847325" cy="1116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8" name="Picture 4" descr="C:\Users\ESindryakova\Downloads\(cover) Химия. 10-11 классы. Базовый уровень. Учебное пособие (Журин А. А.)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8097" y="4419651"/>
            <a:ext cx="908357" cy="1136902"/>
          </a:xfrm>
          <a:prstGeom prst="rect">
            <a:avLst/>
          </a:prstGeom>
          <a:noFill/>
          <a:ln>
            <a:solidFill>
              <a:sysClr val="windowText" lastClr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686" y="4738907"/>
            <a:ext cx="828675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202" y="5085144"/>
            <a:ext cx="1219200" cy="500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395" y="3192984"/>
            <a:ext cx="832247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708" name="Picture 4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577" y="2838680"/>
            <a:ext cx="664385" cy="1127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707" name="Picture 3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00" y="2846029"/>
            <a:ext cx="682277" cy="1158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0287" y="3204874"/>
            <a:ext cx="832240" cy="890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709" name="Picture 5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543" y="3204870"/>
            <a:ext cx="832247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710" name="Picture 6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482" y="3261673"/>
            <a:ext cx="832247" cy="89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67993" y="3230273"/>
            <a:ext cx="126028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Impact" panose="020B0806030902050204" pitchFamily="34" charset="0"/>
              </a:rPr>
              <a:t>Углублённый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Impact" panose="020B0806030902050204" pitchFamily="34" charset="0"/>
              </a:rPr>
              <a:t>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91752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8" t="14844" r="23015" b="3488"/>
          <a:stretch/>
        </p:blipFill>
        <p:spPr bwMode="auto">
          <a:xfrm>
            <a:off x="4757283" y="1013714"/>
            <a:ext cx="4167642" cy="5844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1440" y="976222"/>
            <a:ext cx="4069080" cy="592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3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4" y="557883"/>
            <a:ext cx="464493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prstClr val="white">
                    <a:lumMod val="50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7</a:t>
            </a:fld>
            <a:endParaRPr lang="en" sz="1100" dirty="0">
              <a:solidFill>
                <a:prstClr val="white">
                  <a:lumMod val="50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32715" y="472728"/>
            <a:ext cx="8492210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временная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1" y="1241513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-327" y="19477"/>
            <a:ext cx="9089250" cy="994263"/>
            <a:chOff x="511725" y="1159537"/>
            <a:chExt cx="10764431" cy="109317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B139A723-A86E-478B-9A92-20F301586D2E}"/>
                </a:ext>
              </a:extLst>
            </p:cNvPr>
            <p:cNvSpPr txBox="1"/>
            <p:nvPr/>
          </p:nvSpPr>
          <p:spPr>
            <a:xfrm>
              <a:off x="511725" y="1159537"/>
              <a:ext cx="10764431" cy="105195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ru-RU" dirty="0" smtClean="0">
                  <a:solidFill>
                    <a:prstClr val="white"/>
                  </a:solidFill>
                </a:rPr>
                <a:t>            Инициирование </a:t>
              </a:r>
              <a:r>
                <a:rPr lang="ru-RU" dirty="0">
                  <a:solidFill>
                    <a:prstClr val="white"/>
                  </a:solidFill>
                </a:rPr>
                <a:t>учебной деятельности: </a:t>
              </a:r>
              <a:r>
                <a:rPr lang="ru-RU" dirty="0" smtClean="0">
                  <a:solidFill>
                    <a:prstClr val="white"/>
                  </a:solidFill>
                </a:rPr>
                <a:t>целеполагание</a:t>
              </a:r>
            </a:p>
          </p:txBody>
        </p:sp>
        <p:grpSp>
          <p:nvGrpSpPr>
            <p:cNvPr id="13" name="Группа 12"/>
            <p:cNvGrpSpPr/>
            <p:nvPr/>
          </p:nvGrpSpPr>
          <p:grpSpPr>
            <a:xfrm>
              <a:off x="576953" y="1388715"/>
              <a:ext cx="873895" cy="864000"/>
              <a:chOff x="7661345" y="1085469"/>
              <a:chExt cx="873895" cy="864000"/>
            </a:xfrm>
          </p:grpSpPr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xmlns="" id="{1B3EF5EA-9F06-4458-A78A-6CE112383FDD}"/>
                  </a:ext>
                </a:extLst>
              </p:cNvPr>
              <p:cNvSpPr/>
              <p:nvPr/>
            </p:nvSpPr>
            <p:spPr>
              <a:xfrm>
                <a:off x="7661345" y="1085469"/>
                <a:ext cx="873895" cy="864000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2800" dirty="0">
                  <a:solidFill>
                    <a:prstClr val="white">
                      <a:lumMod val="85000"/>
                    </a:prst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18" name="Рисунок 17" descr="Попасть в яблочко">
                <a:extLst>
                  <a:ext uri="{FF2B5EF4-FFF2-40B4-BE49-F238E27FC236}">
                    <a16:creationId xmlns:a16="http://schemas.microsoft.com/office/drawing/2014/main" xmlns="" id="{3332B0D8-A807-4EFC-AFB5-23A266151D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869011" y="1303002"/>
                <a:ext cx="406698" cy="406698"/>
              </a:xfrm>
              <a:prstGeom prst="rect">
                <a:avLst/>
              </a:prstGeom>
            </p:spPr>
          </p:pic>
        </p:grpSp>
      </p:grpSp>
      <p:pic>
        <p:nvPicPr>
          <p:cNvPr id="19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33" y="6223775"/>
            <a:ext cx="104469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432717" y="2660378"/>
            <a:ext cx="3168352" cy="427041"/>
          </a:xfrm>
          <a:prstGeom prst="rect">
            <a:avLst/>
          </a:prstGeom>
          <a:noFill/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</a:endParaRPr>
          </a:p>
        </p:txBody>
      </p:sp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989" y="1814201"/>
            <a:ext cx="3194050" cy="45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6" descr="C:\Users\ESindryakova\Downloads\(cover) Химия. 10-11 классы. Базовый уровень (Журин А. А.)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22" y="1412776"/>
            <a:ext cx="1273295" cy="1872208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1071" y="4365104"/>
            <a:ext cx="1273294" cy="171239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8210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4" y="557877"/>
            <a:ext cx="464493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prstClr val="white">
                    <a:lumMod val="50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8</a:t>
            </a:fld>
            <a:endParaRPr lang="en" sz="1100" dirty="0">
              <a:solidFill>
                <a:prstClr val="white">
                  <a:lumMod val="50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76543" y="1"/>
            <a:ext cx="864838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временная школа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1" y="1241514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276543" y="1460275"/>
            <a:ext cx="8121952" cy="728336"/>
            <a:chOff x="368722" y="1972157"/>
            <a:chExt cx="10829269" cy="728336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B139A723-A86E-478B-9A92-20F301586D2E}"/>
                </a:ext>
              </a:extLst>
            </p:cNvPr>
            <p:cNvSpPr txBox="1"/>
            <p:nvPr/>
          </p:nvSpPr>
          <p:spPr>
            <a:xfrm>
              <a:off x="368722" y="2042604"/>
              <a:ext cx="10829269" cy="58744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dirty="0" smtClean="0">
                  <a:solidFill>
                    <a:prstClr val="white"/>
                  </a:solidFill>
                </a:rPr>
                <a:t>            Учебное сотрудничество</a:t>
              </a:r>
            </a:p>
          </p:txBody>
        </p:sp>
        <p:grpSp>
          <p:nvGrpSpPr>
            <p:cNvPr id="15" name="Группа 14"/>
            <p:cNvGrpSpPr/>
            <p:nvPr/>
          </p:nvGrpSpPr>
          <p:grpSpPr>
            <a:xfrm>
              <a:off x="492562" y="1972157"/>
              <a:ext cx="728340" cy="728336"/>
              <a:chOff x="7559745" y="4512631"/>
              <a:chExt cx="728340" cy="728336"/>
            </a:xfrm>
          </p:grpSpPr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xmlns="" id="{EB215521-21E4-4805-8BEF-4813B85BBA98}"/>
                  </a:ext>
                </a:extLst>
              </p:cNvPr>
              <p:cNvSpPr/>
              <p:nvPr/>
            </p:nvSpPr>
            <p:spPr>
              <a:xfrm>
                <a:off x="7559745" y="4512631"/>
                <a:ext cx="728340" cy="728336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2800" dirty="0">
                  <a:solidFill>
                    <a:prstClr val="white">
                      <a:lumMod val="85000"/>
                    </a:prst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17" name="Рисунок 16" descr="Отзыв заказчика">
                <a:extLst>
                  <a:ext uri="{FF2B5EF4-FFF2-40B4-BE49-F238E27FC236}">
                    <a16:creationId xmlns:a16="http://schemas.microsoft.com/office/drawing/2014/main" xmlns="" id="{DF1AC323-3F64-4719-BA68-02DA6FB42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729803" y="4678676"/>
                <a:ext cx="400737" cy="400737"/>
              </a:xfrm>
              <a:prstGeom prst="rect">
                <a:avLst/>
              </a:prstGeom>
            </p:spPr>
          </p:pic>
        </p:grpSp>
      </p:grpSp>
      <p:pic>
        <p:nvPicPr>
          <p:cNvPr id="19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33" y="6223769"/>
            <a:ext cx="104469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16" cstate="print"/>
          <a:srcRect t="2245" b="4050"/>
          <a:stretch/>
        </p:blipFill>
        <p:spPr>
          <a:xfrm>
            <a:off x="202203" y="2348880"/>
            <a:ext cx="7083791" cy="417411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7138416" y="2256445"/>
            <a:ext cx="1898080" cy="2926823"/>
          </a:xfrm>
          <a:prstGeom prst="rect">
            <a:avLst/>
          </a:prstGeom>
        </p:spPr>
      </p:pic>
      <p:sp>
        <p:nvSpPr>
          <p:cNvPr id="23" name="Овал 22"/>
          <p:cNvSpPr/>
          <p:nvPr/>
        </p:nvSpPr>
        <p:spPr>
          <a:xfrm>
            <a:off x="539748" y="2492896"/>
            <a:ext cx="6598631" cy="792088"/>
          </a:xfrm>
          <a:prstGeom prst="ellipse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53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52" t="27627" r="28287" b="8421"/>
          <a:stretch/>
        </p:blipFill>
        <p:spPr bwMode="auto">
          <a:xfrm>
            <a:off x="369437" y="1269713"/>
            <a:ext cx="3956605" cy="5589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3" t="29631" r="25722" b="14022"/>
          <a:stretch/>
        </p:blipFill>
        <p:spPr bwMode="auto">
          <a:xfrm>
            <a:off x="4439418" y="1536554"/>
            <a:ext cx="4248472" cy="5381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1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4" y="557841"/>
            <a:ext cx="464493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prstClr val="white">
                    <a:lumMod val="50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9</a:t>
            </a:fld>
            <a:endParaRPr lang="en" sz="1100" dirty="0">
              <a:solidFill>
                <a:prstClr val="white">
                  <a:lumMod val="50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76543" y="1"/>
            <a:ext cx="864838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временная школа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1" y="1241514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276543" y="1003431"/>
            <a:ext cx="8121952" cy="587441"/>
            <a:chOff x="368722" y="1959405"/>
            <a:chExt cx="10829269" cy="75384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B139A723-A86E-478B-9A92-20F301586D2E}"/>
                </a:ext>
              </a:extLst>
            </p:cNvPr>
            <p:cNvSpPr txBox="1"/>
            <p:nvPr/>
          </p:nvSpPr>
          <p:spPr>
            <a:xfrm>
              <a:off x="368722" y="1959405"/>
              <a:ext cx="10829269" cy="75384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ru-RU" dirty="0" smtClean="0">
                  <a:solidFill>
                    <a:prstClr val="white"/>
                  </a:solidFill>
                </a:rPr>
                <a:t>            Учебное сотрудничество</a:t>
              </a:r>
            </a:p>
          </p:txBody>
        </p:sp>
        <p:grpSp>
          <p:nvGrpSpPr>
            <p:cNvPr id="15" name="Группа 14"/>
            <p:cNvGrpSpPr/>
            <p:nvPr/>
          </p:nvGrpSpPr>
          <p:grpSpPr>
            <a:xfrm>
              <a:off x="492562" y="1972157"/>
              <a:ext cx="728340" cy="728336"/>
              <a:chOff x="7559745" y="4512631"/>
              <a:chExt cx="728340" cy="728336"/>
            </a:xfrm>
          </p:grpSpPr>
          <p:sp>
            <p:nvSpPr>
              <p:cNvPr id="16" name="Овал 15">
                <a:extLst>
                  <a:ext uri="{FF2B5EF4-FFF2-40B4-BE49-F238E27FC236}">
                    <a16:creationId xmlns:a16="http://schemas.microsoft.com/office/drawing/2014/main" xmlns="" id="{EB215521-21E4-4805-8BEF-4813B85BBA98}"/>
                  </a:ext>
                </a:extLst>
              </p:cNvPr>
              <p:cNvSpPr/>
              <p:nvPr/>
            </p:nvSpPr>
            <p:spPr>
              <a:xfrm>
                <a:off x="7559745" y="4512631"/>
                <a:ext cx="728340" cy="728336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2800" dirty="0">
                  <a:solidFill>
                    <a:prstClr val="white">
                      <a:lumMod val="85000"/>
                    </a:prst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17" name="Рисунок 16" descr="Отзыв заказчика">
                <a:extLst>
                  <a:ext uri="{FF2B5EF4-FFF2-40B4-BE49-F238E27FC236}">
                    <a16:creationId xmlns:a16="http://schemas.microsoft.com/office/drawing/2014/main" xmlns="" id="{DF1AC323-3F64-4719-BA68-02DA6FB42D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729803" y="4678676"/>
                <a:ext cx="400737" cy="400737"/>
              </a:xfrm>
              <a:prstGeom prst="rect">
                <a:avLst/>
              </a:prstGeom>
            </p:spPr>
          </p:pic>
        </p:grpSp>
      </p:grpSp>
      <p:pic>
        <p:nvPicPr>
          <p:cNvPr id="19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33" y="6223733"/>
            <a:ext cx="104469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Овал 22"/>
          <p:cNvSpPr/>
          <p:nvPr/>
        </p:nvSpPr>
        <p:spPr>
          <a:xfrm>
            <a:off x="4120243" y="1580868"/>
            <a:ext cx="4417110" cy="792088"/>
          </a:xfrm>
          <a:prstGeom prst="ellipse">
            <a:avLst/>
          </a:prstGeom>
          <a:noFill/>
          <a:ln w="254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ru-RU" kern="0">
              <a:solidFill>
                <a:prstClr val="white"/>
              </a:solidFill>
            </a:endParaRPr>
          </a:p>
        </p:txBody>
      </p:sp>
      <p:pic>
        <p:nvPicPr>
          <p:cNvPr id="64514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783" y="4632239"/>
            <a:ext cx="4286637" cy="817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2" y="3206575"/>
            <a:ext cx="1577204" cy="2243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983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hangingPunct="0"/>
            <a:r>
              <a:rPr lang="ru-RU" b="1" dirty="0">
                <a:solidFill>
                  <a:srgbClr val="C00000"/>
                </a:solidFill>
                <a:latin typeface="Arial Narrow" panose="020B0606020202030204" pitchFamily="34" charset="0"/>
              </a:rPr>
              <a:t/>
            </a:r>
            <a:br>
              <a:rPr lang="ru-RU" b="1" dirty="0">
                <a:solidFill>
                  <a:srgbClr val="C00000"/>
                </a:solidFill>
                <a:latin typeface="Arial Narrow" panose="020B0606020202030204" pitchFamily="34" charset="0"/>
              </a:rPr>
            </a:b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 rot="10800000" flipV="1">
            <a:off x="1043609" y="3207480"/>
            <a:ext cx="7920879" cy="2062103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b="1" i="1" dirty="0">
                <a:solidFill>
                  <a:srgbClr val="1F497D">
                    <a:lumMod val="60000"/>
                    <a:lumOff val="40000"/>
                  </a:srgbClr>
                </a:solidFill>
                <a:latin typeface="AcademyC Italic" pitchFamily="18" charset="0"/>
              </a:rPr>
              <a:t>«Нам нужно выстроить современную профориентацию… Предлагаю с нового учебного года запустить проект ранней профориентации школьников «Билет в будущее». Он позволит ребятам попробовать себя в деле, в будущей профессии в ведущих компаниях страны. Уже в этом году выделяем на эту инициативу 1 миллиард рублей»</a:t>
            </a:r>
          </a:p>
          <a:p>
            <a:pPr algn="r"/>
            <a:r>
              <a:rPr lang="ru-RU" sz="2400" b="1" dirty="0">
                <a:solidFill>
                  <a:srgbClr val="1F497D">
                    <a:lumMod val="60000"/>
                    <a:lumOff val="40000"/>
                  </a:srgbClr>
                </a:solidFill>
              </a:rPr>
              <a:t>В.В. Путин</a:t>
            </a:r>
          </a:p>
          <a:p>
            <a:pPr algn="r"/>
            <a:r>
              <a:rPr lang="ru-RU" sz="1400" b="1" dirty="0">
                <a:solidFill>
                  <a:srgbClr val="1F497D">
                    <a:lumMod val="60000"/>
                    <a:lumOff val="40000"/>
                  </a:srgbClr>
                </a:solidFill>
              </a:rPr>
              <a:t>Послание Президента Федеральному Собранию 2018 г.</a:t>
            </a:r>
          </a:p>
        </p:txBody>
      </p:sp>
      <p:sp>
        <p:nvSpPr>
          <p:cNvPr id="3" name="AutoShape 2" descr="ÐÐ°ÑÑÐ¸Ð½ÐºÐ¸ Ð¿Ð¾ Ð·Ð°Ð¿ÑÐ¾ÑÑ Ð¿ÑÑÐ¸Ð½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920" y="145065"/>
            <a:ext cx="3735604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7989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4" y="557867"/>
            <a:ext cx="464493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prstClr val="white">
                    <a:lumMod val="50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0</a:t>
            </a:fld>
            <a:endParaRPr lang="en" sz="1100" dirty="0">
              <a:solidFill>
                <a:prstClr val="white">
                  <a:lumMod val="50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-108520" y="0"/>
            <a:ext cx="9033445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временная школа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1" y="1173275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/>
          <p:cNvGrpSpPr/>
          <p:nvPr/>
        </p:nvGrpSpPr>
        <p:grpSpPr>
          <a:xfrm>
            <a:off x="285011" y="1552025"/>
            <a:ext cx="546255" cy="728336"/>
            <a:chOff x="7559745" y="2582231"/>
            <a:chExt cx="728340" cy="728336"/>
          </a:xfrm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xmlns="" id="{377042B6-C110-438B-99EF-B695BC21B9C3}"/>
                </a:ext>
              </a:extLst>
            </p:cNvPr>
            <p:cNvSpPr/>
            <p:nvPr/>
          </p:nvSpPr>
          <p:spPr>
            <a:xfrm>
              <a:off x="7559745" y="25822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8" name="Рисунок 17" descr="Голова с шестеренками">
              <a:extLst>
                <a:ext uri="{FF2B5EF4-FFF2-40B4-BE49-F238E27FC236}">
                  <a16:creationId xmlns:a16="http://schemas.microsoft.com/office/drawing/2014/main" xmlns="" id="{BE45F391-707E-4DD7-A536-C9A5E30EF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735046" y="2753425"/>
              <a:ext cx="410734" cy="410734"/>
            </a:xfrm>
            <a:prstGeom prst="rect">
              <a:avLst/>
            </a:prstGeom>
          </p:spPr>
        </p:pic>
      </p:grpSp>
      <p:grpSp>
        <p:nvGrpSpPr>
          <p:cNvPr id="7" name="Группа 6"/>
          <p:cNvGrpSpPr/>
          <p:nvPr/>
        </p:nvGrpSpPr>
        <p:grpSpPr>
          <a:xfrm>
            <a:off x="31037" y="473976"/>
            <a:ext cx="9112965" cy="1671266"/>
            <a:chOff x="54025" y="733288"/>
            <a:chExt cx="11259784" cy="1671266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B139A723-A86E-478B-9A92-20F301586D2E}"/>
                </a:ext>
              </a:extLst>
            </p:cNvPr>
            <p:cNvSpPr txBox="1"/>
            <p:nvPr/>
          </p:nvSpPr>
          <p:spPr>
            <a:xfrm>
              <a:off x="54025" y="733288"/>
              <a:ext cx="11259784" cy="58744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ru-RU" dirty="0" smtClean="0">
                  <a:solidFill>
                    <a:prstClr val="white"/>
                  </a:solidFill>
                </a:rPr>
                <a:t>            Поисковая активность</a:t>
              </a:r>
            </a:p>
          </p:txBody>
        </p:sp>
        <p:grpSp>
          <p:nvGrpSpPr>
            <p:cNvPr id="28" name="Группа 27"/>
            <p:cNvGrpSpPr/>
            <p:nvPr/>
          </p:nvGrpSpPr>
          <p:grpSpPr>
            <a:xfrm>
              <a:off x="487579" y="1676218"/>
              <a:ext cx="728340" cy="728336"/>
              <a:chOff x="7559745" y="3547431"/>
              <a:chExt cx="728340" cy="728336"/>
            </a:xfrm>
          </p:grpSpPr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xmlns="" id="{9D1C2D6B-6670-4D68-9651-6A127E35AB9F}"/>
                  </a:ext>
                </a:extLst>
              </p:cNvPr>
              <p:cNvSpPr/>
              <p:nvPr/>
            </p:nvSpPr>
            <p:spPr>
              <a:xfrm>
                <a:off x="7559745" y="3547431"/>
                <a:ext cx="728340" cy="728336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2800" dirty="0">
                  <a:solidFill>
                    <a:prstClr val="white">
                      <a:lumMod val="85000"/>
                    </a:prst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31" name="Рисунок 30" descr="Исследование">
                <a:extLst>
                  <a:ext uri="{FF2B5EF4-FFF2-40B4-BE49-F238E27FC236}">
                    <a16:creationId xmlns:a16="http://schemas.microsoft.com/office/drawing/2014/main" xmlns="" id="{3C638EEF-D7A5-4C97-A66A-9841D1BA77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7696200" y="3670217"/>
                <a:ext cx="449664" cy="449664"/>
              </a:xfrm>
              <a:prstGeom prst="rect">
                <a:avLst/>
              </a:prstGeom>
            </p:spPr>
          </p:pic>
        </p:grpSp>
      </p:grpSp>
      <p:pic>
        <p:nvPicPr>
          <p:cNvPr id="20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33" y="6223759"/>
            <a:ext cx="104469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141532" y="-14132"/>
            <a:ext cx="2434984" cy="4752528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252532" y="2565936"/>
            <a:ext cx="3014327" cy="4768739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4133150"/>
            <a:ext cx="1600610" cy="2231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8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1004578"/>
            <a:ext cx="1857684" cy="2551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3791" y="3206750"/>
            <a:ext cx="334963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3344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271" y="1300802"/>
            <a:ext cx="3953652" cy="5640101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4911" y="1298774"/>
            <a:ext cx="3816424" cy="5639493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9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4" y="557855"/>
            <a:ext cx="464493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prstClr val="white">
                    <a:lumMod val="50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1</a:t>
            </a:fld>
            <a:endParaRPr lang="en" sz="1100" dirty="0">
              <a:solidFill>
                <a:prstClr val="white">
                  <a:lumMod val="50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89515" y="1"/>
            <a:ext cx="8535410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временная школа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1" y="1173275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827597" y="962541"/>
            <a:ext cx="8277139" cy="610799"/>
            <a:chOff x="1103441" y="1221772"/>
            <a:chExt cx="11036185" cy="610799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B139A723-A86E-478B-9A92-20F301586D2E}"/>
                </a:ext>
              </a:extLst>
            </p:cNvPr>
            <p:cNvSpPr txBox="1"/>
            <p:nvPr/>
          </p:nvSpPr>
          <p:spPr>
            <a:xfrm>
              <a:off x="1103441" y="1233452"/>
              <a:ext cx="11036185" cy="58744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ru-RU" dirty="0" smtClean="0">
                  <a:solidFill>
                    <a:prstClr val="white"/>
                  </a:solidFill>
                </a:rPr>
                <a:t>            Поисковая активность</a:t>
              </a:r>
            </a:p>
          </p:txBody>
        </p:sp>
        <p:grpSp>
          <p:nvGrpSpPr>
            <p:cNvPr id="28" name="Группа 27"/>
            <p:cNvGrpSpPr/>
            <p:nvPr/>
          </p:nvGrpSpPr>
          <p:grpSpPr>
            <a:xfrm>
              <a:off x="1482076" y="1221772"/>
              <a:ext cx="968135" cy="610799"/>
              <a:chOff x="8554242" y="3092985"/>
              <a:chExt cx="968135" cy="610799"/>
            </a:xfrm>
          </p:grpSpPr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xmlns="" id="{9D1C2D6B-6670-4D68-9651-6A127E35AB9F}"/>
                  </a:ext>
                </a:extLst>
              </p:cNvPr>
              <p:cNvSpPr/>
              <p:nvPr/>
            </p:nvSpPr>
            <p:spPr>
              <a:xfrm>
                <a:off x="8554242" y="3092985"/>
                <a:ext cx="968135" cy="610799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2800" dirty="0">
                  <a:solidFill>
                    <a:prstClr val="white">
                      <a:lumMod val="85000"/>
                    </a:prst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31" name="Рисунок 30" descr="Исследование">
                <a:extLst>
                  <a:ext uri="{FF2B5EF4-FFF2-40B4-BE49-F238E27FC236}">
                    <a16:creationId xmlns:a16="http://schemas.microsoft.com/office/drawing/2014/main" xmlns="" id="{3C638EEF-D7A5-4C97-A66A-9841D1BA77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8719921" y="3196912"/>
                <a:ext cx="636776" cy="449664"/>
              </a:xfrm>
              <a:prstGeom prst="rect">
                <a:avLst/>
              </a:prstGeom>
            </p:spPr>
          </p:pic>
        </p:grpSp>
      </p:grpSp>
      <p:pic>
        <p:nvPicPr>
          <p:cNvPr id="20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33" y="6223747"/>
            <a:ext cx="104469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2266" y="3573016"/>
            <a:ext cx="1412457" cy="2046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1764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4" y="557825"/>
            <a:ext cx="464493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prstClr val="white">
                    <a:lumMod val="50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2</a:t>
            </a:fld>
            <a:endParaRPr lang="en" sz="1100" dirty="0">
              <a:solidFill>
                <a:prstClr val="white">
                  <a:lumMod val="50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79538" y="0"/>
            <a:ext cx="8745413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временная школа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1" y="1173275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107505" y="530262"/>
            <a:ext cx="8121952" cy="643085"/>
            <a:chOff x="143338" y="789502"/>
            <a:chExt cx="10829269" cy="643085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B139A723-A86E-478B-9A92-20F301586D2E}"/>
                </a:ext>
              </a:extLst>
            </p:cNvPr>
            <p:cNvSpPr txBox="1"/>
            <p:nvPr/>
          </p:nvSpPr>
          <p:spPr>
            <a:xfrm>
              <a:off x="143338" y="811581"/>
              <a:ext cx="10829269" cy="58744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ru-RU" dirty="0" smtClean="0">
                  <a:solidFill>
                    <a:prstClr val="white"/>
                  </a:solidFill>
                </a:rPr>
                <a:t>            Поисковая активность</a:t>
              </a:r>
            </a:p>
          </p:txBody>
        </p:sp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xmlns="" id="{9D1C2D6B-6670-4D68-9651-6A127E35AB9F}"/>
                </a:ext>
              </a:extLst>
            </p:cNvPr>
            <p:cNvSpPr/>
            <p:nvPr/>
          </p:nvSpPr>
          <p:spPr>
            <a:xfrm>
              <a:off x="624034" y="789502"/>
              <a:ext cx="728340" cy="643085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</p:grpSp>
      <p:pic>
        <p:nvPicPr>
          <p:cNvPr id="20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33" y="6223717"/>
            <a:ext cx="104469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91" t="32680" r="29801" b="56887"/>
          <a:stretch/>
        </p:blipFill>
        <p:spPr bwMode="auto">
          <a:xfrm>
            <a:off x="377085" y="1587325"/>
            <a:ext cx="7364291" cy="138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94" t="68774" r="27809" b="16725"/>
          <a:stretch/>
        </p:blipFill>
        <p:spPr bwMode="auto">
          <a:xfrm>
            <a:off x="2123747" y="2971501"/>
            <a:ext cx="6642727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79" t="55437" r="31212" b="30742"/>
          <a:stretch/>
        </p:blipFill>
        <p:spPr bwMode="auto">
          <a:xfrm>
            <a:off x="251520" y="4874872"/>
            <a:ext cx="6421312" cy="1816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3625" y="552304"/>
            <a:ext cx="1440232" cy="2004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Рисунок 25" descr="Исследование">
            <a:extLst>
              <a:ext uri="{FF2B5EF4-FFF2-40B4-BE49-F238E27FC236}">
                <a16:creationId xmlns:a16="http://schemas.microsoft.com/office/drawing/2014/main" xmlns="" id="{3C638EEF-D7A5-4C97-A66A-9841D1BA771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72530" y="690046"/>
            <a:ext cx="337248" cy="449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19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4" y="557807"/>
            <a:ext cx="464493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prstClr val="white">
                    <a:lumMod val="50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3</a:t>
            </a:fld>
            <a:endParaRPr lang="en" sz="1100" dirty="0">
              <a:solidFill>
                <a:prstClr val="white">
                  <a:lumMod val="50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07522" y="0"/>
            <a:ext cx="8817421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«Современная школа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8059" y="1214215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138627" y="735370"/>
            <a:ext cx="8121952" cy="704432"/>
            <a:chOff x="368722" y="1877030"/>
            <a:chExt cx="10829269" cy="50377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B139A723-A86E-478B-9A92-20F301586D2E}"/>
                </a:ext>
              </a:extLst>
            </p:cNvPr>
            <p:cNvSpPr txBox="1"/>
            <p:nvPr/>
          </p:nvSpPr>
          <p:spPr>
            <a:xfrm>
              <a:off x="368722" y="1960696"/>
              <a:ext cx="10829269" cy="42011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ru-RU" dirty="0" smtClean="0">
                  <a:solidFill>
                    <a:prstClr val="white"/>
                  </a:solidFill>
                </a:rPr>
                <a:t>            Оценочная самостоятельность </a:t>
              </a:r>
            </a:p>
          </p:txBody>
        </p:sp>
        <p:grpSp>
          <p:nvGrpSpPr>
            <p:cNvPr id="20" name="Группа 19"/>
            <p:cNvGrpSpPr/>
            <p:nvPr/>
          </p:nvGrpSpPr>
          <p:grpSpPr>
            <a:xfrm>
              <a:off x="513552" y="1877030"/>
              <a:ext cx="728340" cy="503280"/>
              <a:chOff x="7576242" y="2633583"/>
              <a:chExt cx="728340" cy="503280"/>
            </a:xfrm>
          </p:grpSpPr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xmlns="" id="{377042B6-C110-438B-99EF-B695BC21B9C3}"/>
                  </a:ext>
                </a:extLst>
              </p:cNvPr>
              <p:cNvSpPr/>
              <p:nvPr/>
            </p:nvSpPr>
            <p:spPr>
              <a:xfrm>
                <a:off x="7576242" y="2633583"/>
                <a:ext cx="728340" cy="482115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2800" dirty="0">
                  <a:solidFill>
                    <a:prstClr val="white">
                      <a:lumMod val="85000"/>
                    </a:prst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22" name="Рисунок 21" descr="Голова с шестеренками">
                <a:extLst>
                  <a:ext uri="{FF2B5EF4-FFF2-40B4-BE49-F238E27FC236}">
                    <a16:creationId xmlns:a16="http://schemas.microsoft.com/office/drawing/2014/main" xmlns="" id="{BE45F391-707E-4DD7-A536-C9A5E30EF7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735046" y="2726129"/>
                <a:ext cx="410734" cy="410734"/>
              </a:xfrm>
              <a:prstGeom prst="rect">
                <a:avLst/>
              </a:prstGeom>
            </p:spPr>
          </p:pic>
        </p:grpSp>
      </p:grpSp>
      <p:pic>
        <p:nvPicPr>
          <p:cNvPr id="1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33" y="6223699"/>
            <a:ext cx="104469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87" name="Picture 27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938" y="862954"/>
            <a:ext cx="6666310" cy="553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488" name="Picture 27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1849" y="710848"/>
            <a:ext cx="1220390" cy="2163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489" name="Picture 27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8071" y="3278793"/>
            <a:ext cx="1244203" cy="220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611562" y="3278760"/>
            <a:ext cx="6392782" cy="149105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384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82296" indent="0" algn="ctr">
              <a:buNone/>
            </a:pPr>
            <a:endParaRPr lang="ru-RU" dirty="0" smtClean="0"/>
          </a:p>
          <a:p>
            <a:pPr marL="82296" indent="0" algn="ctr">
              <a:buNone/>
            </a:pPr>
            <a:endParaRPr lang="ru-RU" dirty="0"/>
          </a:p>
          <a:p>
            <a:pPr marL="82296" indent="0" algn="ctr">
              <a:buNone/>
            </a:pPr>
            <a:endParaRPr lang="ru-RU" dirty="0" smtClean="0"/>
          </a:p>
          <a:p>
            <a:pPr marL="82296" indent="0" algn="ctr">
              <a:buNone/>
            </a:pPr>
            <a:endParaRPr lang="ru-RU" dirty="0"/>
          </a:p>
          <a:p>
            <a:pPr marL="82296" indent="0" algn="ctr">
              <a:buNone/>
            </a:pPr>
            <a:endParaRPr lang="ru-RU" dirty="0" smtClean="0"/>
          </a:p>
          <a:p>
            <a:pPr marL="82296" indent="0" algn="ctr">
              <a:buNone/>
            </a:pPr>
            <a:endParaRPr lang="ru-RU" dirty="0"/>
          </a:p>
          <a:p>
            <a:pPr marL="82296" indent="0" algn="ctr">
              <a:buNone/>
            </a:pPr>
            <a:endParaRPr lang="ru-RU" dirty="0" smtClean="0"/>
          </a:p>
          <a:p>
            <a:pPr marL="82296" indent="0" algn="ctr">
              <a:buNone/>
            </a:pPr>
            <a:r>
              <a:rPr lang="ru-RU" dirty="0"/>
              <a:t>ВОЗМОЖНЫЕ ПУТИ РЕШЕНИЯ</a:t>
            </a:r>
          </a:p>
          <a:p>
            <a:pPr marL="82296" indent="0" algn="ctr">
              <a:buNone/>
            </a:pP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243682" y="2204864"/>
            <a:ext cx="2204131" cy="3172764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>
            <a:spAutoFit/>
          </a:bodyPr>
          <a:lstStyle/>
          <a:p>
            <a:pPr>
              <a:defRPr/>
            </a:pPr>
            <a:r>
              <a:rPr lang="ru-RU" sz="1600" b="1" kern="0" dirty="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Задачники»</a:t>
            </a: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24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24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24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24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24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24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0359" y="4054477"/>
            <a:ext cx="902008" cy="1196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802" y="2648163"/>
            <a:ext cx="876055" cy="1217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Объект 4"/>
          <p:cNvPicPr>
            <a:picLocks noChangeAspect="1"/>
          </p:cNvPicPr>
          <p:nvPr/>
        </p:nvPicPr>
        <p:blipFill rotWithShape="1">
          <a:blip r:embed="rId4"/>
          <a:srcRect r="70640"/>
          <a:stretch/>
        </p:blipFill>
        <p:spPr>
          <a:xfrm>
            <a:off x="1299171" y="2648163"/>
            <a:ext cx="1205212" cy="250628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4067944" y="2179828"/>
            <a:ext cx="2232248" cy="3172764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>
            <a:spAutoFit/>
          </a:bodyPr>
          <a:lstStyle/>
          <a:p>
            <a:pPr>
              <a:defRPr/>
            </a:pPr>
            <a:r>
              <a:rPr lang="ru-RU" sz="1600" b="1" kern="0" dirty="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ФГОС.  Оценка  читательской грамотности»</a:t>
            </a: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6136" y="3256947"/>
            <a:ext cx="1074297" cy="1481518"/>
          </a:xfrm>
          <a:prstGeom prst="rect">
            <a:avLst/>
          </a:prstGeom>
          <a:noFill/>
          <a:ln w="317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15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280" y="3965539"/>
            <a:ext cx="987607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993498" y="2204870"/>
            <a:ext cx="2050852" cy="3172764"/>
          </a:xfrm>
          <a:prstGeom prst="rect">
            <a:avLst/>
          </a:prstGeom>
          <a:solidFill>
            <a:sysClr val="window" lastClr="FFFFFF">
              <a:lumMod val="50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108000" tIns="108000" rIns="108000" bIns="108000" rtlCol="0" anchor="ctr">
            <a:spAutoFit/>
          </a:bodyPr>
          <a:lstStyle/>
          <a:p>
            <a:pPr>
              <a:defRPr/>
            </a:pPr>
            <a:r>
              <a:rPr lang="ru-RU" sz="1600" b="1" kern="0" dirty="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Функциональная грамотность. Тренажёры»</a:t>
            </a: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defRPr/>
            </a:pPr>
            <a:endParaRPr lang="ru-RU" sz="1600" b="1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Объект 3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" t="13116" r="20558" b="13216"/>
          <a:stretch/>
        </p:blipFill>
        <p:spPr bwMode="auto">
          <a:xfrm>
            <a:off x="7117478" y="3621444"/>
            <a:ext cx="995757" cy="1421479"/>
          </a:xfrm>
          <a:prstGeom prst="rect">
            <a:avLst/>
          </a:prstGeom>
          <a:noFill/>
          <a:ln w="3175">
            <a:solidFill>
              <a:sysClr val="window" lastClr="FFFFFF">
                <a:lumMod val="85000"/>
              </a:sys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7923" y="3997736"/>
            <a:ext cx="906461" cy="1299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1547667" y="548682"/>
            <a:ext cx="727280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prstClr val="black"/>
                </a:solidFill>
              </a:rPr>
              <a:t>школа, дающая функциональную грамотность: вооружающая учащихся знаниями для жизни, которые приносят пользу всем окружающим, стране.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243685" y="188663"/>
            <a:ext cx="780068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3891A7">
                    <a:lumMod val="75000"/>
                  </a:srgbClr>
                </a:solidFill>
              </a:rPr>
              <a:t>Федеральный проект «Современная школа»</a:t>
            </a:r>
          </a:p>
          <a:p>
            <a:pPr algn="ctr"/>
            <a:endParaRPr lang="ru-RU" dirty="0">
              <a:solidFill>
                <a:prstClr val="black"/>
              </a:solidFill>
            </a:endParaRPr>
          </a:p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9189" y="58320"/>
            <a:ext cx="731837" cy="705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5429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055660" y="117589"/>
            <a:ext cx="1778397" cy="236696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24829" y="3188078"/>
            <a:ext cx="1674965" cy="212428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689921" y="1198615"/>
            <a:ext cx="1631642" cy="225315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115414" y="2708028"/>
            <a:ext cx="1730011" cy="2182908"/>
          </a:xfrm>
          <a:prstGeom prst="rect">
            <a:avLst/>
          </a:prstGeom>
        </p:spPr>
      </p:pic>
      <p:pic>
        <p:nvPicPr>
          <p:cNvPr id="10" name="Объект 2"/>
          <p:cNvPicPr>
            <a:picLocks noGrp="1" noChangeAspect="1"/>
          </p:cNvPicPr>
          <p:nvPr>
            <p:ph sz="half" idx="4294967295"/>
          </p:nvPr>
        </p:nvPicPr>
        <p:blipFill rotWithShape="1">
          <a:blip r:embed="rId6"/>
          <a:srcRect l="35916" t="18208" r="37339" b="15226"/>
          <a:stretch/>
        </p:blipFill>
        <p:spPr>
          <a:xfrm>
            <a:off x="7405689" y="192090"/>
            <a:ext cx="1738312" cy="2346325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  <p:pic>
        <p:nvPicPr>
          <p:cNvPr id="9" name="Объект 4"/>
          <p:cNvPicPr>
            <a:picLocks noChangeAspect="1"/>
          </p:cNvPicPr>
          <p:nvPr/>
        </p:nvPicPr>
        <p:blipFill rotWithShape="1">
          <a:blip r:embed="rId7"/>
          <a:srcRect l="34133" t="15039" r="35556" b="12056"/>
          <a:stretch/>
        </p:blipFill>
        <p:spPr>
          <a:xfrm>
            <a:off x="996039" y="117588"/>
            <a:ext cx="1693882" cy="245571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8" cstate="print"/>
          <a:srcRect l="26505" t="20107" r="46075" b="11935"/>
          <a:stretch/>
        </p:blipFill>
        <p:spPr>
          <a:xfrm>
            <a:off x="2699794" y="4378366"/>
            <a:ext cx="1781930" cy="2235010"/>
          </a:xfrm>
          <a:prstGeom prst="rect">
            <a:avLst/>
          </a:prstGeom>
          <a:ln>
            <a:solidFill>
              <a:srgbClr val="00B0F0"/>
            </a:solidFill>
          </a:ln>
        </p:spPr>
      </p:pic>
      <p:grpSp>
        <p:nvGrpSpPr>
          <p:cNvPr id="12" name="Группа 11"/>
          <p:cNvGrpSpPr/>
          <p:nvPr/>
        </p:nvGrpSpPr>
        <p:grpSpPr>
          <a:xfrm>
            <a:off x="4932040" y="3451769"/>
            <a:ext cx="3998138" cy="3261911"/>
            <a:chOff x="5767889" y="4612640"/>
            <a:chExt cx="5651951" cy="2001520"/>
          </a:xfrm>
        </p:grpSpPr>
        <p:grpSp>
          <p:nvGrpSpPr>
            <p:cNvPr id="13" name="Group 9"/>
            <p:cNvGrpSpPr>
              <a:grpSpLocks noChangeAspect="1"/>
            </p:cNvGrpSpPr>
            <p:nvPr/>
          </p:nvGrpSpPr>
          <p:grpSpPr bwMode="auto">
            <a:xfrm>
              <a:off x="5767889" y="4612640"/>
              <a:ext cx="5646521" cy="2001520"/>
              <a:chOff x="337" y="1348"/>
              <a:chExt cx="2271" cy="805"/>
            </a:xfrm>
          </p:grpSpPr>
          <p:sp>
            <p:nvSpPr>
              <p:cNvPr id="15" name="AutoShape 8"/>
              <p:cNvSpPr>
                <a:spLocks noChangeAspect="1" noChangeArrowheads="1" noTextEdit="1"/>
              </p:cNvSpPr>
              <p:nvPr/>
            </p:nvSpPr>
            <p:spPr bwMode="auto">
              <a:xfrm>
                <a:off x="337" y="1348"/>
                <a:ext cx="2271" cy="80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grpSp>
            <p:nvGrpSpPr>
              <p:cNvPr id="16" name="Group 210"/>
              <p:cNvGrpSpPr>
                <a:grpSpLocks/>
              </p:cNvGrpSpPr>
              <p:nvPr/>
            </p:nvGrpSpPr>
            <p:grpSpPr bwMode="auto">
              <a:xfrm>
                <a:off x="741" y="1348"/>
                <a:ext cx="1884" cy="780"/>
                <a:chOff x="741" y="1348"/>
                <a:chExt cx="1884" cy="780"/>
              </a:xfrm>
            </p:grpSpPr>
            <p:sp>
              <p:nvSpPr>
                <p:cNvPr id="1088" name="Freeform 10"/>
                <p:cNvSpPr>
                  <a:spLocks/>
                </p:cNvSpPr>
                <p:nvPr/>
              </p:nvSpPr>
              <p:spPr bwMode="auto">
                <a:xfrm>
                  <a:off x="2443" y="2098"/>
                  <a:ext cx="25" cy="26"/>
                </a:xfrm>
                <a:custGeom>
                  <a:avLst/>
                  <a:gdLst/>
                  <a:ahLst/>
                  <a:cxnLst>
                    <a:cxn ang="0">
                      <a:pos x="0" y="21"/>
                    </a:cxn>
                    <a:cxn ang="0">
                      <a:pos x="20" y="0"/>
                    </a:cxn>
                    <a:cxn ang="0">
                      <a:pos x="99" y="79"/>
                    </a:cxn>
                    <a:cxn ang="0">
                      <a:pos x="99" y="90"/>
                    </a:cxn>
                    <a:cxn ang="0">
                      <a:pos x="84" y="105"/>
                    </a:cxn>
                    <a:cxn ang="0">
                      <a:pos x="0" y="21"/>
                    </a:cxn>
                  </a:cxnLst>
                  <a:rect l="0" t="0" r="r" b="b"/>
                  <a:pathLst>
                    <a:path w="102" h="105">
                      <a:moveTo>
                        <a:pt x="0" y="21"/>
                      </a:moveTo>
                      <a:lnTo>
                        <a:pt x="20" y="0"/>
                      </a:lnTo>
                      <a:lnTo>
                        <a:pt x="99" y="79"/>
                      </a:lnTo>
                      <a:cubicBezTo>
                        <a:pt x="102" y="82"/>
                        <a:pt x="102" y="87"/>
                        <a:pt x="99" y="90"/>
                      </a:cubicBezTo>
                      <a:lnTo>
                        <a:pt x="84" y="105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9" name="Freeform 11"/>
                <p:cNvSpPr>
                  <a:spLocks/>
                </p:cNvSpPr>
                <p:nvPr/>
              </p:nvSpPr>
              <p:spPr bwMode="auto">
                <a:xfrm>
                  <a:off x="2438" y="2103"/>
                  <a:ext cx="26" cy="25"/>
                </a:xfrm>
                <a:custGeom>
                  <a:avLst/>
                  <a:gdLst/>
                  <a:ahLst/>
                  <a:cxnLst>
                    <a:cxn ang="0">
                      <a:pos x="0" y="20"/>
                    </a:cxn>
                    <a:cxn ang="0">
                      <a:pos x="20" y="0"/>
                    </a:cxn>
                    <a:cxn ang="0">
                      <a:pos x="104" y="84"/>
                    </a:cxn>
                    <a:cxn ang="0">
                      <a:pos x="89" y="99"/>
                    </a:cxn>
                    <a:cxn ang="0">
                      <a:pos x="78" y="99"/>
                    </a:cxn>
                    <a:cxn ang="0">
                      <a:pos x="0" y="20"/>
                    </a:cxn>
                  </a:cxnLst>
                  <a:rect l="0" t="0" r="r" b="b"/>
                  <a:pathLst>
                    <a:path w="104" h="102">
                      <a:moveTo>
                        <a:pt x="0" y="20"/>
                      </a:moveTo>
                      <a:lnTo>
                        <a:pt x="20" y="0"/>
                      </a:lnTo>
                      <a:lnTo>
                        <a:pt x="104" y="84"/>
                      </a:lnTo>
                      <a:lnTo>
                        <a:pt x="89" y="99"/>
                      </a:lnTo>
                      <a:cubicBezTo>
                        <a:pt x="86" y="102"/>
                        <a:pt x="81" y="102"/>
                        <a:pt x="78" y="99"/>
                      </a:cubicBezTo>
                      <a:lnTo>
                        <a:pt x="0" y="2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0" name="Freeform 12"/>
                <p:cNvSpPr>
                  <a:spLocks/>
                </p:cNvSpPr>
                <p:nvPr/>
              </p:nvSpPr>
              <p:spPr bwMode="auto">
                <a:xfrm>
                  <a:off x="2081" y="2098"/>
                  <a:ext cx="25" cy="26"/>
                </a:xfrm>
                <a:custGeom>
                  <a:avLst/>
                  <a:gdLst/>
                  <a:ahLst/>
                  <a:cxnLst>
                    <a:cxn ang="0">
                      <a:pos x="102" y="21"/>
                    </a:cxn>
                    <a:cxn ang="0">
                      <a:pos x="82" y="0"/>
                    </a:cxn>
                    <a:cxn ang="0">
                      <a:pos x="3" y="79"/>
                    </a:cxn>
                    <a:cxn ang="0">
                      <a:pos x="3" y="90"/>
                    </a:cxn>
                    <a:cxn ang="0">
                      <a:pos x="18" y="105"/>
                    </a:cxn>
                    <a:cxn ang="0">
                      <a:pos x="102" y="21"/>
                    </a:cxn>
                  </a:cxnLst>
                  <a:rect l="0" t="0" r="r" b="b"/>
                  <a:pathLst>
                    <a:path w="102" h="105">
                      <a:moveTo>
                        <a:pt x="102" y="21"/>
                      </a:moveTo>
                      <a:lnTo>
                        <a:pt x="82" y="0"/>
                      </a:lnTo>
                      <a:lnTo>
                        <a:pt x="3" y="79"/>
                      </a:lnTo>
                      <a:cubicBezTo>
                        <a:pt x="0" y="82"/>
                        <a:pt x="0" y="87"/>
                        <a:pt x="3" y="90"/>
                      </a:cubicBezTo>
                      <a:lnTo>
                        <a:pt x="18" y="105"/>
                      </a:lnTo>
                      <a:lnTo>
                        <a:pt x="102" y="21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1" name="Freeform 13"/>
                <p:cNvSpPr>
                  <a:spLocks/>
                </p:cNvSpPr>
                <p:nvPr/>
              </p:nvSpPr>
              <p:spPr bwMode="auto">
                <a:xfrm>
                  <a:off x="2086" y="2103"/>
                  <a:ext cx="25" cy="25"/>
                </a:xfrm>
                <a:custGeom>
                  <a:avLst/>
                  <a:gdLst/>
                  <a:ahLst/>
                  <a:cxnLst>
                    <a:cxn ang="0">
                      <a:pos x="105" y="20"/>
                    </a:cxn>
                    <a:cxn ang="0">
                      <a:pos x="84" y="0"/>
                    </a:cxn>
                    <a:cxn ang="0">
                      <a:pos x="0" y="84"/>
                    </a:cxn>
                    <a:cxn ang="0">
                      <a:pos x="15" y="99"/>
                    </a:cxn>
                    <a:cxn ang="0">
                      <a:pos x="26" y="99"/>
                    </a:cxn>
                    <a:cxn ang="0">
                      <a:pos x="105" y="20"/>
                    </a:cxn>
                  </a:cxnLst>
                  <a:rect l="0" t="0" r="r" b="b"/>
                  <a:pathLst>
                    <a:path w="105" h="102">
                      <a:moveTo>
                        <a:pt x="105" y="20"/>
                      </a:moveTo>
                      <a:lnTo>
                        <a:pt x="84" y="0"/>
                      </a:lnTo>
                      <a:lnTo>
                        <a:pt x="0" y="84"/>
                      </a:lnTo>
                      <a:lnTo>
                        <a:pt x="15" y="99"/>
                      </a:lnTo>
                      <a:cubicBezTo>
                        <a:pt x="18" y="102"/>
                        <a:pt x="23" y="102"/>
                        <a:pt x="26" y="99"/>
                      </a:cubicBezTo>
                      <a:lnTo>
                        <a:pt x="105" y="2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2" name="Freeform 14"/>
                <p:cNvSpPr>
                  <a:spLocks/>
                </p:cNvSpPr>
                <p:nvPr/>
              </p:nvSpPr>
              <p:spPr bwMode="auto">
                <a:xfrm>
                  <a:off x="2269" y="1927"/>
                  <a:ext cx="176" cy="176"/>
                </a:xfrm>
                <a:custGeom>
                  <a:avLst/>
                  <a:gdLst/>
                  <a:ahLst/>
                  <a:cxnLst>
                    <a:cxn ang="0">
                      <a:pos x="545" y="538"/>
                    </a:cxn>
                    <a:cxn ang="0">
                      <a:pos x="721" y="715"/>
                    </a:cxn>
                    <a:cxn ang="0">
                      <a:pos x="715" y="722"/>
                    </a:cxn>
                    <a:cxn ang="0">
                      <a:pos x="530" y="536"/>
                    </a:cxn>
                    <a:cxn ang="0">
                      <a:pos x="353" y="360"/>
                    </a:cxn>
                    <a:cxn ang="0">
                      <a:pos x="177" y="183"/>
                    </a:cxn>
                    <a:cxn ang="0">
                      <a:pos x="0" y="7"/>
                    </a:cxn>
                    <a:cxn ang="0">
                      <a:pos x="7" y="0"/>
                    </a:cxn>
                    <a:cxn ang="0">
                      <a:pos x="192" y="185"/>
                    </a:cxn>
                    <a:cxn ang="0">
                      <a:pos x="192" y="185"/>
                    </a:cxn>
                    <a:cxn ang="0">
                      <a:pos x="368" y="362"/>
                    </a:cxn>
                    <a:cxn ang="0">
                      <a:pos x="545" y="538"/>
                    </a:cxn>
                  </a:cxnLst>
                  <a:rect l="0" t="0" r="r" b="b"/>
                  <a:pathLst>
                    <a:path w="721" h="722">
                      <a:moveTo>
                        <a:pt x="545" y="538"/>
                      </a:moveTo>
                      <a:lnTo>
                        <a:pt x="721" y="715"/>
                      </a:lnTo>
                      <a:lnTo>
                        <a:pt x="715" y="722"/>
                      </a:lnTo>
                      <a:lnTo>
                        <a:pt x="530" y="536"/>
                      </a:lnTo>
                      <a:lnTo>
                        <a:pt x="353" y="360"/>
                      </a:lnTo>
                      <a:lnTo>
                        <a:pt x="177" y="183"/>
                      </a:lnTo>
                      <a:lnTo>
                        <a:pt x="0" y="7"/>
                      </a:lnTo>
                      <a:lnTo>
                        <a:pt x="7" y="0"/>
                      </a:lnTo>
                      <a:lnTo>
                        <a:pt x="192" y="185"/>
                      </a:lnTo>
                      <a:lnTo>
                        <a:pt x="192" y="185"/>
                      </a:lnTo>
                      <a:lnTo>
                        <a:pt x="368" y="362"/>
                      </a:lnTo>
                      <a:lnTo>
                        <a:pt x="545" y="538"/>
                      </a:lnTo>
                      <a:close/>
                    </a:path>
                  </a:pathLst>
                </a:custGeom>
                <a:solidFill>
                  <a:srgbClr val="29292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3" name="Freeform 15"/>
                <p:cNvSpPr>
                  <a:spLocks/>
                </p:cNvSpPr>
                <p:nvPr/>
              </p:nvSpPr>
              <p:spPr bwMode="auto">
                <a:xfrm>
                  <a:off x="2105" y="1927"/>
                  <a:ext cx="175" cy="176"/>
                </a:xfrm>
                <a:custGeom>
                  <a:avLst/>
                  <a:gdLst/>
                  <a:ahLst/>
                  <a:cxnLst>
                    <a:cxn ang="0">
                      <a:pos x="176" y="538"/>
                    </a:cxn>
                    <a:cxn ang="0">
                      <a:pos x="0" y="715"/>
                    </a:cxn>
                    <a:cxn ang="0">
                      <a:pos x="6" y="722"/>
                    </a:cxn>
                    <a:cxn ang="0">
                      <a:pos x="191" y="536"/>
                    </a:cxn>
                    <a:cxn ang="0">
                      <a:pos x="368" y="360"/>
                    </a:cxn>
                    <a:cxn ang="0">
                      <a:pos x="545" y="183"/>
                    </a:cxn>
                    <a:cxn ang="0">
                      <a:pos x="721" y="7"/>
                    </a:cxn>
                    <a:cxn ang="0">
                      <a:pos x="715" y="0"/>
                    </a:cxn>
                    <a:cxn ang="0">
                      <a:pos x="529" y="185"/>
                    </a:cxn>
                    <a:cxn ang="0">
                      <a:pos x="529" y="185"/>
                    </a:cxn>
                    <a:cxn ang="0">
                      <a:pos x="353" y="362"/>
                    </a:cxn>
                    <a:cxn ang="0">
                      <a:pos x="353" y="362"/>
                    </a:cxn>
                    <a:cxn ang="0">
                      <a:pos x="176" y="538"/>
                    </a:cxn>
                  </a:cxnLst>
                  <a:rect l="0" t="0" r="r" b="b"/>
                  <a:pathLst>
                    <a:path w="721" h="722">
                      <a:moveTo>
                        <a:pt x="176" y="538"/>
                      </a:moveTo>
                      <a:lnTo>
                        <a:pt x="0" y="715"/>
                      </a:lnTo>
                      <a:lnTo>
                        <a:pt x="6" y="722"/>
                      </a:lnTo>
                      <a:lnTo>
                        <a:pt x="191" y="536"/>
                      </a:lnTo>
                      <a:lnTo>
                        <a:pt x="368" y="360"/>
                      </a:lnTo>
                      <a:lnTo>
                        <a:pt x="545" y="183"/>
                      </a:lnTo>
                      <a:lnTo>
                        <a:pt x="721" y="7"/>
                      </a:lnTo>
                      <a:lnTo>
                        <a:pt x="715" y="0"/>
                      </a:lnTo>
                      <a:lnTo>
                        <a:pt x="529" y="185"/>
                      </a:lnTo>
                      <a:lnTo>
                        <a:pt x="529" y="185"/>
                      </a:lnTo>
                      <a:lnTo>
                        <a:pt x="353" y="362"/>
                      </a:lnTo>
                      <a:lnTo>
                        <a:pt x="353" y="362"/>
                      </a:lnTo>
                      <a:lnTo>
                        <a:pt x="176" y="538"/>
                      </a:lnTo>
                      <a:close/>
                    </a:path>
                  </a:pathLst>
                </a:custGeom>
                <a:solidFill>
                  <a:srgbClr val="29292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4" name="Freeform 16"/>
                <p:cNvSpPr>
                  <a:spLocks/>
                </p:cNvSpPr>
                <p:nvPr/>
              </p:nvSpPr>
              <p:spPr bwMode="auto">
                <a:xfrm>
                  <a:off x="2268" y="1929"/>
                  <a:ext cx="175" cy="176"/>
                </a:xfrm>
                <a:custGeom>
                  <a:avLst/>
                  <a:gdLst/>
                  <a:ahLst/>
                  <a:cxnLst>
                    <a:cxn ang="0">
                      <a:pos x="0" y="6"/>
                    </a:cxn>
                    <a:cxn ang="0">
                      <a:pos x="7" y="0"/>
                    </a:cxn>
                    <a:cxn ang="0">
                      <a:pos x="192" y="185"/>
                    </a:cxn>
                    <a:cxn ang="0">
                      <a:pos x="192" y="185"/>
                    </a:cxn>
                    <a:cxn ang="0">
                      <a:pos x="369" y="361"/>
                    </a:cxn>
                    <a:cxn ang="0">
                      <a:pos x="545" y="538"/>
                    </a:cxn>
                    <a:cxn ang="0">
                      <a:pos x="722" y="715"/>
                    </a:cxn>
                    <a:cxn ang="0">
                      <a:pos x="715" y="721"/>
                    </a:cxn>
                    <a:cxn ang="0">
                      <a:pos x="530" y="536"/>
                    </a:cxn>
                    <a:cxn ang="0">
                      <a:pos x="354" y="359"/>
                    </a:cxn>
                    <a:cxn ang="0">
                      <a:pos x="177" y="183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722" h="721">
                      <a:moveTo>
                        <a:pt x="0" y="6"/>
                      </a:moveTo>
                      <a:lnTo>
                        <a:pt x="7" y="0"/>
                      </a:lnTo>
                      <a:lnTo>
                        <a:pt x="192" y="185"/>
                      </a:lnTo>
                      <a:lnTo>
                        <a:pt x="192" y="185"/>
                      </a:lnTo>
                      <a:lnTo>
                        <a:pt x="369" y="361"/>
                      </a:lnTo>
                      <a:lnTo>
                        <a:pt x="545" y="538"/>
                      </a:lnTo>
                      <a:lnTo>
                        <a:pt x="722" y="715"/>
                      </a:lnTo>
                      <a:lnTo>
                        <a:pt x="715" y="721"/>
                      </a:lnTo>
                      <a:lnTo>
                        <a:pt x="530" y="536"/>
                      </a:lnTo>
                      <a:lnTo>
                        <a:pt x="354" y="359"/>
                      </a:lnTo>
                      <a:lnTo>
                        <a:pt x="177" y="183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5" name="Freeform 17"/>
                <p:cNvSpPr>
                  <a:spLocks/>
                </p:cNvSpPr>
                <p:nvPr/>
              </p:nvSpPr>
              <p:spPr bwMode="auto">
                <a:xfrm>
                  <a:off x="2106" y="1929"/>
                  <a:ext cx="175" cy="176"/>
                </a:xfrm>
                <a:custGeom>
                  <a:avLst/>
                  <a:gdLst/>
                  <a:ahLst/>
                  <a:cxnLst>
                    <a:cxn ang="0">
                      <a:pos x="722" y="6"/>
                    </a:cxn>
                    <a:cxn ang="0">
                      <a:pos x="715" y="0"/>
                    </a:cxn>
                    <a:cxn ang="0">
                      <a:pos x="530" y="185"/>
                    </a:cxn>
                    <a:cxn ang="0">
                      <a:pos x="353" y="361"/>
                    </a:cxn>
                    <a:cxn ang="0">
                      <a:pos x="177" y="538"/>
                    </a:cxn>
                    <a:cxn ang="0">
                      <a:pos x="177" y="538"/>
                    </a:cxn>
                    <a:cxn ang="0">
                      <a:pos x="0" y="715"/>
                    </a:cxn>
                    <a:cxn ang="0">
                      <a:pos x="7" y="721"/>
                    </a:cxn>
                    <a:cxn ang="0">
                      <a:pos x="192" y="536"/>
                    </a:cxn>
                    <a:cxn ang="0">
                      <a:pos x="368" y="359"/>
                    </a:cxn>
                    <a:cxn ang="0">
                      <a:pos x="545" y="183"/>
                    </a:cxn>
                    <a:cxn ang="0">
                      <a:pos x="722" y="6"/>
                    </a:cxn>
                  </a:cxnLst>
                  <a:rect l="0" t="0" r="r" b="b"/>
                  <a:pathLst>
                    <a:path w="722" h="721">
                      <a:moveTo>
                        <a:pt x="722" y="6"/>
                      </a:moveTo>
                      <a:lnTo>
                        <a:pt x="715" y="0"/>
                      </a:lnTo>
                      <a:lnTo>
                        <a:pt x="530" y="185"/>
                      </a:lnTo>
                      <a:lnTo>
                        <a:pt x="353" y="361"/>
                      </a:lnTo>
                      <a:lnTo>
                        <a:pt x="177" y="538"/>
                      </a:lnTo>
                      <a:lnTo>
                        <a:pt x="177" y="538"/>
                      </a:lnTo>
                      <a:lnTo>
                        <a:pt x="0" y="715"/>
                      </a:lnTo>
                      <a:lnTo>
                        <a:pt x="7" y="721"/>
                      </a:lnTo>
                      <a:lnTo>
                        <a:pt x="192" y="536"/>
                      </a:lnTo>
                      <a:lnTo>
                        <a:pt x="368" y="359"/>
                      </a:lnTo>
                      <a:lnTo>
                        <a:pt x="545" y="183"/>
                      </a:lnTo>
                      <a:lnTo>
                        <a:pt x="722" y="6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6" name="Freeform 18"/>
                <p:cNvSpPr>
                  <a:spLocks/>
                </p:cNvSpPr>
                <p:nvPr/>
              </p:nvSpPr>
              <p:spPr bwMode="auto">
                <a:xfrm>
                  <a:off x="1989" y="1364"/>
                  <a:ext cx="273" cy="53"/>
                </a:xfrm>
                <a:custGeom>
                  <a:avLst/>
                  <a:gdLst/>
                  <a:ahLst/>
                  <a:cxnLst>
                    <a:cxn ang="0">
                      <a:pos x="1108" y="1"/>
                    </a:cxn>
                    <a:cxn ang="0">
                      <a:pos x="1118" y="0"/>
                    </a:cxn>
                    <a:cxn ang="0">
                      <a:pos x="1123" y="12"/>
                    </a:cxn>
                    <a:cxn ang="0">
                      <a:pos x="1114" y="14"/>
                    </a:cxn>
                    <a:cxn ang="0">
                      <a:pos x="15" y="214"/>
                    </a:cxn>
                    <a:cxn ang="0">
                      <a:pos x="6" y="215"/>
                    </a:cxn>
                    <a:cxn ang="0">
                      <a:pos x="0" y="203"/>
                    </a:cxn>
                    <a:cxn ang="0">
                      <a:pos x="10" y="201"/>
                    </a:cxn>
                    <a:cxn ang="0">
                      <a:pos x="1108" y="1"/>
                    </a:cxn>
                  </a:cxnLst>
                  <a:rect l="0" t="0" r="r" b="b"/>
                  <a:pathLst>
                    <a:path w="1123" h="215">
                      <a:moveTo>
                        <a:pt x="1108" y="1"/>
                      </a:moveTo>
                      <a:lnTo>
                        <a:pt x="1118" y="0"/>
                      </a:lnTo>
                      <a:lnTo>
                        <a:pt x="1123" y="12"/>
                      </a:lnTo>
                      <a:lnTo>
                        <a:pt x="1114" y="14"/>
                      </a:lnTo>
                      <a:lnTo>
                        <a:pt x="15" y="214"/>
                      </a:lnTo>
                      <a:lnTo>
                        <a:pt x="6" y="215"/>
                      </a:lnTo>
                      <a:lnTo>
                        <a:pt x="0" y="203"/>
                      </a:lnTo>
                      <a:lnTo>
                        <a:pt x="10" y="201"/>
                      </a:lnTo>
                      <a:lnTo>
                        <a:pt x="1108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7" name="Freeform 19"/>
                <p:cNvSpPr>
                  <a:spLocks/>
                </p:cNvSpPr>
                <p:nvPr/>
              </p:nvSpPr>
              <p:spPr bwMode="auto">
                <a:xfrm>
                  <a:off x="2288" y="1364"/>
                  <a:ext cx="273" cy="53"/>
                </a:xfrm>
                <a:custGeom>
                  <a:avLst/>
                  <a:gdLst/>
                  <a:ahLst/>
                  <a:cxnLst>
                    <a:cxn ang="0">
                      <a:pos x="15" y="1"/>
                    </a:cxn>
                    <a:cxn ang="0">
                      <a:pos x="5" y="0"/>
                    </a:cxn>
                    <a:cxn ang="0">
                      <a:pos x="0" y="12"/>
                    </a:cxn>
                    <a:cxn ang="0">
                      <a:pos x="10" y="14"/>
                    </a:cxn>
                    <a:cxn ang="0">
                      <a:pos x="1108" y="214"/>
                    </a:cxn>
                    <a:cxn ang="0">
                      <a:pos x="1118" y="215"/>
                    </a:cxn>
                    <a:cxn ang="0">
                      <a:pos x="1123" y="203"/>
                    </a:cxn>
                    <a:cxn ang="0">
                      <a:pos x="1113" y="201"/>
                    </a:cxn>
                    <a:cxn ang="0">
                      <a:pos x="15" y="1"/>
                    </a:cxn>
                  </a:cxnLst>
                  <a:rect l="0" t="0" r="r" b="b"/>
                  <a:pathLst>
                    <a:path w="1123" h="215">
                      <a:moveTo>
                        <a:pt x="15" y="1"/>
                      </a:moveTo>
                      <a:lnTo>
                        <a:pt x="5" y="0"/>
                      </a:lnTo>
                      <a:lnTo>
                        <a:pt x="0" y="12"/>
                      </a:lnTo>
                      <a:lnTo>
                        <a:pt x="10" y="14"/>
                      </a:lnTo>
                      <a:lnTo>
                        <a:pt x="1108" y="214"/>
                      </a:lnTo>
                      <a:lnTo>
                        <a:pt x="1118" y="215"/>
                      </a:lnTo>
                      <a:lnTo>
                        <a:pt x="1123" y="203"/>
                      </a:lnTo>
                      <a:lnTo>
                        <a:pt x="1113" y="201"/>
                      </a:lnTo>
                      <a:lnTo>
                        <a:pt x="15" y="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8" name="Rectangle 20"/>
                <p:cNvSpPr>
                  <a:spLocks noChangeArrowheads="1"/>
                </p:cNvSpPr>
                <p:nvPr/>
              </p:nvSpPr>
              <p:spPr bwMode="auto">
                <a:xfrm>
                  <a:off x="1925" y="1412"/>
                  <a:ext cx="700" cy="13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9" name="Rectangle 21"/>
                <p:cNvSpPr>
                  <a:spLocks noChangeArrowheads="1"/>
                </p:cNvSpPr>
                <p:nvPr/>
              </p:nvSpPr>
              <p:spPr bwMode="auto">
                <a:xfrm>
                  <a:off x="1925" y="1843"/>
                  <a:ext cx="700" cy="13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0" name="Rectangle 22"/>
                <p:cNvSpPr>
                  <a:spLocks noChangeArrowheads="1"/>
                </p:cNvSpPr>
                <p:nvPr/>
              </p:nvSpPr>
              <p:spPr bwMode="auto">
                <a:xfrm>
                  <a:off x="1925" y="1425"/>
                  <a:ext cx="700" cy="12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1" name="Rectangle 23"/>
                <p:cNvSpPr>
                  <a:spLocks noChangeArrowheads="1"/>
                </p:cNvSpPr>
                <p:nvPr/>
              </p:nvSpPr>
              <p:spPr bwMode="auto">
                <a:xfrm>
                  <a:off x="1925" y="1856"/>
                  <a:ext cx="700" cy="12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2" name="Rectangle 24"/>
                <p:cNvSpPr>
                  <a:spLocks noChangeArrowheads="1"/>
                </p:cNvSpPr>
                <p:nvPr/>
              </p:nvSpPr>
              <p:spPr bwMode="auto">
                <a:xfrm>
                  <a:off x="2275" y="1868"/>
                  <a:ext cx="15" cy="44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3" name="Rectangle 25"/>
                <p:cNvSpPr>
                  <a:spLocks noChangeArrowheads="1"/>
                </p:cNvSpPr>
                <p:nvPr/>
              </p:nvSpPr>
              <p:spPr bwMode="auto">
                <a:xfrm>
                  <a:off x="2259" y="1868"/>
                  <a:ext cx="16" cy="44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4" name="Rectangle 26"/>
                <p:cNvSpPr>
                  <a:spLocks noChangeArrowheads="1"/>
                </p:cNvSpPr>
                <p:nvPr/>
              </p:nvSpPr>
              <p:spPr bwMode="auto">
                <a:xfrm>
                  <a:off x="2275" y="1972"/>
                  <a:ext cx="11" cy="14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5" name="Rectangle 27"/>
                <p:cNvSpPr>
                  <a:spLocks noChangeArrowheads="1"/>
                </p:cNvSpPr>
                <p:nvPr/>
              </p:nvSpPr>
              <p:spPr bwMode="auto">
                <a:xfrm>
                  <a:off x="2263" y="1972"/>
                  <a:ext cx="12" cy="14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6" name="Freeform 28"/>
                <p:cNvSpPr>
                  <a:spLocks/>
                </p:cNvSpPr>
                <p:nvPr/>
              </p:nvSpPr>
              <p:spPr bwMode="auto">
                <a:xfrm>
                  <a:off x="2275" y="2086"/>
                  <a:ext cx="7" cy="2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9" y="0"/>
                    </a:cxn>
                    <a:cxn ang="0">
                      <a:pos x="29" y="112"/>
                    </a:cxn>
                    <a:cxn ang="0">
                      <a:pos x="22" y="119"/>
                    </a:cxn>
                    <a:cxn ang="0">
                      <a:pos x="0" y="119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9" h="119">
                      <a:moveTo>
                        <a:pt x="0" y="0"/>
                      </a:moveTo>
                      <a:lnTo>
                        <a:pt x="29" y="0"/>
                      </a:lnTo>
                      <a:lnTo>
                        <a:pt x="29" y="112"/>
                      </a:lnTo>
                      <a:cubicBezTo>
                        <a:pt x="29" y="116"/>
                        <a:pt x="26" y="119"/>
                        <a:pt x="22" y="119"/>
                      </a:cubicBezTo>
                      <a:lnTo>
                        <a:pt x="0" y="1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7" name="Freeform 29"/>
                <p:cNvSpPr>
                  <a:spLocks/>
                </p:cNvSpPr>
                <p:nvPr/>
              </p:nvSpPr>
              <p:spPr bwMode="auto">
                <a:xfrm>
                  <a:off x="2268" y="2086"/>
                  <a:ext cx="7" cy="2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9" y="0"/>
                    </a:cxn>
                    <a:cxn ang="0">
                      <a:pos x="29" y="119"/>
                    </a:cxn>
                    <a:cxn ang="0">
                      <a:pos x="7" y="119"/>
                    </a:cxn>
                    <a:cxn ang="0">
                      <a:pos x="0" y="11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9" h="119">
                      <a:moveTo>
                        <a:pt x="0" y="0"/>
                      </a:moveTo>
                      <a:lnTo>
                        <a:pt x="29" y="0"/>
                      </a:lnTo>
                      <a:lnTo>
                        <a:pt x="29" y="119"/>
                      </a:lnTo>
                      <a:lnTo>
                        <a:pt x="7" y="119"/>
                      </a:lnTo>
                      <a:cubicBezTo>
                        <a:pt x="3" y="119"/>
                        <a:pt x="0" y="116"/>
                        <a:pt x="0" y="11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8" name="Freeform 30"/>
                <p:cNvSpPr>
                  <a:spLocks/>
                </p:cNvSpPr>
                <p:nvPr/>
              </p:nvSpPr>
              <p:spPr bwMode="auto">
                <a:xfrm>
                  <a:off x="2275" y="1348"/>
                  <a:ext cx="15" cy="64"/>
                </a:xfrm>
                <a:custGeom>
                  <a:avLst/>
                  <a:gdLst/>
                  <a:ahLst/>
                  <a:cxnLst>
                    <a:cxn ang="0">
                      <a:pos x="0" y="263"/>
                    </a:cxn>
                    <a:cxn ang="0">
                      <a:pos x="64" y="263"/>
                    </a:cxn>
                    <a:cxn ang="0">
                      <a:pos x="64" y="16"/>
                    </a:cxn>
                    <a:cxn ang="0">
                      <a:pos x="48" y="0"/>
                    </a:cxn>
                    <a:cxn ang="0">
                      <a:pos x="0" y="0"/>
                    </a:cxn>
                    <a:cxn ang="0">
                      <a:pos x="0" y="263"/>
                    </a:cxn>
                  </a:cxnLst>
                  <a:rect l="0" t="0" r="r" b="b"/>
                  <a:pathLst>
                    <a:path w="64" h="263">
                      <a:moveTo>
                        <a:pt x="0" y="263"/>
                      </a:moveTo>
                      <a:lnTo>
                        <a:pt x="64" y="263"/>
                      </a:lnTo>
                      <a:lnTo>
                        <a:pt x="64" y="16"/>
                      </a:lnTo>
                      <a:cubicBezTo>
                        <a:pt x="64" y="7"/>
                        <a:pt x="57" y="0"/>
                        <a:pt x="48" y="0"/>
                      </a:cubicBezTo>
                      <a:lnTo>
                        <a:pt x="0" y="0"/>
                      </a:lnTo>
                      <a:lnTo>
                        <a:pt x="0" y="263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9" name="Freeform 31"/>
                <p:cNvSpPr>
                  <a:spLocks/>
                </p:cNvSpPr>
                <p:nvPr/>
              </p:nvSpPr>
              <p:spPr bwMode="auto">
                <a:xfrm>
                  <a:off x="2259" y="1348"/>
                  <a:ext cx="16" cy="64"/>
                </a:xfrm>
                <a:custGeom>
                  <a:avLst/>
                  <a:gdLst/>
                  <a:ahLst/>
                  <a:cxnLst>
                    <a:cxn ang="0">
                      <a:pos x="0" y="263"/>
                    </a:cxn>
                    <a:cxn ang="0">
                      <a:pos x="64" y="263"/>
                    </a:cxn>
                    <a:cxn ang="0">
                      <a:pos x="64" y="0"/>
                    </a:cxn>
                    <a:cxn ang="0">
                      <a:pos x="16" y="0"/>
                    </a:cxn>
                    <a:cxn ang="0">
                      <a:pos x="0" y="16"/>
                    </a:cxn>
                    <a:cxn ang="0">
                      <a:pos x="0" y="263"/>
                    </a:cxn>
                  </a:cxnLst>
                  <a:rect l="0" t="0" r="r" b="b"/>
                  <a:pathLst>
                    <a:path w="64" h="263">
                      <a:moveTo>
                        <a:pt x="0" y="263"/>
                      </a:moveTo>
                      <a:lnTo>
                        <a:pt x="64" y="263"/>
                      </a:lnTo>
                      <a:lnTo>
                        <a:pt x="64" y="0"/>
                      </a:lnTo>
                      <a:lnTo>
                        <a:pt x="16" y="0"/>
                      </a:lnTo>
                      <a:cubicBezTo>
                        <a:pt x="8" y="0"/>
                        <a:pt x="0" y="7"/>
                        <a:pt x="0" y="16"/>
                      </a:cubicBezTo>
                      <a:lnTo>
                        <a:pt x="0" y="263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0" name="Rectangle 32"/>
                <p:cNvSpPr>
                  <a:spLocks noChangeArrowheads="1"/>
                </p:cNvSpPr>
                <p:nvPr/>
              </p:nvSpPr>
              <p:spPr bwMode="auto">
                <a:xfrm>
                  <a:off x="2275" y="1912"/>
                  <a:ext cx="18" cy="60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1" name="Rectangle 33"/>
                <p:cNvSpPr>
                  <a:spLocks noChangeArrowheads="1"/>
                </p:cNvSpPr>
                <p:nvPr/>
              </p:nvSpPr>
              <p:spPr bwMode="auto">
                <a:xfrm>
                  <a:off x="2256" y="1912"/>
                  <a:ext cx="19" cy="60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2" name="Rectangle 34"/>
                <p:cNvSpPr>
                  <a:spLocks noChangeArrowheads="1"/>
                </p:cNvSpPr>
                <p:nvPr/>
              </p:nvSpPr>
              <p:spPr bwMode="auto">
                <a:xfrm>
                  <a:off x="2275" y="1868"/>
                  <a:ext cx="15" cy="5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3" name="Rectangle 35"/>
                <p:cNvSpPr>
                  <a:spLocks noChangeArrowheads="1"/>
                </p:cNvSpPr>
                <p:nvPr/>
              </p:nvSpPr>
              <p:spPr bwMode="auto">
                <a:xfrm>
                  <a:off x="2275" y="1972"/>
                  <a:ext cx="11" cy="5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4" name="Rectangle 36"/>
                <p:cNvSpPr>
                  <a:spLocks noChangeArrowheads="1"/>
                </p:cNvSpPr>
                <p:nvPr/>
              </p:nvSpPr>
              <p:spPr bwMode="auto">
                <a:xfrm>
                  <a:off x="2275" y="1986"/>
                  <a:ext cx="2" cy="100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5" name="Rectangle 37"/>
                <p:cNvSpPr>
                  <a:spLocks noChangeArrowheads="1"/>
                </p:cNvSpPr>
                <p:nvPr/>
              </p:nvSpPr>
              <p:spPr bwMode="auto">
                <a:xfrm>
                  <a:off x="2275" y="1907"/>
                  <a:ext cx="15" cy="5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6" name="Rectangle 38"/>
                <p:cNvSpPr>
                  <a:spLocks noChangeArrowheads="1"/>
                </p:cNvSpPr>
                <p:nvPr/>
              </p:nvSpPr>
              <p:spPr bwMode="auto">
                <a:xfrm>
                  <a:off x="2259" y="1868"/>
                  <a:ext cx="16" cy="5"/>
                </a:xfrm>
                <a:prstGeom prst="rect">
                  <a:avLst/>
                </a:prstGeom>
                <a:solidFill>
                  <a:srgbClr val="29292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7" name="Rectangle 39"/>
                <p:cNvSpPr>
                  <a:spLocks noChangeArrowheads="1"/>
                </p:cNvSpPr>
                <p:nvPr/>
              </p:nvSpPr>
              <p:spPr bwMode="auto">
                <a:xfrm>
                  <a:off x="2263" y="1972"/>
                  <a:ext cx="12" cy="5"/>
                </a:xfrm>
                <a:prstGeom prst="rect">
                  <a:avLst/>
                </a:prstGeom>
                <a:solidFill>
                  <a:srgbClr val="29292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8" name="Rectangle 40"/>
                <p:cNvSpPr>
                  <a:spLocks noChangeArrowheads="1"/>
                </p:cNvSpPr>
                <p:nvPr/>
              </p:nvSpPr>
              <p:spPr bwMode="auto">
                <a:xfrm>
                  <a:off x="2272" y="1986"/>
                  <a:ext cx="3" cy="100"/>
                </a:xfrm>
                <a:prstGeom prst="rect">
                  <a:avLst/>
                </a:prstGeom>
                <a:solidFill>
                  <a:srgbClr val="29292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9" name="Rectangle 41"/>
                <p:cNvSpPr>
                  <a:spLocks noChangeArrowheads="1"/>
                </p:cNvSpPr>
                <p:nvPr/>
              </p:nvSpPr>
              <p:spPr bwMode="auto">
                <a:xfrm>
                  <a:off x="2259" y="1907"/>
                  <a:ext cx="16" cy="5"/>
                </a:xfrm>
                <a:prstGeom prst="rect">
                  <a:avLst/>
                </a:prstGeom>
                <a:solidFill>
                  <a:srgbClr val="29292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0" name="Rectangle 42"/>
                <p:cNvSpPr>
                  <a:spLocks noChangeArrowheads="1"/>
                </p:cNvSpPr>
                <p:nvPr/>
              </p:nvSpPr>
              <p:spPr bwMode="auto">
                <a:xfrm>
                  <a:off x="1939" y="1437"/>
                  <a:ext cx="671" cy="406"/>
                </a:xfrm>
                <a:prstGeom prst="rect">
                  <a:avLst/>
                </a:prstGeom>
                <a:solidFill>
                  <a:srgbClr val="F2F2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1" name="Rectangle 43"/>
                <p:cNvSpPr>
                  <a:spLocks noChangeArrowheads="1"/>
                </p:cNvSpPr>
                <p:nvPr/>
              </p:nvSpPr>
              <p:spPr bwMode="auto">
                <a:xfrm>
                  <a:off x="1939" y="1835"/>
                  <a:ext cx="671" cy="8"/>
                </a:xfrm>
                <a:prstGeom prst="rect">
                  <a:avLst/>
                </a:prstGeom>
                <a:solidFill>
                  <a:srgbClr val="CC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2" name="Rectangle 44"/>
                <p:cNvSpPr>
                  <a:spLocks noChangeArrowheads="1"/>
                </p:cNvSpPr>
                <p:nvPr/>
              </p:nvSpPr>
              <p:spPr bwMode="auto">
                <a:xfrm>
                  <a:off x="1939" y="1437"/>
                  <a:ext cx="671" cy="8"/>
                </a:xfrm>
                <a:prstGeom prst="rect">
                  <a:avLst/>
                </a:prstGeom>
                <a:solidFill>
                  <a:srgbClr val="CC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3" name="Freeform 45"/>
                <p:cNvSpPr>
                  <a:spLocks/>
                </p:cNvSpPr>
                <p:nvPr/>
              </p:nvSpPr>
              <p:spPr bwMode="auto">
                <a:xfrm>
                  <a:off x="2037" y="1490"/>
                  <a:ext cx="209" cy="26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61" y="0"/>
                    </a:cxn>
                    <a:cxn ang="0">
                      <a:pos x="861" y="906"/>
                    </a:cxn>
                    <a:cxn ang="0">
                      <a:pos x="692" y="1074"/>
                    </a:cxn>
                    <a:cxn ang="0">
                      <a:pos x="0" y="107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861" h="1074">
                      <a:moveTo>
                        <a:pt x="0" y="0"/>
                      </a:moveTo>
                      <a:lnTo>
                        <a:pt x="861" y="0"/>
                      </a:lnTo>
                      <a:lnTo>
                        <a:pt x="861" y="906"/>
                      </a:lnTo>
                      <a:lnTo>
                        <a:pt x="692" y="1074"/>
                      </a:lnTo>
                      <a:lnTo>
                        <a:pt x="0" y="107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9C5F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4" name="Freeform 46"/>
                <p:cNvSpPr>
                  <a:spLocks/>
                </p:cNvSpPr>
                <p:nvPr/>
              </p:nvSpPr>
              <p:spPr bwMode="auto">
                <a:xfrm>
                  <a:off x="2205" y="1711"/>
                  <a:ext cx="41" cy="41"/>
                </a:xfrm>
                <a:custGeom>
                  <a:avLst/>
                  <a:gdLst/>
                  <a:ahLst/>
                  <a:cxnLst>
                    <a:cxn ang="0">
                      <a:pos x="0" y="168"/>
                    </a:cxn>
                    <a:cxn ang="0">
                      <a:pos x="0" y="0"/>
                    </a:cxn>
                    <a:cxn ang="0">
                      <a:pos x="169" y="0"/>
                    </a:cxn>
                    <a:cxn ang="0">
                      <a:pos x="0" y="168"/>
                    </a:cxn>
                  </a:cxnLst>
                  <a:rect l="0" t="0" r="r" b="b"/>
                  <a:pathLst>
                    <a:path w="169" h="168">
                      <a:moveTo>
                        <a:pt x="0" y="168"/>
                      </a:moveTo>
                      <a:lnTo>
                        <a:pt x="0" y="0"/>
                      </a:lnTo>
                      <a:lnTo>
                        <a:pt x="169" y="0"/>
                      </a:lnTo>
                      <a:lnTo>
                        <a:pt x="0" y="168"/>
                      </a:lnTo>
                      <a:close/>
                    </a:path>
                  </a:pathLst>
                </a:custGeom>
                <a:solidFill>
                  <a:srgbClr val="7391C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5" name="Freeform 47"/>
                <p:cNvSpPr>
                  <a:spLocks/>
                </p:cNvSpPr>
                <p:nvPr/>
              </p:nvSpPr>
              <p:spPr bwMode="auto">
                <a:xfrm>
                  <a:off x="2002" y="1553"/>
                  <a:ext cx="209" cy="26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60" y="0"/>
                    </a:cxn>
                    <a:cxn ang="0">
                      <a:pos x="860" y="906"/>
                    </a:cxn>
                    <a:cxn ang="0">
                      <a:pos x="691" y="1075"/>
                    </a:cxn>
                    <a:cxn ang="0">
                      <a:pos x="0" y="107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860" h="1075">
                      <a:moveTo>
                        <a:pt x="0" y="0"/>
                      </a:moveTo>
                      <a:lnTo>
                        <a:pt x="860" y="0"/>
                      </a:lnTo>
                      <a:lnTo>
                        <a:pt x="860" y="906"/>
                      </a:lnTo>
                      <a:lnTo>
                        <a:pt x="691" y="1075"/>
                      </a:lnTo>
                      <a:lnTo>
                        <a:pt x="0" y="107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6" name="Freeform 48"/>
                <p:cNvSpPr>
                  <a:spLocks/>
                </p:cNvSpPr>
                <p:nvPr/>
              </p:nvSpPr>
              <p:spPr bwMode="auto">
                <a:xfrm>
                  <a:off x="2170" y="1774"/>
                  <a:ext cx="41" cy="42"/>
                </a:xfrm>
                <a:custGeom>
                  <a:avLst/>
                  <a:gdLst/>
                  <a:ahLst/>
                  <a:cxnLst>
                    <a:cxn ang="0">
                      <a:pos x="0" y="169"/>
                    </a:cxn>
                    <a:cxn ang="0">
                      <a:pos x="0" y="0"/>
                    </a:cxn>
                    <a:cxn ang="0">
                      <a:pos x="169" y="0"/>
                    </a:cxn>
                    <a:cxn ang="0">
                      <a:pos x="0" y="169"/>
                    </a:cxn>
                  </a:cxnLst>
                  <a:rect l="0" t="0" r="r" b="b"/>
                  <a:pathLst>
                    <a:path w="169" h="169">
                      <a:moveTo>
                        <a:pt x="0" y="169"/>
                      </a:moveTo>
                      <a:lnTo>
                        <a:pt x="0" y="0"/>
                      </a:lnTo>
                      <a:lnTo>
                        <a:pt x="169" y="0"/>
                      </a:lnTo>
                      <a:lnTo>
                        <a:pt x="0" y="169"/>
                      </a:lnTo>
                      <a:close/>
                    </a:path>
                  </a:pathLst>
                </a:custGeom>
                <a:solidFill>
                  <a:srgbClr val="79A7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7" name="Freeform 49"/>
                <p:cNvSpPr>
                  <a:spLocks/>
                </p:cNvSpPr>
                <p:nvPr/>
              </p:nvSpPr>
              <p:spPr bwMode="auto">
                <a:xfrm>
                  <a:off x="2129" y="1774"/>
                  <a:ext cx="41" cy="42"/>
                </a:xfrm>
                <a:custGeom>
                  <a:avLst/>
                  <a:gdLst/>
                  <a:ahLst/>
                  <a:cxnLst>
                    <a:cxn ang="0">
                      <a:pos x="169" y="0"/>
                    </a:cxn>
                    <a:cxn ang="0">
                      <a:pos x="169" y="169"/>
                    </a:cxn>
                    <a:cxn ang="0">
                      <a:pos x="0" y="169"/>
                    </a:cxn>
                    <a:cxn ang="0">
                      <a:pos x="169" y="0"/>
                    </a:cxn>
                  </a:cxnLst>
                  <a:rect l="0" t="0" r="r" b="b"/>
                  <a:pathLst>
                    <a:path w="169" h="169">
                      <a:moveTo>
                        <a:pt x="169" y="0"/>
                      </a:moveTo>
                      <a:lnTo>
                        <a:pt x="169" y="169"/>
                      </a:lnTo>
                      <a:lnTo>
                        <a:pt x="0" y="169"/>
                      </a:lnTo>
                      <a:lnTo>
                        <a:pt x="169" y="0"/>
                      </a:lnTo>
                      <a:close/>
                    </a:path>
                  </a:pathLst>
                </a:custGeom>
                <a:solidFill>
                  <a:srgbClr val="DEF0F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8" name="Freeform 50"/>
                <p:cNvSpPr>
                  <a:spLocks/>
                </p:cNvSpPr>
                <p:nvPr/>
              </p:nvSpPr>
              <p:spPr bwMode="auto">
                <a:xfrm>
                  <a:off x="2044" y="1604"/>
                  <a:ext cx="122" cy="136"/>
                </a:xfrm>
                <a:custGeom>
                  <a:avLst/>
                  <a:gdLst/>
                  <a:ahLst/>
                  <a:cxnLst>
                    <a:cxn ang="0">
                      <a:pos x="15" y="55"/>
                    </a:cxn>
                    <a:cxn ang="0">
                      <a:pos x="198" y="55"/>
                    </a:cxn>
                    <a:cxn ang="0">
                      <a:pos x="198" y="0"/>
                    </a:cxn>
                    <a:cxn ang="0">
                      <a:pos x="229" y="0"/>
                    </a:cxn>
                    <a:cxn ang="0">
                      <a:pos x="229" y="55"/>
                    </a:cxn>
                    <a:cxn ang="0">
                      <a:pos x="229" y="86"/>
                    </a:cxn>
                    <a:cxn ang="0">
                      <a:pos x="229" y="141"/>
                    </a:cxn>
                    <a:cxn ang="0">
                      <a:pos x="198" y="141"/>
                    </a:cxn>
                    <a:cxn ang="0">
                      <a:pos x="198" y="86"/>
                    </a:cxn>
                    <a:cxn ang="0">
                      <a:pos x="31" y="86"/>
                    </a:cxn>
                    <a:cxn ang="0">
                      <a:pos x="31" y="524"/>
                    </a:cxn>
                    <a:cxn ang="0">
                      <a:pos x="470" y="524"/>
                    </a:cxn>
                    <a:cxn ang="0">
                      <a:pos x="470" y="86"/>
                    </a:cxn>
                    <a:cxn ang="0">
                      <a:pos x="302" y="86"/>
                    </a:cxn>
                    <a:cxn ang="0">
                      <a:pos x="302" y="141"/>
                    </a:cxn>
                    <a:cxn ang="0">
                      <a:pos x="271" y="141"/>
                    </a:cxn>
                    <a:cxn ang="0">
                      <a:pos x="271" y="86"/>
                    </a:cxn>
                    <a:cxn ang="0">
                      <a:pos x="271" y="55"/>
                    </a:cxn>
                    <a:cxn ang="0">
                      <a:pos x="271" y="0"/>
                    </a:cxn>
                    <a:cxn ang="0">
                      <a:pos x="302" y="0"/>
                    </a:cxn>
                    <a:cxn ang="0">
                      <a:pos x="302" y="55"/>
                    </a:cxn>
                    <a:cxn ang="0">
                      <a:pos x="485" y="55"/>
                    </a:cxn>
                    <a:cxn ang="0">
                      <a:pos x="500" y="55"/>
                    </a:cxn>
                    <a:cxn ang="0">
                      <a:pos x="500" y="70"/>
                    </a:cxn>
                    <a:cxn ang="0">
                      <a:pos x="500" y="539"/>
                    </a:cxn>
                    <a:cxn ang="0">
                      <a:pos x="500" y="554"/>
                    </a:cxn>
                    <a:cxn ang="0">
                      <a:pos x="485" y="554"/>
                    </a:cxn>
                    <a:cxn ang="0">
                      <a:pos x="15" y="554"/>
                    </a:cxn>
                    <a:cxn ang="0">
                      <a:pos x="0" y="554"/>
                    </a:cxn>
                    <a:cxn ang="0">
                      <a:pos x="0" y="539"/>
                    </a:cxn>
                    <a:cxn ang="0">
                      <a:pos x="0" y="70"/>
                    </a:cxn>
                    <a:cxn ang="0">
                      <a:pos x="0" y="55"/>
                    </a:cxn>
                    <a:cxn ang="0">
                      <a:pos x="15" y="55"/>
                    </a:cxn>
                  </a:cxnLst>
                  <a:rect l="0" t="0" r="r" b="b"/>
                  <a:pathLst>
                    <a:path w="500" h="554">
                      <a:moveTo>
                        <a:pt x="15" y="55"/>
                      </a:moveTo>
                      <a:lnTo>
                        <a:pt x="198" y="55"/>
                      </a:lnTo>
                      <a:lnTo>
                        <a:pt x="198" y="0"/>
                      </a:lnTo>
                      <a:lnTo>
                        <a:pt x="229" y="0"/>
                      </a:lnTo>
                      <a:lnTo>
                        <a:pt x="229" y="55"/>
                      </a:lnTo>
                      <a:lnTo>
                        <a:pt x="229" y="86"/>
                      </a:lnTo>
                      <a:lnTo>
                        <a:pt x="229" y="141"/>
                      </a:lnTo>
                      <a:lnTo>
                        <a:pt x="198" y="141"/>
                      </a:lnTo>
                      <a:lnTo>
                        <a:pt x="198" y="86"/>
                      </a:lnTo>
                      <a:lnTo>
                        <a:pt x="31" y="86"/>
                      </a:lnTo>
                      <a:lnTo>
                        <a:pt x="31" y="524"/>
                      </a:lnTo>
                      <a:lnTo>
                        <a:pt x="470" y="524"/>
                      </a:lnTo>
                      <a:lnTo>
                        <a:pt x="470" y="86"/>
                      </a:lnTo>
                      <a:lnTo>
                        <a:pt x="302" y="86"/>
                      </a:lnTo>
                      <a:lnTo>
                        <a:pt x="302" y="141"/>
                      </a:lnTo>
                      <a:lnTo>
                        <a:pt x="271" y="141"/>
                      </a:lnTo>
                      <a:lnTo>
                        <a:pt x="271" y="86"/>
                      </a:lnTo>
                      <a:lnTo>
                        <a:pt x="271" y="55"/>
                      </a:lnTo>
                      <a:lnTo>
                        <a:pt x="271" y="0"/>
                      </a:lnTo>
                      <a:lnTo>
                        <a:pt x="302" y="0"/>
                      </a:lnTo>
                      <a:lnTo>
                        <a:pt x="302" y="55"/>
                      </a:lnTo>
                      <a:lnTo>
                        <a:pt x="485" y="55"/>
                      </a:lnTo>
                      <a:lnTo>
                        <a:pt x="500" y="55"/>
                      </a:lnTo>
                      <a:lnTo>
                        <a:pt x="500" y="70"/>
                      </a:lnTo>
                      <a:lnTo>
                        <a:pt x="500" y="539"/>
                      </a:lnTo>
                      <a:lnTo>
                        <a:pt x="500" y="554"/>
                      </a:lnTo>
                      <a:lnTo>
                        <a:pt x="485" y="554"/>
                      </a:lnTo>
                      <a:lnTo>
                        <a:pt x="15" y="554"/>
                      </a:lnTo>
                      <a:lnTo>
                        <a:pt x="0" y="554"/>
                      </a:lnTo>
                      <a:lnTo>
                        <a:pt x="0" y="539"/>
                      </a:lnTo>
                      <a:lnTo>
                        <a:pt x="0" y="70"/>
                      </a:lnTo>
                      <a:lnTo>
                        <a:pt x="0" y="55"/>
                      </a:lnTo>
                      <a:lnTo>
                        <a:pt x="15" y="55"/>
                      </a:lnTo>
                      <a:close/>
                    </a:path>
                  </a:pathLst>
                </a:custGeom>
                <a:solidFill>
                  <a:srgbClr val="79A7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9" name="Rectangle 51"/>
                <p:cNvSpPr>
                  <a:spLocks noChangeArrowheads="1"/>
                </p:cNvSpPr>
                <p:nvPr/>
              </p:nvSpPr>
              <p:spPr bwMode="auto">
                <a:xfrm>
                  <a:off x="2029" y="1648"/>
                  <a:ext cx="37" cy="62"/>
                </a:xfrm>
                <a:prstGeom prst="rect">
                  <a:avLst/>
                </a:prstGeom>
                <a:solidFill>
                  <a:srgbClr val="F4AB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0" name="Rectangle 52"/>
                <p:cNvSpPr>
                  <a:spLocks noChangeArrowheads="1"/>
                </p:cNvSpPr>
                <p:nvPr/>
              </p:nvSpPr>
              <p:spPr bwMode="auto">
                <a:xfrm>
                  <a:off x="2143" y="1648"/>
                  <a:ext cx="37" cy="62"/>
                </a:xfrm>
                <a:prstGeom prst="rect">
                  <a:avLst/>
                </a:prstGeom>
                <a:solidFill>
                  <a:srgbClr val="00ADB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1" name="Rectangle 53"/>
                <p:cNvSpPr>
                  <a:spLocks noChangeArrowheads="1"/>
                </p:cNvSpPr>
                <p:nvPr/>
              </p:nvSpPr>
              <p:spPr bwMode="auto">
                <a:xfrm>
                  <a:off x="2143" y="1648"/>
                  <a:ext cx="19" cy="62"/>
                </a:xfrm>
                <a:prstGeom prst="rect">
                  <a:avLst/>
                </a:prstGeom>
                <a:solidFill>
                  <a:srgbClr val="27D3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2" name="Rectangle 54"/>
                <p:cNvSpPr>
                  <a:spLocks noChangeArrowheads="1"/>
                </p:cNvSpPr>
                <p:nvPr/>
              </p:nvSpPr>
              <p:spPr bwMode="auto">
                <a:xfrm>
                  <a:off x="2048" y="1648"/>
                  <a:ext cx="18" cy="62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3" name="Freeform 55"/>
                <p:cNvSpPr>
                  <a:spLocks/>
                </p:cNvSpPr>
                <p:nvPr/>
              </p:nvSpPr>
              <p:spPr bwMode="auto">
                <a:xfrm>
                  <a:off x="2077" y="1660"/>
                  <a:ext cx="56" cy="53"/>
                </a:xfrm>
                <a:custGeom>
                  <a:avLst/>
                  <a:gdLst/>
                  <a:ahLst/>
                  <a:cxnLst>
                    <a:cxn ang="0">
                      <a:pos x="128" y="149"/>
                    </a:cxn>
                    <a:cxn ang="0">
                      <a:pos x="151" y="182"/>
                    </a:cxn>
                    <a:cxn ang="0">
                      <a:pos x="116" y="217"/>
                    </a:cxn>
                    <a:cxn ang="0">
                      <a:pos x="81" y="182"/>
                    </a:cxn>
                    <a:cxn ang="0">
                      <a:pos x="105" y="149"/>
                    </a:cxn>
                    <a:cxn ang="0">
                      <a:pos x="105" y="120"/>
                    </a:cxn>
                    <a:cxn ang="0">
                      <a:pos x="35" y="120"/>
                    </a:cxn>
                    <a:cxn ang="0">
                      <a:pos x="23" y="120"/>
                    </a:cxn>
                    <a:cxn ang="0">
                      <a:pos x="23" y="108"/>
                    </a:cxn>
                    <a:cxn ang="0">
                      <a:pos x="23" y="68"/>
                    </a:cxn>
                    <a:cxn ang="0">
                      <a:pos x="0" y="35"/>
                    </a:cxn>
                    <a:cxn ang="0">
                      <a:pos x="35" y="0"/>
                    </a:cxn>
                    <a:cxn ang="0">
                      <a:pos x="69" y="35"/>
                    </a:cxn>
                    <a:cxn ang="0">
                      <a:pos x="46" y="68"/>
                    </a:cxn>
                    <a:cxn ang="0">
                      <a:pos x="46" y="97"/>
                    </a:cxn>
                    <a:cxn ang="0">
                      <a:pos x="186" y="97"/>
                    </a:cxn>
                    <a:cxn ang="0">
                      <a:pos x="186" y="68"/>
                    </a:cxn>
                    <a:cxn ang="0">
                      <a:pos x="163" y="35"/>
                    </a:cxn>
                    <a:cxn ang="0">
                      <a:pos x="198" y="0"/>
                    </a:cxn>
                    <a:cxn ang="0">
                      <a:pos x="233" y="35"/>
                    </a:cxn>
                    <a:cxn ang="0">
                      <a:pos x="209" y="68"/>
                    </a:cxn>
                    <a:cxn ang="0">
                      <a:pos x="209" y="108"/>
                    </a:cxn>
                    <a:cxn ang="0">
                      <a:pos x="209" y="120"/>
                    </a:cxn>
                    <a:cxn ang="0">
                      <a:pos x="198" y="120"/>
                    </a:cxn>
                    <a:cxn ang="0">
                      <a:pos x="128" y="120"/>
                    </a:cxn>
                    <a:cxn ang="0">
                      <a:pos x="128" y="149"/>
                    </a:cxn>
                  </a:cxnLst>
                  <a:rect l="0" t="0" r="r" b="b"/>
                  <a:pathLst>
                    <a:path w="233" h="217">
                      <a:moveTo>
                        <a:pt x="128" y="149"/>
                      </a:moveTo>
                      <a:cubicBezTo>
                        <a:pt x="141" y="154"/>
                        <a:pt x="151" y="167"/>
                        <a:pt x="151" y="182"/>
                      </a:cubicBezTo>
                      <a:cubicBezTo>
                        <a:pt x="151" y="201"/>
                        <a:pt x="135" y="217"/>
                        <a:pt x="116" y="217"/>
                      </a:cubicBezTo>
                      <a:cubicBezTo>
                        <a:pt x="97" y="217"/>
                        <a:pt x="81" y="201"/>
                        <a:pt x="81" y="182"/>
                      </a:cubicBezTo>
                      <a:cubicBezTo>
                        <a:pt x="81" y="167"/>
                        <a:pt x="91" y="154"/>
                        <a:pt x="105" y="149"/>
                      </a:cubicBezTo>
                      <a:lnTo>
                        <a:pt x="105" y="120"/>
                      </a:lnTo>
                      <a:lnTo>
                        <a:pt x="35" y="120"/>
                      </a:lnTo>
                      <a:lnTo>
                        <a:pt x="23" y="120"/>
                      </a:lnTo>
                      <a:lnTo>
                        <a:pt x="23" y="108"/>
                      </a:lnTo>
                      <a:lnTo>
                        <a:pt x="23" y="68"/>
                      </a:lnTo>
                      <a:cubicBezTo>
                        <a:pt x="10" y="63"/>
                        <a:pt x="0" y="50"/>
                        <a:pt x="0" y="35"/>
                      </a:cubicBezTo>
                      <a:cubicBezTo>
                        <a:pt x="0" y="16"/>
                        <a:pt x="15" y="0"/>
                        <a:pt x="35" y="0"/>
                      </a:cubicBezTo>
                      <a:cubicBezTo>
                        <a:pt x="54" y="0"/>
                        <a:pt x="69" y="16"/>
                        <a:pt x="69" y="35"/>
                      </a:cubicBezTo>
                      <a:cubicBezTo>
                        <a:pt x="69" y="50"/>
                        <a:pt x="60" y="63"/>
                        <a:pt x="46" y="68"/>
                      </a:cubicBezTo>
                      <a:lnTo>
                        <a:pt x="46" y="97"/>
                      </a:lnTo>
                      <a:lnTo>
                        <a:pt x="186" y="97"/>
                      </a:lnTo>
                      <a:lnTo>
                        <a:pt x="186" y="68"/>
                      </a:lnTo>
                      <a:cubicBezTo>
                        <a:pt x="173" y="63"/>
                        <a:pt x="163" y="50"/>
                        <a:pt x="163" y="35"/>
                      </a:cubicBezTo>
                      <a:cubicBezTo>
                        <a:pt x="163" y="16"/>
                        <a:pt x="179" y="0"/>
                        <a:pt x="198" y="0"/>
                      </a:cubicBezTo>
                      <a:cubicBezTo>
                        <a:pt x="217" y="0"/>
                        <a:pt x="233" y="16"/>
                        <a:pt x="233" y="35"/>
                      </a:cubicBezTo>
                      <a:cubicBezTo>
                        <a:pt x="233" y="50"/>
                        <a:pt x="223" y="63"/>
                        <a:pt x="209" y="68"/>
                      </a:cubicBezTo>
                      <a:lnTo>
                        <a:pt x="209" y="108"/>
                      </a:lnTo>
                      <a:lnTo>
                        <a:pt x="209" y="120"/>
                      </a:lnTo>
                      <a:lnTo>
                        <a:pt x="198" y="120"/>
                      </a:lnTo>
                      <a:lnTo>
                        <a:pt x="128" y="120"/>
                      </a:lnTo>
                      <a:lnTo>
                        <a:pt x="128" y="149"/>
                      </a:lnTo>
                      <a:close/>
                    </a:path>
                  </a:pathLst>
                </a:custGeom>
                <a:solidFill>
                  <a:srgbClr val="79A7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4" name="Freeform 56"/>
                <p:cNvSpPr>
                  <a:spLocks noEditPoints="1"/>
                </p:cNvSpPr>
                <p:nvPr/>
              </p:nvSpPr>
              <p:spPr bwMode="auto">
                <a:xfrm>
                  <a:off x="2036" y="1666"/>
                  <a:ext cx="23" cy="25"/>
                </a:xfrm>
                <a:custGeom>
                  <a:avLst/>
                  <a:gdLst/>
                  <a:ahLst/>
                  <a:cxnLst>
                    <a:cxn ang="0">
                      <a:pos x="94" y="105"/>
                    </a:cxn>
                    <a:cxn ang="0">
                      <a:pos x="58" y="105"/>
                    </a:cxn>
                    <a:cxn ang="0">
                      <a:pos x="43" y="65"/>
                    </a:cxn>
                    <a:cxn ang="0">
                      <a:pos x="33" y="65"/>
                    </a:cxn>
                    <a:cxn ang="0">
                      <a:pos x="33" y="105"/>
                    </a:cxn>
                    <a:cxn ang="0">
                      <a:pos x="0" y="105"/>
                    </a:cxn>
                    <a:cxn ang="0">
                      <a:pos x="0" y="0"/>
                    </a:cxn>
                    <a:cxn ang="0">
                      <a:pos x="55" y="0"/>
                    </a:cxn>
                    <a:cxn ang="0">
                      <a:pos x="84" y="8"/>
                    </a:cxn>
                    <a:cxn ang="0">
                      <a:pos x="94" y="31"/>
                    </a:cxn>
                    <a:cxn ang="0">
                      <a:pos x="90" y="47"/>
                    </a:cxn>
                    <a:cxn ang="0">
                      <a:pos x="75" y="59"/>
                    </a:cxn>
                    <a:cxn ang="0">
                      <a:pos x="94" y="105"/>
                    </a:cxn>
                    <a:cxn ang="0">
                      <a:pos x="33" y="42"/>
                    </a:cxn>
                    <a:cxn ang="0">
                      <a:pos x="47" y="42"/>
                    </a:cxn>
                    <a:cxn ang="0">
                      <a:pos x="56" y="40"/>
                    </a:cxn>
                    <a:cxn ang="0">
                      <a:pos x="60" y="32"/>
                    </a:cxn>
                    <a:cxn ang="0">
                      <a:pos x="48" y="22"/>
                    </a:cxn>
                    <a:cxn ang="0">
                      <a:pos x="33" y="22"/>
                    </a:cxn>
                    <a:cxn ang="0">
                      <a:pos x="33" y="42"/>
                    </a:cxn>
                  </a:cxnLst>
                  <a:rect l="0" t="0" r="r" b="b"/>
                  <a:pathLst>
                    <a:path w="94" h="105">
                      <a:moveTo>
                        <a:pt x="94" y="105"/>
                      </a:moveTo>
                      <a:lnTo>
                        <a:pt x="58" y="105"/>
                      </a:lnTo>
                      <a:lnTo>
                        <a:pt x="43" y="65"/>
                      </a:lnTo>
                      <a:lnTo>
                        <a:pt x="33" y="65"/>
                      </a:lnTo>
                      <a:lnTo>
                        <a:pt x="33" y="105"/>
                      </a:lnTo>
                      <a:lnTo>
                        <a:pt x="0" y="105"/>
                      </a:lnTo>
                      <a:lnTo>
                        <a:pt x="0" y="0"/>
                      </a:lnTo>
                      <a:lnTo>
                        <a:pt x="55" y="0"/>
                      </a:lnTo>
                      <a:cubicBezTo>
                        <a:pt x="68" y="0"/>
                        <a:pt x="77" y="3"/>
                        <a:pt x="84" y="8"/>
                      </a:cubicBezTo>
                      <a:cubicBezTo>
                        <a:pt x="91" y="14"/>
                        <a:pt x="94" y="22"/>
                        <a:pt x="94" y="31"/>
                      </a:cubicBezTo>
                      <a:cubicBezTo>
                        <a:pt x="94" y="37"/>
                        <a:pt x="93" y="42"/>
                        <a:pt x="90" y="47"/>
                      </a:cubicBezTo>
                      <a:cubicBezTo>
                        <a:pt x="88" y="52"/>
                        <a:pt x="83" y="56"/>
                        <a:pt x="75" y="59"/>
                      </a:cubicBezTo>
                      <a:lnTo>
                        <a:pt x="94" y="105"/>
                      </a:lnTo>
                      <a:close/>
                      <a:moveTo>
                        <a:pt x="33" y="42"/>
                      </a:moveTo>
                      <a:lnTo>
                        <a:pt x="47" y="42"/>
                      </a:lnTo>
                      <a:cubicBezTo>
                        <a:pt x="51" y="42"/>
                        <a:pt x="54" y="42"/>
                        <a:pt x="56" y="40"/>
                      </a:cubicBezTo>
                      <a:cubicBezTo>
                        <a:pt x="59" y="38"/>
                        <a:pt x="60" y="36"/>
                        <a:pt x="60" y="32"/>
                      </a:cubicBezTo>
                      <a:cubicBezTo>
                        <a:pt x="60" y="26"/>
                        <a:pt x="56" y="22"/>
                        <a:pt x="48" y="22"/>
                      </a:cubicBezTo>
                      <a:lnTo>
                        <a:pt x="33" y="22"/>
                      </a:lnTo>
                      <a:lnTo>
                        <a:pt x="33" y="4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5" name="Freeform 57"/>
                <p:cNvSpPr>
                  <a:spLocks noEditPoints="1"/>
                </p:cNvSpPr>
                <p:nvPr/>
              </p:nvSpPr>
              <p:spPr bwMode="auto">
                <a:xfrm>
                  <a:off x="2150" y="1666"/>
                  <a:ext cx="23" cy="25"/>
                </a:xfrm>
                <a:custGeom>
                  <a:avLst/>
                  <a:gdLst/>
                  <a:ahLst/>
                  <a:cxnLst>
                    <a:cxn ang="0">
                      <a:pos x="94" y="105"/>
                    </a:cxn>
                    <a:cxn ang="0">
                      <a:pos x="58" y="105"/>
                    </a:cxn>
                    <a:cxn ang="0">
                      <a:pos x="43" y="65"/>
                    </a:cxn>
                    <a:cxn ang="0">
                      <a:pos x="32" y="65"/>
                    </a:cxn>
                    <a:cxn ang="0">
                      <a:pos x="32" y="105"/>
                    </a:cxn>
                    <a:cxn ang="0">
                      <a:pos x="0" y="105"/>
                    </a:cxn>
                    <a:cxn ang="0">
                      <a:pos x="0" y="0"/>
                    </a:cxn>
                    <a:cxn ang="0">
                      <a:pos x="55" y="0"/>
                    </a:cxn>
                    <a:cxn ang="0">
                      <a:pos x="83" y="8"/>
                    </a:cxn>
                    <a:cxn ang="0">
                      <a:pos x="94" y="31"/>
                    </a:cxn>
                    <a:cxn ang="0">
                      <a:pos x="90" y="47"/>
                    </a:cxn>
                    <a:cxn ang="0">
                      <a:pos x="75" y="59"/>
                    </a:cxn>
                    <a:cxn ang="0">
                      <a:pos x="94" y="105"/>
                    </a:cxn>
                    <a:cxn ang="0">
                      <a:pos x="32" y="42"/>
                    </a:cxn>
                    <a:cxn ang="0">
                      <a:pos x="46" y="42"/>
                    </a:cxn>
                    <a:cxn ang="0">
                      <a:pos x="56" y="40"/>
                    </a:cxn>
                    <a:cxn ang="0">
                      <a:pos x="60" y="32"/>
                    </a:cxn>
                    <a:cxn ang="0">
                      <a:pos x="47" y="22"/>
                    </a:cxn>
                    <a:cxn ang="0">
                      <a:pos x="32" y="22"/>
                    </a:cxn>
                    <a:cxn ang="0">
                      <a:pos x="32" y="42"/>
                    </a:cxn>
                  </a:cxnLst>
                  <a:rect l="0" t="0" r="r" b="b"/>
                  <a:pathLst>
                    <a:path w="94" h="105">
                      <a:moveTo>
                        <a:pt x="94" y="105"/>
                      </a:moveTo>
                      <a:lnTo>
                        <a:pt x="58" y="105"/>
                      </a:lnTo>
                      <a:lnTo>
                        <a:pt x="43" y="65"/>
                      </a:lnTo>
                      <a:lnTo>
                        <a:pt x="32" y="65"/>
                      </a:lnTo>
                      <a:lnTo>
                        <a:pt x="32" y="105"/>
                      </a:lnTo>
                      <a:lnTo>
                        <a:pt x="0" y="105"/>
                      </a:lnTo>
                      <a:lnTo>
                        <a:pt x="0" y="0"/>
                      </a:lnTo>
                      <a:lnTo>
                        <a:pt x="55" y="0"/>
                      </a:lnTo>
                      <a:cubicBezTo>
                        <a:pt x="67" y="0"/>
                        <a:pt x="77" y="3"/>
                        <a:pt x="83" y="8"/>
                      </a:cubicBezTo>
                      <a:cubicBezTo>
                        <a:pt x="90" y="14"/>
                        <a:pt x="94" y="22"/>
                        <a:pt x="94" y="31"/>
                      </a:cubicBezTo>
                      <a:cubicBezTo>
                        <a:pt x="94" y="37"/>
                        <a:pt x="92" y="42"/>
                        <a:pt x="90" y="47"/>
                      </a:cubicBezTo>
                      <a:cubicBezTo>
                        <a:pt x="87" y="52"/>
                        <a:pt x="82" y="56"/>
                        <a:pt x="75" y="59"/>
                      </a:cubicBezTo>
                      <a:lnTo>
                        <a:pt x="94" y="105"/>
                      </a:lnTo>
                      <a:close/>
                      <a:moveTo>
                        <a:pt x="32" y="42"/>
                      </a:moveTo>
                      <a:lnTo>
                        <a:pt x="46" y="42"/>
                      </a:lnTo>
                      <a:cubicBezTo>
                        <a:pt x="50" y="42"/>
                        <a:pt x="54" y="42"/>
                        <a:pt x="56" y="40"/>
                      </a:cubicBezTo>
                      <a:cubicBezTo>
                        <a:pt x="59" y="38"/>
                        <a:pt x="60" y="36"/>
                        <a:pt x="60" y="32"/>
                      </a:cubicBezTo>
                      <a:cubicBezTo>
                        <a:pt x="60" y="26"/>
                        <a:pt x="56" y="22"/>
                        <a:pt x="47" y="22"/>
                      </a:cubicBezTo>
                      <a:lnTo>
                        <a:pt x="32" y="22"/>
                      </a:lnTo>
                      <a:lnTo>
                        <a:pt x="32" y="4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6" name="Freeform 58"/>
                <p:cNvSpPr>
                  <a:spLocks/>
                </p:cNvSpPr>
                <p:nvPr/>
              </p:nvSpPr>
              <p:spPr bwMode="auto">
                <a:xfrm>
                  <a:off x="2371" y="1501"/>
                  <a:ext cx="65" cy="121"/>
                </a:xfrm>
                <a:custGeom>
                  <a:avLst/>
                  <a:gdLst/>
                  <a:ahLst/>
                  <a:cxnLst>
                    <a:cxn ang="0">
                      <a:pos x="90" y="494"/>
                    </a:cxn>
                    <a:cxn ang="0">
                      <a:pos x="0" y="286"/>
                    </a:cxn>
                    <a:cxn ang="0">
                      <a:pos x="267" y="0"/>
                    </a:cxn>
                    <a:cxn ang="0">
                      <a:pos x="267" y="127"/>
                    </a:cxn>
                    <a:cxn ang="0">
                      <a:pos x="127" y="286"/>
                    </a:cxn>
                    <a:cxn ang="0">
                      <a:pos x="171" y="396"/>
                    </a:cxn>
                    <a:cxn ang="0">
                      <a:pos x="90" y="494"/>
                    </a:cxn>
                  </a:cxnLst>
                  <a:rect l="0" t="0" r="r" b="b"/>
                  <a:pathLst>
                    <a:path w="267" h="494">
                      <a:moveTo>
                        <a:pt x="90" y="494"/>
                      </a:moveTo>
                      <a:cubicBezTo>
                        <a:pt x="35" y="442"/>
                        <a:pt x="0" y="368"/>
                        <a:pt x="0" y="286"/>
                      </a:cubicBezTo>
                      <a:cubicBezTo>
                        <a:pt x="0" y="134"/>
                        <a:pt x="118" y="9"/>
                        <a:pt x="267" y="0"/>
                      </a:cubicBezTo>
                      <a:lnTo>
                        <a:pt x="267" y="127"/>
                      </a:lnTo>
                      <a:cubicBezTo>
                        <a:pt x="188" y="137"/>
                        <a:pt x="127" y="204"/>
                        <a:pt x="127" y="286"/>
                      </a:cubicBezTo>
                      <a:cubicBezTo>
                        <a:pt x="127" y="328"/>
                        <a:pt x="144" y="367"/>
                        <a:pt x="171" y="396"/>
                      </a:cubicBezTo>
                      <a:lnTo>
                        <a:pt x="90" y="494"/>
                      </a:lnTo>
                      <a:close/>
                    </a:path>
                  </a:pathLst>
                </a:custGeom>
                <a:solidFill>
                  <a:srgbClr val="6C87B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7" name="Freeform 59"/>
                <p:cNvSpPr>
                  <a:spLocks/>
                </p:cNvSpPr>
                <p:nvPr/>
              </p:nvSpPr>
              <p:spPr bwMode="auto">
                <a:xfrm>
                  <a:off x="2452" y="1561"/>
                  <a:ext cx="58" cy="78"/>
                </a:xfrm>
                <a:custGeom>
                  <a:avLst/>
                  <a:gdLst/>
                  <a:ahLst/>
                  <a:cxnLst>
                    <a:cxn ang="0">
                      <a:pos x="237" y="0"/>
                    </a:cxn>
                    <a:cxn ang="0">
                      <a:pos x="240" y="42"/>
                    </a:cxn>
                    <a:cxn ang="0">
                      <a:pos x="22" y="320"/>
                    </a:cxn>
                    <a:cxn ang="0">
                      <a:pos x="0" y="194"/>
                    </a:cxn>
                    <a:cxn ang="0">
                      <a:pos x="113" y="42"/>
                    </a:cxn>
                    <a:cxn ang="0">
                      <a:pos x="112" y="27"/>
                    </a:cxn>
                    <a:cxn ang="0">
                      <a:pos x="237" y="0"/>
                    </a:cxn>
                  </a:cxnLst>
                  <a:rect l="0" t="0" r="r" b="b"/>
                  <a:pathLst>
                    <a:path w="240" h="320">
                      <a:moveTo>
                        <a:pt x="237" y="0"/>
                      </a:moveTo>
                      <a:cubicBezTo>
                        <a:pt x="239" y="14"/>
                        <a:pt x="240" y="27"/>
                        <a:pt x="240" y="42"/>
                      </a:cubicBezTo>
                      <a:cubicBezTo>
                        <a:pt x="240" y="176"/>
                        <a:pt x="147" y="289"/>
                        <a:pt x="22" y="320"/>
                      </a:cubicBezTo>
                      <a:lnTo>
                        <a:pt x="0" y="194"/>
                      </a:lnTo>
                      <a:cubicBezTo>
                        <a:pt x="65" y="174"/>
                        <a:pt x="113" y="113"/>
                        <a:pt x="113" y="42"/>
                      </a:cubicBezTo>
                      <a:cubicBezTo>
                        <a:pt x="113" y="37"/>
                        <a:pt x="113" y="32"/>
                        <a:pt x="112" y="27"/>
                      </a:cubicBezTo>
                      <a:lnTo>
                        <a:pt x="237" y="0"/>
                      </a:lnTo>
                      <a:close/>
                    </a:path>
                  </a:pathLst>
                </a:custGeom>
                <a:solidFill>
                  <a:srgbClr val="30394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8" name="Freeform 60"/>
                <p:cNvSpPr>
                  <a:spLocks/>
                </p:cNvSpPr>
                <p:nvPr/>
              </p:nvSpPr>
              <p:spPr bwMode="auto">
                <a:xfrm>
                  <a:off x="2400" y="1604"/>
                  <a:ext cx="49" cy="37"/>
                </a:xfrm>
                <a:custGeom>
                  <a:avLst/>
                  <a:gdLst/>
                  <a:ahLst/>
                  <a:cxnLst>
                    <a:cxn ang="0">
                      <a:pos x="198" y="151"/>
                    </a:cxn>
                    <a:cxn ang="0">
                      <a:pos x="167" y="152"/>
                    </a:cxn>
                    <a:cxn ang="0">
                      <a:pos x="0" y="99"/>
                    </a:cxn>
                    <a:cxn ang="0">
                      <a:pos x="81" y="0"/>
                    </a:cxn>
                    <a:cxn ang="0">
                      <a:pos x="167" y="25"/>
                    </a:cxn>
                    <a:cxn ang="0">
                      <a:pos x="175" y="25"/>
                    </a:cxn>
                    <a:cxn ang="0">
                      <a:pos x="198" y="151"/>
                    </a:cxn>
                  </a:cxnLst>
                  <a:rect l="0" t="0" r="r" b="b"/>
                  <a:pathLst>
                    <a:path w="198" h="152">
                      <a:moveTo>
                        <a:pt x="198" y="151"/>
                      </a:moveTo>
                      <a:cubicBezTo>
                        <a:pt x="187" y="152"/>
                        <a:pt x="177" y="152"/>
                        <a:pt x="167" y="152"/>
                      </a:cubicBezTo>
                      <a:cubicBezTo>
                        <a:pt x="104" y="152"/>
                        <a:pt x="47" y="132"/>
                        <a:pt x="0" y="99"/>
                      </a:cubicBezTo>
                      <a:lnTo>
                        <a:pt x="81" y="0"/>
                      </a:lnTo>
                      <a:cubicBezTo>
                        <a:pt x="106" y="16"/>
                        <a:pt x="135" y="25"/>
                        <a:pt x="167" y="25"/>
                      </a:cubicBezTo>
                      <a:cubicBezTo>
                        <a:pt x="170" y="25"/>
                        <a:pt x="172" y="25"/>
                        <a:pt x="175" y="25"/>
                      </a:cubicBezTo>
                      <a:lnTo>
                        <a:pt x="198" y="151"/>
                      </a:lnTo>
                      <a:close/>
                    </a:path>
                  </a:pathLst>
                </a:custGeom>
                <a:solidFill>
                  <a:srgbClr val="2184A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9" name="Freeform 61"/>
                <p:cNvSpPr>
                  <a:spLocks/>
                </p:cNvSpPr>
                <p:nvPr/>
              </p:nvSpPr>
              <p:spPr bwMode="auto">
                <a:xfrm>
                  <a:off x="2446" y="1501"/>
                  <a:ext cx="62" cy="57"/>
                </a:xfrm>
                <a:custGeom>
                  <a:avLst/>
                  <a:gdLst/>
                  <a:ahLst/>
                  <a:cxnLst>
                    <a:cxn ang="0">
                      <a:pos x="0" y="127"/>
                    </a:cxn>
                    <a:cxn ang="0">
                      <a:pos x="131" y="234"/>
                    </a:cxn>
                    <a:cxn ang="0">
                      <a:pos x="256" y="207"/>
                    </a:cxn>
                    <a:cxn ang="0">
                      <a:pos x="0" y="0"/>
                    </a:cxn>
                    <a:cxn ang="0">
                      <a:pos x="0" y="127"/>
                    </a:cxn>
                  </a:cxnLst>
                  <a:rect l="0" t="0" r="r" b="b"/>
                  <a:pathLst>
                    <a:path w="256" h="234">
                      <a:moveTo>
                        <a:pt x="0" y="127"/>
                      </a:moveTo>
                      <a:cubicBezTo>
                        <a:pt x="61" y="135"/>
                        <a:pt x="112" y="177"/>
                        <a:pt x="131" y="234"/>
                      </a:cubicBezTo>
                      <a:lnTo>
                        <a:pt x="256" y="207"/>
                      </a:lnTo>
                      <a:cubicBezTo>
                        <a:pt x="224" y="93"/>
                        <a:pt x="122" y="8"/>
                        <a:pt x="0" y="0"/>
                      </a:cubicBez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27D3D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0" name="Rectangle 62"/>
                <p:cNvSpPr>
                  <a:spLocks noChangeArrowheads="1"/>
                </p:cNvSpPr>
                <p:nvPr/>
              </p:nvSpPr>
              <p:spPr bwMode="auto">
                <a:xfrm>
                  <a:off x="2351" y="1698"/>
                  <a:ext cx="13" cy="80"/>
                </a:xfrm>
                <a:prstGeom prst="rect">
                  <a:avLst/>
                </a:prstGeom>
                <a:solidFill>
                  <a:srgbClr val="F4AB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1" name="Rectangle 63"/>
                <p:cNvSpPr>
                  <a:spLocks noChangeArrowheads="1"/>
                </p:cNvSpPr>
                <p:nvPr/>
              </p:nvSpPr>
              <p:spPr bwMode="auto">
                <a:xfrm>
                  <a:off x="2377" y="1721"/>
                  <a:ext cx="13" cy="57"/>
                </a:xfrm>
                <a:prstGeom prst="rect">
                  <a:avLst/>
                </a:prstGeom>
                <a:solidFill>
                  <a:srgbClr val="F4AB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2" name="Rectangle 64"/>
                <p:cNvSpPr>
                  <a:spLocks noChangeArrowheads="1"/>
                </p:cNvSpPr>
                <p:nvPr/>
              </p:nvSpPr>
              <p:spPr bwMode="auto">
                <a:xfrm>
                  <a:off x="2403" y="1682"/>
                  <a:ext cx="13" cy="96"/>
                </a:xfrm>
                <a:prstGeom prst="rect">
                  <a:avLst/>
                </a:prstGeom>
                <a:solidFill>
                  <a:srgbClr val="F4AB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3" name="Rectangle 65"/>
                <p:cNvSpPr>
                  <a:spLocks noChangeArrowheads="1"/>
                </p:cNvSpPr>
                <p:nvPr/>
              </p:nvSpPr>
              <p:spPr bwMode="auto">
                <a:xfrm>
                  <a:off x="2429" y="1698"/>
                  <a:ext cx="12" cy="80"/>
                </a:xfrm>
                <a:prstGeom prst="rect">
                  <a:avLst/>
                </a:prstGeom>
                <a:solidFill>
                  <a:srgbClr val="F4AB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4" name="Rectangle 66"/>
                <p:cNvSpPr>
                  <a:spLocks noChangeArrowheads="1"/>
                </p:cNvSpPr>
                <p:nvPr/>
              </p:nvSpPr>
              <p:spPr bwMode="auto">
                <a:xfrm>
                  <a:off x="2455" y="1691"/>
                  <a:ext cx="12" cy="87"/>
                </a:xfrm>
                <a:prstGeom prst="rect">
                  <a:avLst/>
                </a:prstGeom>
                <a:solidFill>
                  <a:srgbClr val="F4AB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5" name="Rectangle 67"/>
                <p:cNvSpPr>
                  <a:spLocks noChangeArrowheads="1"/>
                </p:cNvSpPr>
                <p:nvPr/>
              </p:nvSpPr>
              <p:spPr bwMode="auto">
                <a:xfrm>
                  <a:off x="2480" y="1680"/>
                  <a:ext cx="13" cy="98"/>
                </a:xfrm>
                <a:prstGeom prst="rect">
                  <a:avLst/>
                </a:prstGeom>
                <a:solidFill>
                  <a:srgbClr val="F4AB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6" name="Rectangle 68"/>
                <p:cNvSpPr>
                  <a:spLocks noChangeArrowheads="1"/>
                </p:cNvSpPr>
                <p:nvPr/>
              </p:nvSpPr>
              <p:spPr bwMode="auto">
                <a:xfrm>
                  <a:off x="2506" y="1641"/>
                  <a:ext cx="13" cy="137"/>
                </a:xfrm>
                <a:prstGeom prst="rect">
                  <a:avLst/>
                </a:prstGeom>
                <a:solidFill>
                  <a:srgbClr val="F4AB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7" name="Rectangle 69"/>
                <p:cNvSpPr>
                  <a:spLocks noChangeArrowheads="1"/>
                </p:cNvSpPr>
                <p:nvPr/>
              </p:nvSpPr>
              <p:spPr bwMode="auto">
                <a:xfrm>
                  <a:off x="2532" y="1685"/>
                  <a:ext cx="13" cy="93"/>
                </a:xfrm>
                <a:prstGeom prst="rect">
                  <a:avLst/>
                </a:prstGeom>
                <a:solidFill>
                  <a:srgbClr val="F4AB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8" name="Rectangle 70"/>
                <p:cNvSpPr>
                  <a:spLocks noChangeArrowheads="1"/>
                </p:cNvSpPr>
                <p:nvPr/>
              </p:nvSpPr>
              <p:spPr bwMode="auto">
                <a:xfrm>
                  <a:off x="2351" y="1721"/>
                  <a:ext cx="13" cy="57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9" name="Rectangle 71"/>
                <p:cNvSpPr>
                  <a:spLocks noChangeArrowheads="1"/>
                </p:cNvSpPr>
                <p:nvPr/>
              </p:nvSpPr>
              <p:spPr bwMode="auto">
                <a:xfrm>
                  <a:off x="2377" y="1721"/>
                  <a:ext cx="13" cy="57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0" name="Rectangle 72"/>
                <p:cNvSpPr>
                  <a:spLocks noChangeArrowheads="1"/>
                </p:cNvSpPr>
                <p:nvPr/>
              </p:nvSpPr>
              <p:spPr bwMode="auto">
                <a:xfrm>
                  <a:off x="2403" y="1721"/>
                  <a:ext cx="13" cy="57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1" name="Rectangle 73"/>
                <p:cNvSpPr>
                  <a:spLocks noChangeArrowheads="1"/>
                </p:cNvSpPr>
                <p:nvPr/>
              </p:nvSpPr>
              <p:spPr bwMode="auto">
                <a:xfrm>
                  <a:off x="2429" y="1721"/>
                  <a:ext cx="12" cy="57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2" name="Rectangle 74"/>
                <p:cNvSpPr>
                  <a:spLocks noChangeArrowheads="1"/>
                </p:cNvSpPr>
                <p:nvPr/>
              </p:nvSpPr>
              <p:spPr bwMode="auto">
                <a:xfrm>
                  <a:off x="2455" y="1721"/>
                  <a:ext cx="12" cy="57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3" name="Rectangle 75"/>
                <p:cNvSpPr>
                  <a:spLocks noChangeArrowheads="1"/>
                </p:cNvSpPr>
                <p:nvPr/>
              </p:nvSpPr>
              <p:spPr bwMode="auto">
                <a:xfrm>
                  <a:off x="2480" y="1721"/>
                  <a:ext cx="13" cy="57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4" name="Rectangle 76"/>
                <p:cNvSpPr>
                  <a:spLocks noChangeArrowheads="1"/>
                </p:cNvSpPr>
                <p:nvPr/>
              </p:nvSpPr>
              <p:spPr bwMode="auto">
                <a:xfrm>
                  <a:off x="2506" y="1721"/>
                  <a:ext cx="13" cy="57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5" name="Rectangle 77"/>
                <p:cNvSpPr>
                  <a:spLocks noChangeArrowheads="1"/>
                </p:cNvSpPr>
                <p:nvPr/>
              </p:nvSpPr>
              <p:spPr bwMode="auto">
                <a:xfrm>
                  <a:off x="2532" y="1721"/>
                  <a:ext cx="13" cy="57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6" name="Rectangle 78"/>
                <p:cNvSpPr>
                  <a:spLocks noChangeArrowheads="1"/>
                </p:cNvSpPr>
                <p:nvPr/>
              </p:nvSpPr>
              <p:spPr bwMode="auto">
                <a:xfrm>
                  <a:off x="1691" y="2009"/>
                  <a:ext cx="274" cy="86"/>
                </a:xfrm>
                <a:prstGeom prst="rect">
                  <a:avLst/>
                </a:prstGeom>
                <a:solidFill>
                  <a:srgbClr val="FFEA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7" name="Rectangle 79"/>
                <p:cNvSpPr>
                  <a:spLocks noChangeArrowheads="1"/>
                </p:cNvSpPr>
                <p:nvPr/>
              </p:nvSpPr>
              <p:spPr bwMode="auto">
                <a:xfrm>
                  <a:off x="1908" y="2095"/>
                  <a:ext cx="35" cy="29"/>
                </a:xfrm>
                <a:prstGeom prst="rect">
                  <a:avLst/>
                </a:prstGeom>
                <a:solidFill>
                  <a:srgbClr val="000A9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8" name="Rectangle 80"/>
                <p:cNvSpPr>
                  <a:spLocks noChangeArrowheads="1"/>
                </p:cNvSpPr>
                <p:nvPr/>
              </p:nvSpPr>
              <p:spPr bwMode="auto">
                <a:xfrm>
                  <a:off x="1712" y="2095"/>
                  <a:ext cx="36" cy="29"/>
                </a:xfrm>
                <a:prstGeom prst="rect">
                  <a:avLst/>
                </a:prstGeom>
                <a:solidFill>
                  <a:srgbClr val="43505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9" name="Rectangle 81"/>
                <p:cNvSpPr>
                  <a:spLocks noChangeArrowheads="1"/>
                </p:cNvSpPr>
                <p:nvPr/>
              </p:nvSpPr>
              <p:spPr bwMode="auto">
                <a:xfrm>
                  <a:off x="1775" y="1986"/>
                  <a:ext cx="106" cy="23"/>
                </a:xfrm>
                <a:prstGeom prst="rect">
                  <a:avLst/>
                </a:prstGeom>
                <a:solidFill>
                  <a:srgbClr val="43505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0" name="Rectangle 82"/>
                <p:cNvSpPr>
                  <a:spLocks noChangeArrowheads="1"/>
                </p:cNvSpPr>
                <p:nvPr/>
              </p:nvSpPr>
              <p:spPr bwMode="auto">
                <a:xfrm>
                  <a:off x="1799" y="1947"/>
                  <a:ext cx="58" cy="39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1" name="Freeform 83"/>
                <p:cNvSpPr>
                  <a:spLocks/>
                </p:cNvSpPr>
                <p:nvPr/>
              </p:nvSpPr>
              <p:spPr bwMode="auto">
                <a:xfrm>
                  <a:off x="1780" y="1625"/>
                  <a:ext cx="95" cy="265"/>
                </a:xfrm>
                <a:custGeom>
                  <a:avLst/>
                  <a:gdLst/>
                  <a:ahLst/>
                  <a:cxnLst>
                    <a:cxn ang="0">
                      <a:pos x="392" y="0"/>
                    </a:cxn>
                    <a:cxn ang="0">
                      <a:pos x="392" y="891"/>
                    </a:cxn>
                    <a:cxn ang="0">
                      <a:pos x="335" y="1029"/>
                    </a:cxn>
                    <a:cxn ang="0">
                      <a:pos x="334" y="1029"/>
                    </a:cxn>
                    <a:cxn ang="0">
                      <a:pos x="196" y="1087"/>
                    </a:cxn>
                    <a:cxn ang="0">
                      <a:pos x="196" y="1087"/>
                    </a:cxn>
                    <a:cxn ang="0">
                      <a:pos x="57" y="1029"/>
                    </a:cxn>
                    <a:cxn ang="0">
                      <a:pos x="57" y="1029"/>
                    </a:cxn>
                    <a:cxn ang="0">
                      <a:pos x="0" y="891"/>
                    </a:cxn>
                    <a:cxn ang="0">
                      <a:pos x="0" y="0"/>
                    </a:cxn>
                    <a:cxn ang="0">
                      <a:pos x="81" y="0"/>
                    </a:cxn>
                    <a:cxn ang="0">
                      <a:pos x="81" y="891"/>
                    </a:cxn>
                    <a:cxn ang="0">
                      <a:pos x="114" y="972"/>
                    </a:cxn>
                    <a:cxn ang="0">
                      <a:pos x="115" y="972"/>
                    </a:cxn>
                    <a:cxn ang="0">
                      <a:pos x="196" y="1006"/>
                    </a:cxn>
                    <a:cxn ang="0">
                      <a:pos x="196" y="1006"/>
                    </a:cxn>
                    <a:cxn ang="0">
                      <a:pos x="277" y="972"/>
                    </a:cxn>
                    <a:cxn ang="0">
                      <a:pos x="278" y="972"/>
                    </a:cxn>
                    <a:cxn ang="0">
                      <a:pos x="311" y="891"/>
                    </a:cxn>
                    <a:cxn ang="0">
                      <a:pos x="311" y="0"/>
                    </a:cxn>
                    <a:cxn ang="0">
                      <a:pos x="392" y="0"/>
                    </a:cxn>
                  </a:cxnLst>
                  <a:rect l="0" t="0" r="r" b="b"/>
                  <a:pathLst>
                    <a:path w="392" h="1087">
                      <a:moveTo>
                        <a:pt x="392" y="0"/>
                      </a:moveTo>
                      <a:lnTo>
                        <a:pt x="392" y="891"/>
                      </a:lnTo>
                      <a:cubicBezTo>
                        <a:pt x="392" y="945"/>
                        <a:pt x="370" y="994"/>
                        <a:pt x="335" y="1029"/>
                      </a:cubicBezTo>
                      <a:lnTo>
                        <a:pt x="334" y="1029"/>
                      </a:lnTo>
                      <a:cubicBezTo>
                        <a:pt x="299" y="1065"/>
                        <a:pt x="250" y="1087"/>
                        <a:pt x="196" y="1087"/>
                      </a:cubicBezTo>
                      <a:lnTo>
                        <a:pt x="196" y="1087"/>
                      </a:lnTo>
                      <a:cubicBezTo>
                        <a:pt x="142" y="1087"/>
                        <a:pt x="93" y="1065"/>
                        <a:pt x="57" y="1029"/>
                      </a:cubicBezTo>
                      <a:lnTo>
                        <a:pt x="57" y="1029"/>
                      </a:lnTo>
                      <a:cubicBezTo>
                        <a:pt x="22" y="994"/>
                        <a:pt x="0" y="945"/>
                        <a:pt x="0" y="891"/>
                      </a:cubicBezTo>
                      <a:lnTo>
                        <a:pt x="0" y="0"/>
                      </a:lnTo>
                      <a:lnTo>
                        <a:pt x="81" y="0"/>
                      </a:lnTo>
                      <a:lnTo>
                        <a:pt x="81" y="891"/>
                      </a:lnTo>
                      <a:cubicBezTo>
                        <a:pt x="81" y="923"/>
                        <a:pt x="94" y="951"/>
                        <a:pt x="114" y="972"/>
                      </a:cubicBezTo>
                      <a:lnTo>
                        <a:pt x="115" y="972"/>
                      </a:lnTo>
                      <a:cubicBezTo>
                        <a:pt x="135" y="993"/>
                        <a:pt x="164" y="1006"/>
                        <a:pt x="196" y="1006"/>
                      </a:cubicBezTo>
                      <a:lnTo>
                        <a:pt x="196" y="1006"/>
                      </a:lnTo>
                      <a:cubicBezTo>
                        <a:pt x="228" y="1006"/>
                        <a:pt x="257" y="993"/>
                        <a:pt x="277" y="972"/>
                      </a:cubicBezTo>
                      <a:lnTo>
                        <a:pt x="278" y="972"/>
                      </a:lnTo>
                      <a:cubicBezTo>
                        <a:pt x="298" y="951"/>
                        <a:pt x="311" y="923"/>
                        <a:pt x="311" y="891"/>
                      </a:cubicBezTo>
                      <a:lnTo>
                        <a:pt x="311" y="0"/>
                      </a:lnTo>
                      <a:lnTo>
                        <a:pt x="392" y="0"/>
                      </a:lnTo>
                      <a:close/>
                    </a:path>
                  </a:pathLst>
                </a:custGeom>
                <a:solidFill>
                  <a:srgbClr val="AECBD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2" name="Rectangle 84"/>
                <p:cNvSpPr>
                  <a:spLocks noChangeArrowheads="1"/>
                </p:cNvSpPr>
                <p:nvPr/>
              </p:nvSpPr>
              <p:spPr bwMode="auto">
                <a:xfrm>
                  <a:off x="1818" y="1881"/>
                  <a:ext cx="20" cy="66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3" name="Rectangle 85"/>
                <p:cNvSpPr>
                  <a:spLocks noChangeArrowheads="1"/>
                </p:cNvSpPr>
                <p:nvPr/>
              </p:nvSpPr>
              <p:spPr bwMode="auto">
                <a:xfrm>
                  <a:off x="1828" y="2009"/>
                  <a:ext cx="137" cy="86"/>
                </a:xfrm>
                <a:prstGeom prst="rect">
                  <a:avLst/>
                </a:prstGeom>
                <a:solidFill>
                  <a:srgbClr val="FFD07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4" name="Rectangle 86"/>
                <p:cNvSpPr>
                  <a:spLocks noChangeArrowheads="1"/>
                </p:cNvSpPr>
                <p:nvPr/>
              </p:nvSpPr>
              <p:spPr bwMode="auto">
                <a:xfrm>
                  <a:off x="1908" y="2095"/>
                  <a:ext cx="35" cy="29"/>
                </a:xfrm>
                <a:prstGeom prst="rect">
                  <a:avLst/>
                </a:prstGeom>
                <a:solidFill>
                  <a:srgbClr val="30394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5" name="Rectangle 87"/>
                <p:cNvSpPr>
                  <a:spLocks noChangeArrowheads="1"/>
                </p:cNvSpPr>
                <p:nvPr/>
              </p:nvSpPr>
              <p:spPr bwMode="auto">
                <a:xfrm>
                  <a:off x="1828" y="1986"/>
                  <a:ext cx="53" cy="23"/>
                </a:xfrm>
                <a:prstGeom prst="rect">
                  <a:avLst/>
                </a:prstGeom>
                <a:solidFill>
                  <a:srgbClr val="30394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6" name="Rectangle 88"/>
                <p:cNvSpPr>
                  <a:spLocks noChangeArrowheads="1"/>
                </p:cNvSpPr>
                <p:nvPr/>
              </p:nvSpPr>
              <p:spPr bwMode="auto">
                <a:xfrm>
                  <a:off x="1828" y="1947"/>
                  <a:ext cx="29" cy="39"/>
                </a:xfrm>
                <a:prstGeom prst="rect">
                  <a:avLst/>
                </a:prstGeom>
                <a:solidFill>
                  <a:srgbClr val="79A7B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7" name="Freeform 89"/>
                <p:cNvSpPr>
                  <a:spLocks/>
                </p:cNvSpPr>
                <p:nvPr/>
              </p:nvSpPr>
              <p:spPr bwMode="auto">
                <a:xfrm>
                  <a:off x="1828" y="1625"/>
                  <a:ext cx="47" cy="265"/>
                </a:xfrm>
                <a:custGeom>
                  <a:avLst/>
                  <a:gdLst/>
                  <a:ahLst/>
                  <a:cxnLst>
                    <a:cxn ang="0">
                      <a:pos x="196" y="0"/>
                    </a:cxn>
                    <a:cxn ang="0">
                      <a:pos x="196" y="891"/>
                    </a:cxn>
                    <a:cxn ang="0">
                      <a:pos x="139" y="1029"/>
                    </a:cxn>
                    <a:cxn ang="0">
                      <a:pos x="138" y="1029"/>
                    </a:cxn>
                    <a:cxn ang="0">
                      <a:pos x="0" y="1087"/>
                    </a:cxn>
                    <a:cxn ang="0">
                      <a:pos x="0" y="1087"/>
                    </a:cxn>
                    <a:cxn ang="0">
                      <a:pos x="0" y="1006"/>
                    </a:cxn>
                    <a:cxn ang="0">
                      <a:pos x="0" y="1006"/>
                    </a:cxn>
                    <a:cxn ang="0">
                      <a:pos x="81" y="972"/>
                    </a:cxn>
                    <a:cxn ang="0">
                      <a:pos x="82" y="972"/>
                    </a:cxn>
                    <a:cxn ang="0">
                      <a:pos x="115" y="891"/>
                    </a:cxn>
                    <a:cxn ang="0">
                      <a:pos x="115" y="0"/>
                    </a:cxn>
                    <a:cxn ang="0">
                      <a:pos x="196" y="0"/>
                    </a:cxn>
                  </a:cxnLst>
                  <a:rect l="0" t="0" r="r" b="b"/>
                  <a:pathLst>
                    <a:path w="196" h="1087">
                      <a:moveTo>
                        <a:pt x="196" y="0"/>
                      </a:moveTo>
                      <a:lnTo>
                        <a:pt x="196" y="891"/>
                      </a:lnTo>
                      <a:cubicBezTo>
                        <a:pt x="196" y="945"/>
                        <a:pt x="174" y="994"/>
                        <a:pt x="139" y="1029"/>
                      </a:cubicBezTo>
                      <a:lnTo>
                        <a:pt x="138" y="1029"/>
                      </a:lnTo>
                      <a:cubicBezTo>
                        <a:pt x="103" y="1065"/>
                        <a:pt x="54" y="1087"/>
                        <a:pt x="0" y="1087"/>
                      </a:cubicBezTo>
                      <a:lnTo>
                        <a:pt x="0" y="1087"/>
                      </a:lnTo>
                      <a:lnTo>
                        <a:pt x="0" y="1006"/>
                      </a:lnTo>
                      <a:lnTo>
                        <a:pt x="0" y="1006"/>
                      </a:lnTo>
                      <a:cubicBezTo>
                        <a:pt x="32" y="1006"/>
                        <a:pt x="61" y="993"/>
                        <a:pt x="81" y="972"/>
                      </a:cubicBezTo>
                      <a:lnTo>
                        <a:pt x="82" y="972"/>
                      </a:lnTo>
                      <a:cubicBezTo>
                        <a:pt x="102" y="951"/>
                        <a:pt x="115" y="923"/>
                        <a:pt x="115" y="891"/>
                      </a:cubicBezTo>
                      <a:lnTo>
                        <a:pt x="115" y="0"/>
                      </a:lnTo>
                      <a:lnTo>
                        <a:pt x="196" y="0"/>
                      </a:lnTo>
                      <a:close/>
                    </a:path>
                  </a:pathLst>
                </a:custGeom>
                <a:solidFill>
                  <a:srgbClr val="79A7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8" name="Rectangle 90"/>
                <p:cNvSpPr>
                  <a:spLocks noChangeArrowheads="1"/>
                </p:cNvSpPr>
                <p:nvPr/>
              </p:nvSpPr>
              <p:spPr bwMode="auto">
                <a:xfrm>
                  <a:off x="1828" y="1881"/>
                  <a:ext cx="10" cy="66"/>
                </a:xfrm>
                <a:prstGeom prst="rect">
                  <a:avLst/>
                </a:prstGeom>
                <a:solidFill>
                  <a:srgbClr val="79A7B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9" name="Freeform 91"/>
                <p:cNvSpPr>
                  <a:spLocks/>
                </p:cNvSpPr>
                <p:nvPr/>
              </p:nvSpPr>
              <p:spPr bwMode="auto">
                <a:xfrm>
                  <a:off x="899" y="1492"/>
                  <a:ext cx="847" cy="597"/>
                </a:xfrm>
                <a:custGeom>
                  <a:avLst/>
                  <a:gdLst/>
                  <a:ahLst/>
                  <a:cxnLst>
                    <a:cxn ang="0">
                      <a:pos x="112" y="0"/>
                    </a:cxn>
                    <a:cxn ang="0">
                      <a:pos x="3372" y="0"/>
                    </a:cxn>
                    <a:cxn ang="0">
                      <a:pos x="3485" y="112"/>
                    </a:cxn>
                    <a:cxn ang="0">
                      <a:pos x="3485" y="2329"/>
                    </a:cxn>
                    <a:cxn ang="0">
                      <a:pos x="3372" y="2441"/>
                    </a:cxn>
                    <a:cxn ang="0">
                      <a:pos x="112" y="2441"/>
                    </a:cxn>
                    <a:cxn ang="0">
                      <a:pos x="0" y="2329"/>
                    </a:cxn>
                    <a:cxn ang="0">
                      <a:pos x="0" y="112"/>
                    </a:cxn>
                    <a:cxn ang="0">
                      <a:pos x="112" y="0"/>
                    </a:cxn>
                  </a:cxnLst>
                  <a:rect l="0" t="0" r="r" b="b"/>
                  <a:pathLst>
                    <a:path w="3485" h="2441">
                      <a:moveTo>
                        <a:pt x="112" y="0"/>
                      </a:moveTo>
                      <a:lnTo>
                        <a:pt x="3372" y="0"/>
                      </a:lnTo>
                      <a:cubicBezTo>
                        <a:pt x="3434" y="0"/>
                        <a:pt x="3485" y="51"/>
                        <a:pt x="3485" y="112"/>
                      </a:cubicBezTo>
                      <a:lnTo>
                        <a:pt x="3485" y="2329"/>
                      </a:lnTo>
                      <a:cubicBezTo>
                        <a:pt x="3485" y="2390"/>
                        <a:pt x="3434" y="2441"/>
                        <a:pt x="3372" y="2441"/>
                      </a:cubicBezTo>
                      <a:lnTo>
                        <a:pt x="112" y="2441"/>
                      </a:lnTo>
                      <a:cubicBezTo>
                        <a:pt x="51" y="2441"/>
                        <a:pt x="0" y="2390"/>
                        <a:pt x="0" y="2329"/>
                      </a:cubicBezTo>
                      <a:lnTo>
                        <a:pt x="0" y="112"/>
                      </a:lnTo>
                      <a:cubicBezTo>
                        <a:pt x="0" y="51"/>
                        <a:pt x="51" y="0"/>
                        <a:pt x="112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0" name="Freeform 92"/>
                <p:cNvSpPr>
                  <a:spLocks/>
                </p:cNvSpPr>
                <p:nvPr/>
              </p:nvSpPr>
              <p:spPr bwMode="auto">
                <a:xfrm>
                  <a:off x="899" y="1492"/>
                  <a:ext cx="724" cy="597"/>
                </a:xfrm>
                <a:custGeom>
                  <a:avLst/>
                  <a:gdLst/>
                  <a:ahLst/>
                  <a:cxnLst>
                    <a:cxn ang="0">
                      <a:pos x="112" y="0"/>
                    </a:cxn>
                    <a:cxn ang="0">
                      <a:pos x="2978" y="0"/>
                    </a:cxn>
                    <a:cxn ang="0">
                      <a:pos x="538" y="2441"/>
                    </a:cxn>
                    <a:cxn ang="0">
                      <a:pos x="112" y="2441"/>
                    </a:cxn>
                    <a:cxn ang="0">
                      <a:pos x="0" y="2329"/>
                    </a:cxn>
                    <a:cxn ang="0">
                      <a:pos x="0" y="112"/>
                    </a:cxn>
                    <a:cxn ang="0">
                      <a:pos x="112" y="0"/>
                    </a:cxn>
                  </a:cxnLst>
                  <a:rect l="0" t="0" r="r" b="b"/>
                  <a:pathLst>
                    <a:path w="2978" h="2441">
                      <a:moveTo>
                        <a:pt x="112" y="0"/>
                      </a:moveTo>
                      <a:lnTo>
                        <a:pt x="2978" y="0"/>
                      </a:lnTo>
                      <a:lnTo>
                        <a:pt x="538" y="2441"/>
                      </a:lnTo>
                      <a:lnTo>
                        <a:pt x="112" y="2441"/>
                      </a:lnTo>
                      <a:cubicBezTo>
                        <a:pt x="51" y="2441"/>
                        <a:pt x="0" y="2390"/>
                        <a:pt x="0" y="2329"/>
                      </a:cubicBezTo>
                      <a:lnTo>
                        <a:pt x="0" y="112"/>
                      </a:lnTo>
                      <a:cubicBezTo>
                        <a:pt x="0" y="51"/>
                        <a:pt x="51" y="0"/>
                        <a:pt x="112" y="0"/>
                      </a:cubicBezTo>
                      <a:close/>
                    </a:path>
                  </a:pathLst>
                </a:custGeom>
                <a:solidFill>
                  <a:srgbClr val="051F1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1" name="Rectangle 93"/>
                <p:cNvSpPr>
                  <a:spLocks noChangeArrowheads="1"/>
                </p:cNvSpPr>
                <p:nvPr/>
              </p:nvSpPr>
              <p:spPr bwMode="auto">
                <a:xfrm>
                  <a:off x="939" y="1535"/>
                  <a:ext cx="767" cy="515"/>
                </a:xfrm>
                <a:prstGeom prst="rect">
                  <a:avLst/>
                </a:prstGeom>
                <a:solidFill>
                  <a:srgbClr val="00ADB4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2" name="Freeform 94"/>
                <p:cNvSpPr>
                  <a:spLocks/>
                </p:cNvSpPr>
                <p:nvPr/>
              </p:nvSpPr>
              <p:spPr bwMode="auto">
                <a:xfrm>
                  <a:off x="748" y="2100"/>
                  <a:ext cx="1152" cy="24"/>
                </a:xfrm>
                <a:custGeom>
                  <a:avLst/>
                  <a:gdLst/>
                  <a:ahLst/>
                  <a:cxnLst>
                    <a:cxn ang="0">
                      <a:pos x="2372" y="96"/>
                    </a:cxn>
                    <a:cxn ang="0">
                      <a:pos x="179" y="96"/>
                    </a:cxn>
                    <a:cxn ang="0">
                      <a:pos x="0" y="2"/>
                    </a:cxn>
                    <a:cxn ang="0">
                      <a:pos x="2372" y="0"/>
                    </a:cxn>
                    <a:cxn ang="0">
                      <a:pos x="4743" y="2"/>
                    </a:cxn>
                    <a:cxn ang="0">
                      <a:pos x="4564" y="96"/>
                    </a:cxn>
                    <a:cxn ang="0">
                      <a:pos x="2372" y="96"/>
                    </a:cxn>
                  </a:cxnLst>
                  <a:rect l="0" t="0" r="r" b="b"/>
                  <a:pathLst>
                    <a:path w="4743" h="96">
                      <a:moveTo>
                        <a:pt x="2372" y="96"/>
                      </a:moveTo>
                      <a:lnTo>
                        <a:pt x="179" y="96"/>
                      </a:lnTo>
                      <a:cubicBezTo>
                        <a:pt x="93" y="96"/>
                        <a:pt x="33" y="33"/>
                        <a:pt x="0" y="2"/>
                      </a:cubicBezTo>
                      <a:lnTo>
                        <a:pt x="2372" y="0"/>
                      </a:lnTo>
                      <a:lnTo>
                        <a:pt x="4743" y="2"/>
                      </a:lnTo>
                      <a:cubicBezTo>
                        <a:pt x="4710" y="33"/>
                        <a:pt x="4651" y="96"/>
                        <a:pt x="4564" y="96"/>
                      </a:cubicBezTo>
                      <a:lnTo>
                        <a:pt x="2372" y="96"/>
                      </a:lnTo>
                      <a:close/>
                    </a:path>
                  </a:pathLst>
                </a:custGeom>
                <a:solidFill>
                  <a:srgbClr val="354A5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3" name="Freeform 95"/>
                <p:cNvSpPr>
                  <a:spLocks/>
                </p:cNvSpPr>
                <p:nvPr/>
              </p:nvSpPr>
              <p:spPr bwMode="auto">
                <a:xfrm>
                  <a:off x="741" y="2077"/>
                  <a:ext cx="1165" cy="2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797" y="0"/>
                    </a:cxn>
                    <a:cxn ang="0">
                      <a:pos x="4797" y="51"/>
                    </a:cxn>
                    <a:cxn ang="0">
                      <a:pos x="4745" y="103"/>
                    </a:cxn>
                    <a:cxn ang="0">
                      <a:pos x="52" y="103"/>
                    </a:cxn>
                    <a:cxn ang="0">
                      <a:pos x="0" y="5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797" h="103">
                      <a:moveTo>
                        <a:pt x="0" y="0"/>
                      </a:moveTo>
                      <a:lnTo>
                        <a:pt x="4797" y="0"/>
                      </a:lnTo>
                      <a:lnTo>
                        <a:pt x="4797" y="51"/>
                      </a:lnTo>
                      <a:cubicBezTo>
                        <a:pt x="4797" y="80"/>
                        <a:pt x="4774" y="103"/>
                        <a:pt x="4745" y="103"/>
                      </a:cubicBezTo>
                      <a:lnTo>
                        <a:pt x="52" y="103"/>
                      </a:lnTo>
                      <a:cubicBezTo>
                        <a:pt x="23" y="103"/>
                        <a:pt x="0" y="80"/>
                        <a:pt x="0" y="5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6E0D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4" name="Freeform 96"/>
                <p:cNvSpPr>
                  <a:spLocks/>
                </p:cNvSpPr>
                <p:nvPr/>
              </p:nvSpPr>
              <p:spPr bwMode="auto">
                <a:xfrm>
                  <a:off x="1244" y="2077"/>
                  <a:ext cx="161" cy="12"/>
                </a:xfrm>
                <a:custGeom>
                  <a:avLst/>
                  <a:gdLst/>
                  <a:ahLst/>
                  <a:cxnLst>
                    <a:cxn ang="0">
                      <a:pos x="664" y="0"/>
                    </a:cxn>
                    <a:cxn ang="0">
                      <a:pos x="648" y="32"/>
                    </a:cxn>
                    <a:cxn ang="0">
                      <a:pos x="648" y="32"/>
                    </a:cxn>
                    <a:cxn ang="0">
                      <a:pos x="648" y="32"/>
                    </a:cxn>
                    <a:cxn ang="0">
                      <a:pos x="610" y="48"/>
                    </a:cxn>
                    <a:cxn ang="0">
                      <a:pos x="54" y="48"/>
                    </a:cxn>
                    <a:cxn ang="0">
                      <a:pos x="15" y="32"/>
                    </a:cxn>
                    <a:cxn ang="0">
                      <a:pos x="15" y="32"/>
                    </a:cxn>
                    <a:cxn ang="0">
                      <a:pos x="0" y="0"/>
                    </a:cxn>
                    <a:cxn ang="0">
                      <a:pos x="13" y="0"/>
                    </a:cxn>
                    <a:cxn ang="0">
                      <a:pos x="25" y="22"/>
                    </a:cxn>
                    <a:cxn ang="0">
                      <a:pos x="25" y="22"/>
                    </a:cxn>
                    <a:cxn ang="0">
                      <a:pos x="54" y="35"/>
                    </a:cxn>
                    <a:cxn ang="0">
                      <a:pos x="610" y="35"/>
                    </a:cxn>
                    <a:cxn ang="0">
                      <a:pos x="639" y="23"/>
                    </a:cxn>
                    <a:cxn ang="0">
                      <a:pos x="639" y="23"/>
                    </a:cxn>
                    <a:cxn ang="0">
                      <a:pos x="639" y="22"/>
                    </a:cxn>
                    <a:cxn ang="0">
                      <a:pos x="650" y="0"/>
                    </a:cxn>
                    <a:cxn ang="0">
                      <a:pos x="664" y="0"/>
                    </a:cxn>
                  </a:cxnLst>
                  <a:rect l="0" t="0" r="r" b="b"/>
                  <a:pathLst>
                    <a:path w="664" h="48">
                      <a:moveTo>
                        <a:pt x="664" y="0"/>
                      </a:moveTo>
                      <a:cubicBezTo>
                        <a:pt x="662" y="12"/>
                        <a:pt x="656" y="23"/>
                        <a:pt x="648" y="32"/>
                      </a:cubicBezTo>
                      <a:lnTo>
                        <a:pt x="648" y="32"/>
                      </a:lnTo>
                      <a:lnTo>
                        <a:pt x="648" y="32"/>
                      </a:lnTo>
                      <a:cubicBezTo>
                        <a:pt x="638" y="42"/>
                        <a:pt x="625" y="48"/>
                        <a:pt x="610" y="48"/>
                      </a:cubicBezTo>
                      <a:lnTo>
                        <a:pt x="54" y="48"/>
                      </a:lnTo>
                      <a:cubicBezTo>
                        <a:pt x="39" y="48"/>
                        <a:pt x="25" y="42"/>
                        <a:pt x="15" y="32"/>
                      </a:cubicBezTo>
                      <a:lnTo>
                        <a:pt x="15" y="32"/>
                      </a:lnTo>
                      <a:cubicBezTo>
                        <a:pt x="7" y="23"/>
                        <a:pt x="1" y="12"/>
                        <a:pt x="0" y="0"/>
                      </a:cubicBezTo>
                      <a:lnTo>
                        <a:pt x="13" y="0"/>
                      </a:lnTo>
                      <a:cubicBezTo>
                        <a:pt x="14" y="9"/>
                        <a:pt x="19" y="16"/>
                        <a:pt x="25" y="22"/>
                      </a:cubicBezTo>
                      <a:lnTo>
                        <a:pt x="25" y="22"/>
                      </a:lnTo>
                      <a:cubicBezTo>
                        <a:pt x="32" y="30"/>
                        <a:pt x="42" y="35"/>
                        <a:pt x="54" y="35"/>
                      </a:cubicBezTo>
                      <a:lnTo>
                        <a:pt x="610" y="35"/>
                      </a:lnTo>
                      <a:cubicBezTo>
                        <a:pt x="621" y="35"/>
                        <a:pt x="631" y="30"/>
                        <a:pt x="639" y="23"/>
                      </a:cubicBezTo>
                      <a:lnTo>
                        <a:pt x="639" y="23"/>
                      </a:lnTo>
                      <a:lnTo>
                        <a:pt x="639" y="22"/>
                      </a:lnTo>
                      <a:cubicBezTo>
                        <a:pt x="645" y="16"/>
                        <a:pt x="649" y="9"/>
                        <a:pt x="650" y="0"/>
                      </a:cubicBezTo>
                      <a:lnTo>
                        <a:pt x="664" y="0"/>
                      </a:lnTo>
                      <a:close/>
                    </a:path>
                  </a:pathLst>
                </a:custGeom>
                <a:solidFill>
                  <a:srgbClr val="89A0A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5" name="Freeform 97"/>
                <p:cNvSpPr>
                  <a:spLocks/>
                </p:cNvSpPr>
                <p:nvPr/>
              </p:nvSpPr>
              <p:spPr bwMode="auto">
                <a:xfrm>
                  <a:off x="939" y="1535"/>
                  <a:ext cx="641" cy="515"/>
                </a:xfrm>
                <a:custGeom>
                  <a:avLst/>
                  <a:gdLst/>
                  <a:ahLst/>
                  <a:cxnLst>
                    <a:cxn ang="0">
                      <a:pos x="0" y="2109"/>
                    </a:cxn>
                    <a:cxn ang="0">
                      <a:pos x="532" y="2109"/>
                    </a:cxn>
                    <a:cxn ang="0">
                      <a:pos x="2640" y="0"/>
                    </a:cxn>
                    <a:cxn ang="0">
                      <a:pos x="0" y="0"/>
                    </a:cxn>
                    <a:cxn ang="0">
                      <a:pos x="0" y="2109"/>
                    </a:cxn>
                  </a:cxnLst>
                  <a:rect l="0" t="0" r="r" b="b"/>
                  <a:pathLst>
                    <a:path w="2640" h="2109">
                      <a:moveTo>
                        <a:pt x="0" y="2109"/>
                      </a:moveTo>
                      <a:lnTo>
                        <a:pt x="532" y="2109"/>
                      </a:lnTo>
                      <a:lnTo>
                        <a:pt x="2640" y="0"/>
                      </a:lnTo>
                      <a:lnTo>
                        <a:pt x="0" y="0"/>
                      </a:lnTo>
                      <a:lnTo>
                        <a:pt x="0" y="2109"/>
                      </a:lnTo>
                      <a:close/>
                    </a:path>
                  </a:pathLst>
                </a:custGeom>
                <a:solidFill>
                  <a:srgbClr val="27D3D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6" name="Rectangle 98"/>
                <p:cNvSpPr>
                  <a:spLocks noChangeArrowheads="1"/>
                </p:cNvSpPr>
                <p:nvPr/>
              </p:nvSpPr>
              <p:spPr bwMode="auto">
                <a:xfrm>
                  <a:off x="925" y="1640"/>
                  <a:ext cx="203" cy="16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7" name="Rectangle 99"/>
                <p:cNvSpPr>
                  <a:spLocks noChangeArrowheads="1"/>
                </p:cNvSpPr>
                <p:nvPr/>
              </p:nvSpPr>
              <p:spPr bwMode="auto">
                <a:xfrm>
                  <a:off x="1477" y="1640"/>
                  <a:ext cx="203" cy="16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8" name="Rectangle 100"/>
                <p:cNvSpPr>
                  <a:spLocks noChangeArrowheads="1"/>
                </p:cNvSpPr>
                <p:nvPr/>
              </p:nvSpPr>
              <p:spPr bwMode="auto">
                <a:xfrm>
                  <a:off x="969" y="1786"/>
                  <a:ext cx="159" cy="15"/>
                </a:xfrm>
                <a:prstGeom prst="rect">
                  <a:avLst/>
                </a:prstGeom>
                <a:solidFill>
                  <a:srgbClr val="CC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9" name="Freeform 101"/>
                <p:cNvSpPr>
                  <a:spLocks/>
                </p:cNvSpPr>
                <p:nvPr/>
              </p:nvSpPr>
              <p:spPr bwMode="auto">
                <a:xfrm>
                  <a:off x="970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0" name="Freeform 102"/>
                <p:cNvSpPr>
                  <a:spLocks/>
                </p:cNvSpPr>
                <p:nvPr/>
              </p:nvSpPr>
              <p:spPr bwMode="auto">
                <a:xfrm>
                  <a:off x="999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1" name="Freeform 103"/>
                <p:cNvSpPr>
                  <a:spLocks/>
                </p:cNvSpPr>
                <p:nvPr/>
              </p:nvSpPr>
              <p:spPr bwMode="auto">
                <a:xfrm>
                  <a:off x="1028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2" name="Freeform 104"/>
                <p:cNvSpPr>
                  <a:spLocks/>
                </p:cNvSpPr>
                <p:nvPr/>
              </p:nvSpPr>
              <p:spPr bwMode="auto">
                <a:xfrm>
                  <a:off x="1057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3" name="Freeform 105"/>
                <p:cNvSpPr>
                  <a:spLocks/>
                </p:cNvSpPr>
                <p:nvPr/>
              </p:nvSpPr>
              <p:spPr bwMode="auto">
                <a:xfrm>
                  <a:off x="1086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4" name="Freeform 106"/>
                <p:cNvSpPr>
                  <a:spLocks/>
                </p:cNvSpPr>
                <p:nvPr/>
              </p:nvSpPr>
              <p:spPr bwMode="auto">
                <a:xfrm>
                  <a:off x="1115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5" name="Freeform 107"/>
                <p:cNvSpPr>
                  <a:spLocks/>
                </p:cNvSpPr>
                <p:nvPr/>
              </p:nvSpPr>
              <p:spPr bwMode="auto">
                <a:xfrm>
                  <a:off x="970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6" name="Freeform 108"/>
                <p:cNvSpPr>
                  <a:spLocks/>
                </p:cNvSpPr>
                <p:nvPr/>
              </p:nvSpPr>
              <p:spPr bwMode="auto">
                <a:xfrm>
                  <a:off x="999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7" name="Freeform 109"/>
                <p:cNvSpPr>
                  <a:spLocks/>
                </p:cNvSpPr>
                <p:nvPr/>
              </p:nvSpPr>
              <p:spPr bwMode="auto">
                <a:xfrm>
                  <a:off x="1028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8" name="Freeform 110"/>
                <p:cNvSpPr>
                  <a:spLocks/>
                </p:cNvSpPr>
                <p:nvPr/>
              </p:nvSpPr>
              <p:spPr bwMode="auto">
                <a:xfrm>
                  <a:off x="1057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9" name="Freeform 111"/>
                <p:cNvSpPr>
                  <a:spLocks/>
                </p:cNvSpPr>
                <p:nvPr/>
              </p:nvSpPr>
              <p:spPr bwMode="auto">
                <a:xfrm>
                  <a:off x="1086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0" name="Freeform 112"/>
                <p:cNvSpPr>
                  <a:spLocks/>
                </p:cNvSpPr>
                <p:nvPr/>
              </p:nvSpPr>
              <p:spPr bwMode="auto">
                <a:xfrm>
                  <a:off x="1115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1" name="Freeform 113"/>
                <p:cNvSpPr>
                  <a:spLocks/>
                </p:cNvSpPr>
                <p:nvPr/>
              </p:nvSpPr>
              <p:spPr bwMode="auto">
                <a:xfrm>
                  <a:off x="1635" y="1641"/>
                  <a:ext cx="44" cy="160"/>
                </a:xfrm>
                <a:custGeom>
                  <a:avLst/>
                  <a:gdLst/>
                  <a:ahLst/>
                  <a:cxnLst>
                    <a:cxn ang="0">
                      <a:pos x="6" y="652"/>
                    </a:cxn>
                    <a:cxn ang="0">
                      <a:pos x="78" y="652"/>
                    </a:cxn>
                    <a:cxn ang="0">
                      <a:pos x="102" y="652"/>
                    </a:cxn>
                    <a:cxn ang="0">
                      <a:pos x="174" y="652"/>
                    </a:cxn>
                    <a:cxn ang="0">
                      <a:pos x="179" y="647"/>
                    </a:cxn>
                    <a:cxn ang="0">
                      <a:pos x="179" y="498"/>
                    </a:cxn>
                    <a:cxn ang="0">
                      <a:pos x="179" y="154"/>
                    </a:cxn>
                    <a:cxn ang="0">
                      <a:pos x="179" y="5"/>
                    </a:cxn>
                    <a:cxn ang="0">
                      <a:pos x="174" y="0"/>
                    </a:cxn>
                    <a:cxn ang="0">
                      <a:pos x="102" y="0"/>
                    </a:cxn>
                    <a:cxn ang="0">
                      <a:pos x="78" y="0"/>
                    </a:cxn>
                    <a:cxn ang="0">
                      <a:pos x="6" y="0"/>
                    </a:cxn>
                    <a:cxn ang="0">
                      <a:pos x="0" y="5"/>
                    </a:cxn>
                    <a:cxn ang="0">
                      <a:pos x="0" y="154"/>
                    </a:cxn>
                    <a:cxn ang="0">
                      <a:pos x="0" y="498"/>
                    </a:cxn>
                    <a:cxn ang="0">
                      <a:pos x="0" y="647"/>
                    </a:cxn>
                    <a:cxn ang="0">
                      <a:pos x="6" y="652"/>
                    </a:cxn>
                  </a:cxnLst>
                  <a:rect l="0" t="0" r="r" b="b"/>
                  <a:pathLst>
                    <a:path w="179" h="652">
                      <a:moveTo>
                        <a:pt x="6" y="652"/>
                      </a:moveTo>
                      <a:lnTo>
                        <a:pt x="78" y="652"/>
                      </a:lnTo>
                      <a:lnTo>
                        <a:pt x="102" y="652"/>
                      </a:lnTo>
                      <a:lnTo>
                        <a:pt x="174" y="652"/>
                      </a:lnTo>
                      <a:cubicBezTo>
                        <a:pt x="177" y="652"/>
                        <a:pt x="179" y="650"/>
                        <a:pt x="179" y="647"/>
                      </a:cubicBezTo>
                      <a:lnTo>
                        <a:pt x="179" y="498"/>
                      </a:lnTo>
                      <a:lnTo>
                        <a:pt x="179" y="154"/>
                      </a:lnTo>
                      <a:lnTo>
                        <a:pt x="179" y="5"/>
                      </a:lnTo>
                      <a:cubicBezTo>
                        <a:pt x="179" y="2"/>
                        <a:pt x="177" y="0"/>
                        <a:pt x="174" y="0"/>
                      </a:cubicBezTo>
                      <a:lnTo>
                        <a:pt x="102" y="0"/>
                      </a:lnTo>
                      <a:lnTo>
                        <a:pt x="78" y="0"/>
                      </a:lnTo>
                      <a:lnTo>
                        <a:pt x="6" y="0"/>
                      </a:lnTo>
                      <a:cubicBezTo>
                        <a:pt x="3" y="0"/>
                        <a:pt x="0" y="2"/>
                        <a:pt x="0" y="5"/>
                      </a:cubicBezTo>
                      <a:lnTo>
                        <a:pt x="0" y="154"/>
                      </a:lnTo>
                      <a:lnTo>
                        <a:pt x="0" y="498"/>
                      </a:lnTo>
                      <a:lnTo>
                        <a:pt x="0" y="647"/>
                      </a:lnTo>
                      <a:cubicBezTo>
                        <a:pt x="0" y="650"/>
                        <a:pt x="3" y="652"/>
                        <a:pt x="6" y="652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2" name="Freeform 114"/>
                <p:cNvSpPr>
                  <a:spLocks noEditPoints="1"/>
                </p:cNvSpPr>
                <p:nvPr/>
              </p:nvSpPr>
              <p:spPr bwMode="auto">
                <a:xfrm>
                  <a:off x="973" y="1705"/>
                  <a:ext cx="20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5" y="2"/>
                        <a:pt x="8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3" name="Freeform 115"/>
                <p:cNvSpPr>
                  <a:spLocks noEditPoints="1"/>
                </p:cNvSpPr>
                <p:nvPr/>
              </p:nvSpPr>
              <p:spPr bwMode="auto">
                <a:xfrm>
                  <a:off x="1002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4" name="Freeform 116"/>
                <p:cNvSpPr>
                  <a:spLocks noEditPoints="1"/>
                </p:cNvSpPr>
                <p:nvPr/>
              </p:nvSpPr>
              <p:spPr bwMode="auto">
                <a:xfrm>
                  <a:off x="1031" y="1705"/>
                  <a:ext cx="20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5" y="2"/>
                        <a:pt x="8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5" name="Freeform 117"/>
                <p:cNvSpPr>
                  <a:spLocks noEditPoints="1"/>
                </p:cNvSpPr>
                <p:nvPr/>
              </p:nvSpPr>
              <p:spPr bwMode="auto">
                <a:xfrm>
                  <a:off x="1060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6" name="Freeform 118"/>
                <p:cNvSpPr>
                  <a:spLocks noEditPoints="1"/>
                </p:cNvSpPr>
                <p:nvPr/>
              </p:nvSpPr>
              <p:spPr bwMode="auto">
                <a:xfrm>
                  <a:off x="1089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7" name="Freeform 119"/>
                <p:cNvSpPr>
                  <a:spLocks noEditPoints="1"/>
                </p:cNvSpPr>
                <p:nvPr/>
              </p:nvSpPr>
              <p:spPr bwMode="auto">
                <a:xfrm>
                  <a:off x="1118" y="1705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8" name="Freeform 120"/>
                <p:cNvSpPr>
                  <a:spLocks noEditPoints="1"/>
                </p:cNvSpPr>
                <p:nvPr/>
              </p:nvSpPr>
              <p:spPr bwMode="auto">
                <a:xfrm>
                  <a:off x="973" y="1722"/>
                  <a:ext cx="20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1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5" y="2"/>
                        <a:pt x="8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5" y="11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9" name="Freeform 121"/>
                <p:cNvSpPr>
                  <a:spLocks noEditPoints="1"/>
                </p:cNvSpPr>
                <p:nvPr/>
              </p:nvSpPr>
              <p:spPr bwMode="auto">
                <a:xfrm>
                  <a:off x="1002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0" name="Freeform 122"/>
                <p:cNvSpPr>
                  <a:spLocks noEditPoints="1"/>
                </p:cNvSpPr>
                <p:nvPr/>
              </p:nvSpPr>
              <p:spPr bwMode="auto">
                <a:xfrm>
                  <a:off x="1031" y="1722"/>
                  <a:ext cx="20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1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5" y="2"/>
                        <a:pt x="8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5" y="11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1" name="Freeform 123"/>
                <p:cNvSpPr>
                  <a:spLocks noEditPoints="1"/>
                </p:cNvSpPr>
                <p:nvPr/>
              </p:nvSpPr>
              <p:spPr bwMode="auto">
                <a:xfrm>
                  <a:off x="1060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2" name="Freeform 124"/>
                <p:cNvSpPr>
                  <a:spLocks noEditPoints="1"/>
                </p:cNvSpPr>
                <p:nvPr/>
              </p:nvSpPr>
              <p:spPr bwMode="auto">
                <a:xfrm>
                  <a:off x="1089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1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5" y="11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3" name="Freeform 125"/>
                <p:cNvSpPr>
                  <a:spLocks noEditPoints="1"/>
                </p:cNvSpPr>
                <p:nvPr/>
              </p:nvSpPr>
              <p:spPr bwMode="auto">
                <a:xfrm>
                  <a:off x="1118" y="1722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</a:cxnLst>
                  <a:rect l="0" t="0" r="r" b="b"/>
                  <a:pathLst>
                    <a:path w="40" h="17">
                      <a:moveTo>
                        <a:pt x="20" y="11"/>
                      </a:moveTo>
                      <a:cubicBezTo>
                        <a:pt x="17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4" name="Freeform 126"/>
                <p:cNvSpPr>
                  <a:spLocks noEditPoints="1"/>
                </p:cNvSpPr>
                <p:nvPr/>
              </p:nvSpPr>
              <p:spPr bwMode="auto">
                <a:xfrm>
                  <a:off x="973" y="1739"/>
                  <a:ext cx="20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4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5" y="3"/>
                        <a:pt x="8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4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5" name="Freeform 127"/>
                <p:cNvSpPr>
                  <a:spLocks noEditPoints="1"/>
                </p:cNvSpPr>
                <p:nvPr/>
              </p:nvSpPr>
              <p:spPr bwMode="auto">
                <a:xfrm>
                  <a:off x="1002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3"/>
                        <a:pt x="81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6" name="Freeform 128"/>
                <p:cNvSpPr>
                  <a:spLocks noEditPoints="1"/>
                </p:cNvSpPr>
                <p:nvPr/>
              </p:nvSpPr>
              <p:spPr bwMode="auto">
                <a:xfrm>
                  <a:off x="1031" y="1739"/>
                  <a:ext cx="20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4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5" y="3"/>
                        <a:pt x="8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4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7" name="Freeform 129"/>
                <p:cNvSpPr>
                  <a:spLocks noEditPoints="1"/>
                </p:cNvSpPr>
                <p:nvPr/>
              </p:nvSpPr>
              <p:spPr bwMode="auto">
                <a:xfrm>
                  <a:off x="1060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3"/>
                        <a:pt x="81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8" name="Freeform 130"/>
                <p:cNvSpPr>
                  <a:spLocks noEditPoints="1"/>
                </p:cNvSpPr>
                <p:nvPr/>
              </p:nvSpPr>
              <p:spPr bwMode="auto">
                <a:xfrm>
                  <a:off x="1089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4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4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9" name="Freeform 131"/>
                <p:cNvSpPr>
                  <a:spLocks noEditPoints="1"/>
                </p:cNvSpPr>
                <p:nvPr/>
              </p:nvSpPr>
              <p:spPr bwMode="auto">
                <a:xfrm>
                  <a:off x="1118" y="1739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0" name="Freeform 132"/>
                <p:cNvSpPr>
                  <a:spLocks noEditPoints="1"/>
                </p:cNvSpPr>
                <p:nvPr/>
              </p:nvSpPr>
              <p:spPr bwMode="auto">
                <a:xfrm>
                  <a:off x="973" y="1756"/>
                  <a:ext cx="20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5" y="2"/>
                        <a:pt x="8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1" name="Freeform 133"/>
                <p:cNvSpPr>
                  <a:spLocks noEditPoints="1"/>
                </p:cNvSpPr>
                <p:nvPr/>
              </p:nvSpPr>
              <p:spPr bwMode="auto">
                <a:xfrm>
                  <a:off x="1002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2" name="Freeform 134"/>
                <p:cNvSpPr>
                  <a:spLocks noEditPoints="1"/>
                </p:cNvSpPr>
                <p:nvPr/>
              </p:nvSpPr>
              <p:spPr bwMode="auto">
                <a:xfrm>
                  <a:off x="1031" y="1756"/>
                  <a:ext cx="20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5" y="2"/>
                        <a:pt x="8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3" name="Freeform 135"/>
                <p:cNvSpPr>
                  <a:spLocks noEditPoints="1"/>
                </p:cNvSpPr>
                <p:nvPr/>
              </p:nvSpPr>
              <p:spPr bwMode="auto">
                <a:xfrm>
                  <a:off x="1060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4" name="Freeform 136"/>
                <p:cNvSpPr>
                  <a:spLocks noEditPoints="1"/>
                </p:cNvSpPr>
                <p:nvPr/>
              </p:nvSpPr>
              <p:spPr bwMode="auto">
                <a:xfrm>
                  <a:off x="1089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5" name="Freeform 137"/>
                <p:cNvSpPr>
                  <a:spLocks noEditPoints="1"/>
                </p:cNvSpPr>
                <p:nvPr/>
              </p:nvSpPr>
              <p:spPr bwMode="auto">
                <a:xfrm>
                  <a:off x="1118" y="1756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6" name="Freeform 138"/>
                <p:cNvSpPr>
                  <a:spLocks/>
                </p:cNvSpPr>
                <p:nvPr/>
              </p:nvSpPr>
              <p:spPr bwMode="auto">
                <a:xfrm>
                  <a:off x="975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1" y="55"/>
                    </a:cxn>
                    <a:cxn ang="0">
                      <a:pos x="46" y="51"/>
                    </a:cxn>
                    <a:cxn ang="0">
                      <a:pos x="64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1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4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7" name="Freeform 139"/>
                <p:cNvSpPr>
                  <a:spLocks/>
                </p:cNvSpPr>
                <p:nvPr/>
              </p:nvSpPr>
              <p:spPr bwMode="auto">
                <a:xfrm>
                  <a:off x="1004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6" y="4"/>
                      </a:lnTo>
                      <a:cubicBezTo>
                        <a:pt x="54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8" name="Freeform 140"/>
                <p:cNvSpPr>
                  <a:spLocks/>
                </p:cNvSpPr>
                <p:nvPr/>
              </p:nvSpPr>
              <p:spPr bwMode="auto">
                <a:xfrm>
                  <a:off x="1033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9" name="Freeform 141"/>
                <p:cNvSpPr>
                  <a:spLocks/>
                </p:cNvSpPr>
                <p:nvPr/>
              </p:nvSpPr>
              <p:spPr bwMode="auto">
                <a:xfrm>
                  <a:off x="1062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0" name="Freeform 142"/>
                <p:cNvSpPr>
                  <a:spLocks/>
                </p:cNvSpPr>
                <p:nvPr/>
              </p:nvSpPr>
              <p:spPr bwMode="auto">
                <a:xfrm>
                  <a:off x="1091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1" name="Freeform 143"/>
                <p:cNvSpPr>
                  <a:spLocks/>
                </p:cNvSpPr>
                <p:nvPr/>
              </p:nvSpPr>
              <p:spPr bwMode="auto">
                <a:xfrm>
                  <a:off x="1120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2" name="Freeform 144"/>
                <p:cNvSpPr>
                  <a:spLocks/>
                </p:cNvSpPr>
                <p:nvPr/>
              </p:nvSpPr>
              <p:spPr bwMode="auto">
                <a:xfrm>
                  <a:off x="975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3" name="Freeform 145"/>
                <p:cNvSpPr>
                  <a:spLocks/>
                </p:cNvSpPr>
                <p:nvPr/>
              </p:nvSpPr>
              <p:spPr bwMode="auto">
                <a:xfrm>
                  <a:off x="1004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4" name="Freeform 146"/>
                <p:cNvSpPr>
                  <a:spLocks/>
                </p:cNvSpPr>
                <p:nvPr/>
              </p:nvSpPr>
              <p:spPr bwMode="auto">
                <a:xfrm>
                  <a:off x="1033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5" name="Freeform 147"/>
                <p:cNvSpPr>
                  <a:spLocks/>
                </p:cNvSpPr>
                <p:nvPr/>
              </p:nvSpPr>
              <p:spPr bwMode="auto">
                <a:xfrm>
                  <a:off x="1062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6" name="Freeform 148"/>
                <p:cNvSpPr>
                  <a:spLocks/>
                </p:cNvSpPr>
                <p:nvPr/>
              </p:nvSpPr>
              <p:spPr bwMode="auto">
                <a:xfrm>
                  <a:off x="1091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7" name="Freeform 149"/>
                <p:cNvSpPr>
                  <a:spLocks/>
                </p:cNvSpPr>
                <p:nvPr/>
              </p:nvSpPr>
              <p:spPr bwMode="auto">
                <a:xfrm>
                  <a:off x="1120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8" name="Freeform 150"/>
                <p:cNvSpPr>
                  <a:spLocks noEditPoints="1"/>
                </p:cNvSpPr>
                <p:nvPr/>
              </p:nvSpPr>
              <p:spPr bwMode="auto">
                <a:xfrm>
                  <a:off x="975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1" y="55"/>
                    </a:cxn>
                    <a:cxn ang="0">
                      <a:pos x="46" y="51"/>
                    </a:cxn>
                    <a:cxn ang="0">
                      <a:pos x="64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1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4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9" name="Freeform 151"/>
                <p:cNvSpPr>
                  <a:spLocks noEditPoints="1"/>
                </p:cNvSpPr>
                <p:nvPr/>
              </p:nvSpPr>
              <p:spPr bwMode="auto">
                <a:xfrm>
                  <a:off x="1004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48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48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6" y="4"/>
                      </a:lnTo>
                      <a:cubicBezTo>
                        <a:pt x="54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0" name="Freeform 152"/>
                <p:cNvSpPr>
                  <a:spLocks noEditPoints="1"/>
                </p:cNvSpPr>
                <p:nvPr/>
              </p:nvSpPr>
              <p:spPr bwMode="auto">
                <a:xfrm>
                  <a:off x="1033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1" name="Freeform 153"/>
                <p:cNvSpPr>
                  <a:spLocks noEditPoints="1"/>
                </p:cNvSpPr>
                <p:nvPr/>
              </p:nvSpPr>
              <p:spPr bwMode="auto">
                <a:xfrm>
                  <a:off x="1062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48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48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2" name="Freeform 154"/>
                <p:cNvSpPr>
                  <a:spLocks noEditPoints="1"/>
                </p:cNvSpPr>
                <p:nvPr/>
              </p:nvSpPr>
              <p:spPr bwMode="auto">
                <a:xfrm>
                  <a:off x="1091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3" name="Freeform 155"/>
                <p:cNvSpPr>
                  <a:spLocks/>
                </p:cNvSpPr>
                <p:nvPr/>
              </p:nvSpPr>
              <p:spPr bwMode="auto">
                <a:xfrm>
                  <a:off x="1120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4" name="Freeform 156"/>
                <p:cNvSpPr>
                  <a:spLocks/>
                </p:cNvSpPr>
                <p:nvPr/>
              </p:nvSpPr>
              <p:spPr bwMode="auto">
                <a:xfrm>
                  <a:off x="975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33" y="9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33" y="9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5" name="Freeform 157"/>
                <p:cNvSpPr>
                  <a:spLocks/>
                </p:cNvSpPr>
                <p:nvPr/>
              </p:nvSpPr>
              <p:spPr bwMode="auto">
                <a:xfrm>
                  <a:off x="1004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6" name="Freeform 158"/>
                <p:cNvSpPr>
                  <a:spLocks/>
                </p:cNvSpPr>
                <p:nvPr/>
              </p:nvSpPr>
              <p:spPr bwMode="auto">
                <a:xfrm>
                  <a:off x="1033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33" y="9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33" y="9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7" name="Freeform 159"/>
                <p:cNvSpPr>
                  <a:spLocks/>
                </p:cNvSpPr>
                <p:nvPr/>
              </p:nvSpPr>
              <p:spPr bwMode="auto">
                <a:xfrm>
                  <a:off x="1062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8" name="Freeform 160"/>
                <p:cNvSpPr>
                  <a:spLocks/>
                </p:cNvSpPr>
                <p:nvPr/>
              </p:nvSpPr>
              <p:spPr bwMode="auto">
                <a:xfrm>
                  <a:off x="1091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33" y="9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33" y="9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9" name="Freeform 161"/>
                <p:cNvSpPr>
                  <a:spLocks/>
                </p:cNvSpPr>
                <p:nvPr/>
              </p:nvSpPr>
              <p:spPr bwMode="auto">
                <a:xfrm>
                  <a:off x="1120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0" name="Freeform 162"/>
                <p:cNvSpPr>
                  <a:spLocks/>
                </p:cNvSpPr>
                <p:nvPr/>
              </p:nvSpPr>
              <p:spPr bwMode="auto">
                <a:xfrm>
                  <a:off x="974" y="1663"/>
                  <a:ext cx="18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1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1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1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1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4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1" name="Freeform 163"/>
                <p:cNvSpPr>
                  <a:spLocks/>
                </p:cNvSpPr>
                <p:nvPr/>
              </p:nvSpPr>
              <p:spPr bwMode="auto">
                <a:xfrm>
                  <a:off x="1003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6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2" name="Freeform 164"/>
                <p:cNvSpPr>
                  <a:spLocks/>
                </p:cNvSpPr>
                <p:nvPr/>
              </p:nvSpPr>
              <p:spPr bwMode="auto">
                <a:xfrm>
                  <a:off x="1032" y="1663"/>
                  <a:ext cx="18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1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1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1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1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4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3" name="Freeform 165"/>
                <p:cNvSpPr>
                  <a:spLocks/>
                </p:cNvSpPr>
                <p:nvPr/>
              </p:nvSpPr>
              <p:spPr bwMode="auto">
                <a:xfrm>
                  <a:off x="1061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6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4" name="Freeform 166"/>
                <p:cNvSpPr>
                  <a:spLocks/>
                </p:cNvSpPr>
                <p:nvPr/>
              </p:nvSpPr>
              <p:spPr bwMode="auto">
                <a:xfrm>
                  <a:off x="1090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1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1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1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1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5" name="Freeform 167"/>
                <p:cNvSpPr>
                  <a:spLocks/>
                </p:cNvSpPr>
                <p:nvPr/>
              </p:nvSpPr>
              <p:spPr bwMode="auto">
                <a:xfrm>
                  <a:off x="1119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3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3" y="40"/>
                        <a:pt x="16" y="40"/>
                      </a:cubicBezTo>
                      <a:lnTo>
                        <a:pt x="23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6" name="Freeform 168"/>
                <p:cNvSpPr>
                  <a:spLocks/>
                </p:cNvSpPr>
                <p:nvPr/>
              </p:nvSpPr>
              <p:spPr bwMode="auto">
                <a:xfrm>
                  <a:off x="974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7" name="Freeform 169"/>
                <p:cNvSpPr>
                  <a:spLocks/>
                </p:cNvSpPr>
                <p:nvPr/>
              </p:nvSpPr>
              <p:spPr bwMode="auto">
                <a:xfrm>
                  <a:off x="1003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3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6" y="40"/>
                      </a:cubicBezTo>
                      <a:lnTo>
                        <a:pt x="23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8" name="Freeform 170"/>
                <p:cNvSpPr>
                  <a:spLocks/>
                </p:cNvSpPr>
                <p:nvPr/>
              </p:nvSpPr>
              <p:spPr bwMode="auto">
                <a:xfrm>
                  <a:off x="1032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9" name="Freeform 171"/>
                <p:cNvSpPr>
                  <a:spLocks/>
                </p:cNvSpPr>
                <p:nvPr/>
              </p:nvSpPr>
              <p:spPr bwMode="auto">
                <a:xfrm>
                  <a:off x="1061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3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6" y="40"/>
                      </a:cubicBezTo>
                      <a:lnTo>
                        <a:pt x="23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0" name="Freeform 172"/>
                <p:cNvSpPr>
                  <a:spLocks/>
                </p:cNvSpPr>
                <p:nvPr/>
              </p:nvSpPr>
              <p:spPr bwMode="auto">
                <a:xfrm>
                  <a:off x="1090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1" name="Freeform 173"/>
                <p:cNvSpPr>
                  <a:spLocks/>
                </p:cNvSpPr>
                <p:nvPr/>
              </p:nvSpPr>
              <p:spPr bwMode="auto">
                <a:xfrm>
                  <a:off x="1119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3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3" y="40"/>
                        <a:pt x="16" y="40"/>
                      </a:cubicBezTo>
                      <a:lnTo>
                        <a:pt x="23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2" name="Freeform 174"/>
                <p:cNvSpPr>
                  <a:spLocks/>
                </p:cNvSpPr>
                <p:nvPr/>
              </p:nvSpPr>
              <p:spPr bwMode="auto">
                <a:xfrm>
                  <a:off x="974" y="1663"/>
                  <a:ext cx="18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4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3" name="Freeform 175"/>
                <p:cNvSpPr>
                  <a:spLocks/>
                </p:cNvSpPr>
                <p:nvPr/>
              </p:nvSpPr>
              <p:spPr bwMode="auto">
                <a:xfrm>
                  <a:off x="1003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4" name="Freeform 176"/>
                <p:cNvSpPr>
                  <a:spLocks/>
                </p:cNvSpPr>
                <p:nvPr/>
              </p:nvSpPr>
              <p:spPr bwMode="auto">
                <a:xfrm>
                  <a:off x="1032" y="1663"/>
                  <a:ext cx="18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4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5" name="Freeform 177"/>
                <p:cNvSpPr>
                  <a:spLocks/>
                </p:cNvSpPr>
                <p:nvPr/>
              </p:nvSpPr>
              <p:spPr bwMode="auto">
                <a:xfrm>
                  <a:off x="1061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6" name="Freeform 178"/>
                <p:cNvSpPr>
                  <a:spLocks/>
                </p:cNvSpPr>
                <p:nvPr/>
              </p:nvSpPr>
              <p:spPr bwMode="auto">
                <a:xfrm>
                  <a:off x="1090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7" name="Freeform 179"/>
                <p:cNvSpPr>
                  <a:spLocks/>
                </p:cNvSpPr>
                <p:nvPr/>
              </p:nvSpPr>
              <p:spPr bwMode="auto">
                <a:xfrm>
                  <a:off x="1119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8" name="Freeform 180"/>
                <p:cNvSpPr>
                  <a:spLocks/>
                </p:cNvSpPr>
                <p:nvPr/>
              </p:nvSpPr>
              <p:spPr bwMode="auto">
                <a:xfrm>
                  <a:off x="974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9" name="Freeform 181"/>
                <p:cNvSpPr>
                  <a:spLocks/>
                </p:cNvSpPr>
                <p:nvPr/>
              </p:nvSpPr>
              <p:spPr bwMode="auto">
                <a:xfrm>
                  <a:off x="1003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0" name="Freeform 182"/>
                <p:cNvSpPr>
                  <a:spLocks/>
                </p:cNvSpPr>
                <p:nvPr/>
              </p:nvSpPr>
              <p:spPr bwMode="auto">
                <a:xfrm>
                  <a:off x="1032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1" name="Freeform 183"/>
                <p:cNvSpPr>
                  <a:spLocks/>
                </p:cNvSpPr>
                <p:nvPr/>
              </p:nvSpPr>
              <p:spPr bwMode="auto">
                <a:xfrm>
                  <a:off x="1061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2" name="Freeform 184"/>
                <p:cNvSpPr>
                  <a:spLocks/>
                </p:cNvSpPr>
                <p:nvPr/>
              </p:nvSpPr>
              <p:spPr bwMode="auto">
                <a:xfrm>
                  <a:off x="1090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3" name="Freeform 185"/>
                <p:cNvSpPr>
                  <a:spLocks/>
                </p:cNvSpPr>
                <p:nvPr/>
              </p:nvSpPr>
              <p:spPr bwMode="auto">
                <a:xfrm>
                  <a:off x="1119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4" name="Freeform 186"/>
                <p:cNvSpPr>
                  <a:spLocks/>
                </p:cNvSpPr>
                <p:nvPr/>
              </p:nvSpPr>
              <p:spPr bwMode="auto">
                <a:xfrm>
                  <a:off x="974" y="1664"/>
                  <a:ext cx="18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4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5" name="Freeform 187"/>
                <p:cNvSpPr>
                  <a:spLocks/>
                </p:cNvSpPr>
                <p:nvPr/>
              </p:nvSpPr>
              <p:spPr bwMode="auto">
                <a:xfrm>
                  <a:off x="1003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77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8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6" name="Freeform 188"/>
                <p:cNvSpPr>
                  <a:spLocks/>
                </p:cNvSpPr>
                <p:nvPr/>
              </p:nvSpPr>
              <p:spPr bwMode="auto">
                <a:xfrm>
                  <a:off x="1032" y="1664"/>
                  <a:ext cx="18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4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7" name="Freeform 189"/>
                <p:cNvSpPr>
                  <a:spLocks/>
                </p:cNvSpPr>
                <p:nvPr/>
              </p:nvSpPr>
              <p:spPr bwMode="auto">
                <a:xfrm>
                  <a:off x="1061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77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6" y="4"/>
                        <a:pt x="53" y="0"/>
                        <a:pt x="38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8" name="Freeform 190"/>
                <p:cNvSpPr>
                  <a:spLocks/>
                </p:cNvSpPr>
                <p:nvPr/>
              </p:nvSpPr>
              <p:spPr bwMode="auto">
                <a:xfrm>
                  <a:off x="1090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9" name="Freeform 191"/>
                <p:cNvSpPr>
                  <a:spLocks/>
                </p:cNvSpPr>
                <p:nvPr/>
              </p:nvSpPr>
              <p:spPr bwMode="auto">
                <a:xfrm>
                  <a:off x="1119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0" name="Freeform 192"/>
                <p:cNvSpPr>
                  <a:spLocks/>
                </p:cNvSpPr>
                <p:nvPr/>
              </p:nvSpPr>
              <p:spPr bwMode="auto">
                <a:xfrm>
                  <a:off x="974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1" name="Freeform 193"/>
                <p:cNvSpPr>
                  <a:spLocks/>
                </p:cNvSpPr>
                <p:nvPr/>
              </p:nvSpPr>
              <p:spPr bwMode="auto">
                <a:xfrm>
                  <a:off x="1003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2" name="Freeform 194"/>
                <p:cNvSpPr>
                  <a:spLocks/>
                </p:cNvSpPr>
                <p:nvPr/>
              </p:nvSpPr>
              <p:spPr bwMode="auto">
                <a:xfrm>
                  <a:off x="1032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3" name="Freeform 195"/>
                <p:cNvSpPr>
                  <a:spLocks/>
                </p:cNvSpPr>
                <p:nvPr/>
              </p:nvSpPr>
              <p:spPr bwMode="auto">
                <a:xfrm>
                  <a:off x="1061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4" name="Freeform 196"/>
                <p:cNvSpPr>
                  <a:spLocks/>
                </p:cNvSpPr>
                <p:nvPr/>
              </p:nvSpPr>
              <p:spPr bwMode="auto">
                <a:xfrm>
                  <a:off x="1090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5" name="Freeform 197"/>
                <p:cNvSpPr>
                  <a:spLocks/>
                </p:cNvSpPr>
                <p:nvPr/>
              </p:nvSpPr>
              <p:spPr bwMode="auto">
                <a:xfrm>
                  <a:off x="1119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6" name="Rectangle 198"/>
                <p:cNvSpPr>
                  <a:spLocks noChangeArrowheads="1"/>
                </p:cNvSpPr>
                <p:nvPr/>
              </p:nvSpPr>
              <p:spPr bwMode="auto">
                <a:xfrm>
                  <a:off x="1057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7" name="Rectangle 199"/>
                <p:cNvSpPr>
                  <a:spLocks noChangeArrowheads="1"/>
                </p:cNvSpPr>
                <p:nvPr/>
              </p:nvSpPr>
              <p:spPr bwMode="auto">
                <a:xfrm>
                  <a:off x="980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8" name="Rectangle 200"/>
                <p:cNvSpPr>
                  <a:spLocks noChangeArrowheads="1"/>
                </p:cNvSpPr>
                <p:nvPr/>
              </p:nvSpPr>
              <p:spPr bwMode="auto">
                <a:xfrm>
                  <a:off x="1067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9" name="Rectangle 201"/>
                <p:cNvSpPr>
                  <a:spLocks noChangeArrowheads="1"/>
                </p:cNvSpPr>
                <p:nvPr/>
              </p:nvSpPr>
              <p:spPr bwMode="auto">
                <a:xfrm>
                  <a:off x="990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80" name="Rectangle 202"/>
                <p:cNvSpPr>
                  <a:spLocks noChangeArrowheads="1"/>
                </p:cNvSpPr>
                <p:nvPr/>
              </p:nvSpPr>
              <p:spPr bwMode="auto">
                <a:xfrm>
                  <a:off x="979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81" name="Rectangle 203"/>
                <p:cNvSpPr>
                  <a:spLocks noChangeArrowheads="1"/>
                </p:cNvSpPr>
                <p:nvPr/>
              </p:nvSpPr>
              <p:spPr bwMode="auto">
                <a:xfrm>
                  <a:off x="1076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82" name="Rectangle 204"/>
                <p:cNvSpPr>
                  <a:spLocks noChangeArrowheads="1"/>
                </p:cNvSpPr>
                <p:nvPr/>
              </p:nvSpPr>
              <p:spPr bwMode="auto">
                <a:xfrm>
                  <a:off x="999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83" name="Rectangle 205"/>
                <p:cNvSpPr>
                  <a:spLocks noChangeArrowheads="1"/>
                </p:cNvSpPr>
                <p:nvPr/>
              </p:nvSpPr>
              <p:spPr bwMode="auto">
                <a:xfrm>
                  <a:off x="1086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84" name="Rectangle 206"/>
                <p:cNvSpPr>
                  <a:spLocks noChangeArrowheads="1"/>
                </p:cNvSpPr>
                <p:nvPr/>
              </p:nvSpPr>
              <p:spPr bwMode="auto">
                <a:xfrm>
                  <a:off x="1009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85" name="Rectangle 207"/>
                <p:cNvSpPr>
                  <a:spLocks noChangeArrowheads="1"/>
                </p:cNvSpPr>
                <p:nvPr/>
              </p:nvSpPr>
              <p:spPr bwMode="auto">
                <a:xfrm>
                  <a:off x="1096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86" name="Rectangle 208"/>
                <p:cNvSpPr>
                  <a:spLocks noChangeArrowheads="1"/>
                </p:cNvSpPr>
                <p:nvPr/>
              </p:nvSpPr>
              <p:spPr bwMode="auto">
                <a:xfrm>
                  <a:off x="1018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87" name="Rectangle 209"/>
                <p:cNvSpPr>
                  <a:spLocks noChangeArrowheads="1"/>
                </p:cNvSpPr>
                <p:nvPr/>
              </p:nvSpPr>
              <p:spPr bwMode="auto">
                <a:xfrm>
                  <a:off x="1106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</p:grpSp>
          <p:grpSp>
            <p:nvGrpSpPr>
              <p:cNvPr id="17" name="Group 411"/>
              <p:cNvGrpSpPr>
                <a:grpSpLocks/>
              </p:cNvGrpSpPr>
              <p:nvPr/>
            </p:nvGrpSpPr>
            <p:grpSpPr bwMode="auto">
              <a:xfrm>
                <a:off x="926" y="1640"/>
                <a:ext cx="709" cy="161"/>
                <a:chOff x="926" y="1640"/>
                <a:chExt cx="709" cy="161"/>
              </a:xfrm>
            </p:grpSpPr>
            <p:sp>
              <p:nvSpPr>
                <p:cNvPr id="888" name="Rectangle 211"/>
                <p:cNvSpPr>
                  <a:spLocks noChangeArrowheads="1"/>
                </p:cNvSpPr>
                <p:nvPr/>
              </p:nvSpPr>
              <p:spPr bwMode="auto">
                <a:xfrm>
                  <a:off x="1028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89" name="Rectangle 212"/>
                <p:cNvSpPr>
                  <a:spLocks noChangeArrowheads="1"/>
                </p:cNvSpPr>
                <p:nvPr/>
              </p:nvSpPr>
              <p:spPr bwMode="auto">
                <a:xfrm>
                  <a:off x="1115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0" name="Rectangle 213"/>
                <p:cNvSpPr>
                  <a:spLocks noChangeArrowheads="1"/>
                </p:cNvSpPr>
                <p:nvPr/>
              </p:nvSpPr>
              <p:spPr bwMode="auto">
                <a:xfrm>
                  <a:off x="1038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1" name="Rectangle 214"/>
                <p:cNvSpPr>
                  <a:spLocks noChangeArrowheads="1"/>
                </p:cNvSpPr>
                <p:nvPr/>
              </p:nvSpPr>
              <p:spPr bwMode="auto">
                <a:xfrm>
                  <a:off x="1125" y="1791"/>
                  <a:ext cx="3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2" name="Rectangle 215"/>
                <p:cNvSpPr>
                  <a:spLocks noChangeArrowheads="1"/>
                </p:cNvSpPr>
                <p:nvPr/>
              </p:nvSpPr>
              <p:spPr bwMode="auto">
                <a:xfrm>
                  <a:off x="1048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3" name="Rectangle 216"/>
                <p:cNvSpPr>
                  <a:spLocks noChangeArrowheads="1"/>
                </p:cNvSpPr>
                <p:nvPr/>
              </p:nvSpPr>
              <p:spPr bwMode="auto">
                <a:xfrm>
                  <a:off x="983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4" name="Rectangle 217"/>
                <p:cNvSpPr>
                  <a:spLocks noChangeArrowheads="1"/>
                </p:cNvSpPr>
                <p:nvPr/>
              </p:nvSpPr>
              <p:spPr bwMode="auto">
                <a:xfrm>
                  <a:off x="1012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5" name="Rectangle 218"/>
                <p:cNvSpPr>
                  <a:spLocks noChangeArrowheads="1"/>
                </p:cNvSpPr>
                <p:nvPr/>
              </p:nvSpPr>
              <p:spPr bwMode="auto">
                <a:xfrm>
                  <a:off x="1041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6" name="Rectangle 219"/>
                <p:cNvSpPr>
                  <a:spLocks noChangeArrowheads="1"/>
                </p:cNvSpPr>
                <p:nvPr/>
              </p:nvSpPr>
              <p:spPr bwMode="auto">
                <a:xfrm>
                  <a:off x="1070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7" name="Rectangle 220"/>
                <p:cNvSpPr>
                  <a:spLocks noChangeArrowheads="1"/>
                </p:cNvSpPr>
                <p:nvPr/>
              </p:nvSpPr>
              <p:spPr bwMode="auto">
                <a:xfrm>
                  <a:off x="1099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8" name="Rectangle 221"/>
                <p:cNvSpPr>
                  <a:spLocks noChangeArrowheads="1"/>
                </p:cNvSpPr>
                <p:nvPr/>
              </p:nvSpPr>
              <p:spPr bwMode="auto">
                <a:xfrm>
                  <a:off x="972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9" name="Rectangle 222"/>
                <p:cNvSpPr>
                  <a:spLocks noChangeArrowheads="1"/>
                </p:cNvSpPr>
                <p:nvPr/>
              </p:nvSpPr>
              <p:spPr bwMode="auto">
                <a:xfrm>
                  <a:off x="1001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0" name="Rectangle 223"/>
                <p:cNvSpPr>
                  <a:spLocks noChangeArrowheads="1"/>
                </p:cNvSpPr>
                <p:nvPr/>
              </p:nvSpPr>
              <p:spPr bwMode="auto">
                <a:xfrm>
                  <a:off x="1030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1" name="Rectangle 224"/>
                <p:cNvSpPr>
                  <a:spLocks noChangeArrowheads="1"/>
                </p:cNvSpPr>
                <p:nvPr/>
              </p:nvSpPr>
              <p:spPr bwMode="auto">
                <a:xfrm>
                  <a:off x="1059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2" name="Rectangle 225"/>
                <p:cNvSpPr>
                  <a:spLocks noChangeArrowheads="1"/>
                </p:cNvSpPr>
                <p:nvPr/>
              </p:nvSpPr>
              <p:spPr bwMode="auto">
                <a:xfrm>
                  <a:off x="1088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3" name="Rectangle 226"/>
                <p:cNvSpPr>
                  <a:spLocks noChangeArrowheads="1"/>
                </p:cNvSpPr>
                <p:nvPr/>
              </p:nvSpPr>
              <p:spPr bwMode="auto">
                <a:xfrm>
                  <a:off x="1117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4" name="Rectangle 227"/>
                <p:cNvSpPr>
                  <a:spLocks noChangeArrowheads="1"/>
                </p:cNvSpPr>
                <p:nvPr/>
              </p:nvSpPr>
              <p:spPr bwMode="auto">
                <a:xfrm>
                  <a:off x="994" y="1650"/>
                  <a:ext cx="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5" name="Rectangle 228"/>
                <p:cNvSpPr>
                  <a:spLocks noChangeArrowheads="1"/>
                </p:cNvSpPr>
                <p:nvPr/>
              </p:nvSpPr>
              <p:spPr bwMode="auto">
                <a:xfrm>
                  <a:off x="1024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6" name="Rectangle 229"/>
                <p:cNvSpPr>
                  <a:spLocks noChangeArrowheads="1"/>
                </p:cNvSpPr>
                <p:nvPr/>
              </p:nvSpPr>
              <p:spPr bwMode="auto">
                <a:xfrm>
                  <a:off x="1052" y="1650"/>
                  <a:ext cx="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7" name="Rectangle 230"/>
                <p:cNvSpPr>
                  <a:spLocks noChangeArrowheads="1"/>
                </p:cNvSpPr>
                <p:nvPr/>
              </p:nvSpPr>
              <p:spPr bwMode="auto">
                <a:xfrm>
                  <a:off x="1082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8" name="Rectangle 231"/>
                <p:cNvSpPr>
                  <a:spLocks noChangeArrowheads="1"/>
                </p:cNvSpPr>
                <p:nvPr/>
              </p:nvSpPr>
              <p:spPr bwMode="auto">
                <a:xfrm>
                  <a:off x="1110" y="1650"/>
                  <a:ext cx="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9" name="Rectangle 232"/>
                <p:cNvSpPr>
                  <a:spLocks noChangeArrowheads="1"/>
                </p:cNvSpPr>
                <p:nvPr/>
              </p:nvSpPr>
              <p:spPr bwMode="auto">
                <a:xfrm>
                  <a:off x="970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0" name="Rectangle 233"/>
                <p:cNvSpPr>
                  <a:spLocks noChangeArrowheads="1"/>
                </p:cNvSpPr>
                <p:nvPr/>
              </p:nvSpPr>
              <p:spPr bwMode="auto">
                <a:xfrm>
                  <a:off x="999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1" name="Rectangle 234"/>
                <p:cNvSpPr>
                  <a:spLocks noChangeArrowheads="1"/>
                </p:cNvSpPr>
                <p:nvPr/>
              </p:nvSpPr>
              <p:spPr bwMode="auto">
                <a:xfrm>
                  <a:off x="1028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2" name="Rectangle 235"/>
                <p:cNvSpPr>
                  <a:spLocks noChangeArrowheads="1"/>
                </p:cNvSpPr>
                <p:nvPr/>
              </p:nvSpPr>
              <p:spPr bwMode="auto">
                <a:xfrm>
                  <a:off x="1057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3" name="Rectangle 236"/>
                <p:cNvSpPr>
                  <a:spLocks noChangeArrowheads="1"/>
                </p:cNvSpPr>
                <p:nvPr/>
              </p:nvSpPr>
              <p:spPr bwMode="auto">
                <a:xfrm>
                  <a:off x="1086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4" name="Rectangle 237"/>
                <p:cNvSpPr>
                  <a:spLocks noChangeArrowheads="1"/>
                </p:cNvSpPr>
                <p:nvPr/>
              </p:nvSpPr>
              <p:spPr bwMode="auto">
                <a:xfrm>
                  <a:off x="1115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5" name="Rectangle 238"/>
                <p:cNvSpPr>
                  <a:spLocks noChangeArrowheads="1"/>
                </p:cNvSpPr>
                <p:nvPr/>
              </p:nvSpPr>
              <p:spPr bwMode="auto">
                <a:xfrm>
                  <a:off x="984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6" name="Rectangle 239"/>
                <p:cNvSpPr>
                  <a:spLocks noChangeArrowheads="1"/>
                </p:cNvSpPr>
                <p:nvPr/>
              </p:nvSpPr>
              <p:spPr bwMode="auto">
                <a:xfrm>
                  <a:off x="975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7" name="Rectangle 240"/>
                <p:cNvSpPr>
                  <a:spLocks noChangeArrowheads="1"/>
                </p:cNvSpPr>
                <p:nvPr/>
              </p:nvSpPr>
              <p:spPr bwMode="auto">
                <a:xfrm>
                  <a:off x="1013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8" name="Rectangle 241"/>
                <p:cNvSpPr>
                  <a:spLocks noChangeArrowheads="1"/>
                </p:cNvSpPr>
                <p:nvPr/>
              </p:nvSpPr>
              <p:spPr bwMode="auto">
                <a:xfrm>
                  <a:off x="1004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9" name="Rectangle 242"/>
                <p:cNvSpPr>
                  <a:spLocks noChangeArrowheads="1"/>
                </p:cNvSpPr>
                <p:nvPr/>
              </p:nvSpPr>
              <p:spPr bwMode="auto">
                <a:xfrm>
                  <a:off x="1042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0" name="Rectangle 243"/>
                <p:cNvSpPr>
                  <a:spLocks noChangeArrowheads="1"/>
                </p:cNvSpPr>
                <p:nvPr/>
              </p:nvSpPr>
              <p:spPr bwMode="auto">
                <a:xfrm>
                  <a:off x="1033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1" name="Rectangle 244"/>
                <p:cNvSpPr>
                  <a:spLocks noChangeArrowheads="1"/>
                </p:cNvSpPr>
                <p:nvPr/>
              </p:nvSpPr>
              <p:spPr bwMode="auto">
                <a:xfrm>
                  <a:off x="1071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2" name="Rectangle 245"/>
                <p:cNvSpPr>
                  <a:spLocks noChangeArrowheads="1"/>
                </p:cNvSpPr>
                <p:nvPr/>
              </p:nvSpPr>
              <p:spPr bwMode="auto">
                <a:xfrm>
                  <a:off x="1062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3" name="Rectangle 246"/>
                <p:cNvSpPr>
                  <a:spLocks noChangeArrowheads="1"/>
                </p:cNvSpPr>
                <p:nvPr/>
              </p:nvSpPr>
              <p:spPr bwMode="auto">
                <a:xfrm>
                  <a:off x="1100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4" name="Rectangle 247"/>
                <p:cNvSpPr>
                  <a:spLocks noChangeArrowheads="1"/>
                </p:cNvSpPr>
                <p:nvPr/>
              </p:nvSpPr>
              <p:spPr bwMode="auto">
                <a:xfrm>
                  <a:off x="1092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5" name="Rectangle 248"/>
                <p:cNvSpPr>
                  <a:spLocks noChangeArrowheads="1"/>
                </p:cNvSpPr>
                <p:nvPr/>
              </p:nvSpPr>
              <p:spPr bwMode="auto">
                <a:xfrm>
                  <a:off x="1120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6" name="Rectangle 249"/>
                <p:cNvSpPr>
                  <a:spLocks noChangeArrowheads="1"/>
                </p:cNvSpPr>
                <p:nvPr/>
              </p:nvSpPr>
              <p:spPr bwMode="auto">
                <a:xfrm>
                  <a:off x="970" y="1640"/>
                  <a:ext cx="158" cy="5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7" name="Rectangle 250"/>
                <p:cNvSpPr>
                  <a:spLocks noChangeArrowheads="1"/>
                </p:cNvSpPr>
                <p:nvPr/>
              </p:nvSpPr>
              <p:spPr bwMode="auto">
                <a:xfrm>
                  <a:off x="1477" y="1786"/>
                  <a:ext cx="158" cy="15"/>
                </a:xfrm>
                <a:prstGeom prst="rect">
                  <a:avLst/>
                </a:prstGeom>
                <a:solidFill>
                  <a:srgbClr val="CC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8" name="Freeform 251"/>
                <p:cNvSpPr>
                  <a:spLocks/>
                </p:cNvSpPr>
                <p:nvPr/>
              </p:nvSpPr>
              <p:spPr bwMode="auto">
                <a:xfrm>
                  <a:off x="1493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2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2" y="0"/>
                    </a:cxn>
                    <a:cxn ang="0">
                      <a:pos x="107" y="6"/>
                    </a:cxn>
                    <a:cxn ang="0">
                      <a:pos x="107" y="499"/>
                    </a:cxn>
                    <a:cxn ang="0">
                      <a:pos x="102" y="504"/>
                    </a:cxn>
                  </a:cxnLst>
                  <a:rect l="0" t="0" r="r" b="b"/>
                  <a:pathLst>
                    <a:path w="107" h="504">
                      <a:moveTo>
                        <a:pt x="102" y="504"/>
                      </a:moveTo>
                      <a:lnTo>
                        <a:pt x="5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5" y="0"/>
                      </a:cubicBezTo>
                      <a:lnTo>
                        <a:pt x="102" y="0"/>
                      </a:lnTo>
                      <a:cubicBezTo>
                        <a:pt x="104" y="0"/>
                        <a:pt x="107" y="3"/>
                        <a:pt x="107" y="6"/>
                      </a:cubicBezTo>
                      <a:lnTo>
                        <a:pt x="107" y="499"/>
                      </a:lnTo>
                      <a:cubicBezTo>
                        <a:pt x="107" y="502"/>
                        <a:pt x="104" y="504"/>
                        <a:pt x="102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9" name="Freeform 252"/>
                <p:cNvSpPr>
                  <a:spLocks/>
                </p:cNvSpPr>
                <p:nvPr/>
              </p:nvSpPr>
              <p:spPr bwMode="auto">
                <a:xfrm>
                  <a:off x="1522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0" name="Freeform 253"/>
                <p:cNvSpPr>
                  <a:spLocks/>
                </p:cNvSpPr>
                <p:nvPr/>
              </p:nvSpPr>
              <p:spPr bwMode="auto">
                <a:xfrm>
                  <a:off x="1551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2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2" y="0"/>
                    </a:cxn>
                    <a:cxn ang="0">
                      <a:pos x="107" y="6"/>
                    </a:cxn>
                    <a:cxn ang="0">
                      <a:pos x="107" y="499"/>
                    </a:cxn>
                    <a:cxn ang="0">
                      <a:pos x="102" y="504"/>
                    </a:cxn>
                  </a:cxnLst>
                  <a:rect l="0" t="0" r="r" b="b"/>
                  <a:pathLst>
                    <a:path w="107" h="504">
                      <a:moveTo>
                        <a:pt x="102" y="504"/>
                      </a:moveTo>
                      <a:lnTo>
                        <a:pt x="5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5" y="0"/>
                      </a:cubicBezTo>
                      <a:lnTo>
                        <a:pt x="102" y="0"/>
                      </a:lnTo>
                      <a:cubicBezTo>
                        <a:pt x="104" y="0"/>
                        <a:pt x="107" y="3"/>
                        <a:pt x="107" y="6"/>
                      </a:cubicBezTo>
                      <a:lnTo>
                        <a:pt x="107" y="499"/>
                      </a:lnTo>
                      <a:cubicBezTo>
                        <a:pt x="107" y="502"/>
                        <a:pt x="104" y="504"/>
                        <a:pt x="102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1" name="Freeform 254"/>
                <p:cNvSpPr>
                  <a:spLocks/>
                </p:cNvSpPr>
                <p:nvPr/>
              </p:nvSpPr>
              <p:spPr bwMode="auto">
                <a:xfrm>
                  <a:off x="1580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2" name="Freeform 255"/>
                <p:cNvSpPr>
                  <a:spLocks/>
                </p:cNvSpPr>
                <p:nvPr/>
              </p:nvSpPr>
              <p:spPr bwMode="auto">
                <a:xfrm>
                  <a:off x="1609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7" y="6"/>
                    </a:cxn>
                    <a:cxn ang="0">
                      <a:pos x="107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7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7" y="3"/>
                        <a:pt x="107" y="6"/>
                      </a:cubicBezTo>
                      <a:lnTo>
                        <a:pt x="107" y="499"/>
                      </a:lnTo>
                      <a:cubicBezTo>
                        <a:pt x="107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3" name="Freeform 256"/>
                <p:cNvSpPr>
                  <a:spLocks/>
                </p:cNvSpPr>
                <p:nvPr/>
              </p:nvSpPr>
              <p:spPr bwMode="auto">
                <a:xfrm>
                  <a:off x="1477" y="1667"/>
                  <a:ext cx="12" cy="123"/>
                </a:xfrm>
                <a:custGeom>
                  <a:avLst/>
                  <a:gdLst/>
                  <a:ahLst/>
                  <a:cxnLst>
                    <a:cxn ang="0">
                      <a:pos x="0" y="504"/>
                    </a:cxn>
                    <a:cxn ang="0">
                      <a:pos x="48" y="504"/>
                    </a:cxn>
                    <a:cxn ang="0">
                      <a:pos x="53" y="499"/>
                    </a:cxn>
                    <a:cxn ang="0">
                      <a:pos x="53" y="6"/>
                    </a:cxn>
                    <a:cxn ang="0">
                      <a:pos x="48" y="0"/>
                    </a:cxn>
                    <a:cxn ang="0">
                      <a:pos x="0" y="0"/>
                    </a:cxn>
                    <a:cxn ang="0">
                      <a:pos x="0" y="504"/>
                    </a:cxn>
                  </a:cxnLst>
                  <a:rect l="0" t="0" r="r" b="b"/>
                  <a:pathLst>
                    <a:path w="53" h="504">
                      <a:moveTo>
                        <a:pt x="0" y="504"/>
                      </a:moveTo>
                      <a:lnTo>
                        <a:pt x="48" y="504"/>
                      </a:lnTo>
                      <a:cubicBezTo>
                        <a:pt x="51" y="504"/>
                        <a:pt x="53" y="502"/>
                        <a:pt x="53" y="499"/>
                      </a:cubicBezTo>
                      <a:lnTo>
                        <a:pt x="53" y="6"/>
                      </a:lnTo>
                      <a:cubicBezTo>
                        <a:pt x="53" y="3"/>
                        <a:pt x="51" y="0"/>
                        <a:pt x="48" y="0"/>
                      </a:cubicBezTo>
                      <a:lnTo>
                        <a:pt x="0" y="0"/>
                      </a:lnTo>
                      <a:lnTo>
                        <a:pt x="0" y="504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4" name="Freeform 257"/>
                <p:cNvSpPr>
                  <a:spLocks/>
                </p:cNvSpPr>
                <p:nvPr/>
              </p:nvSpPr>
              <p:spPr bwMode="auto">
                <a:xfrm>
                  <a:off x="1493" y="1667"/>
                  <a:ext cx="12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5" name="Freeform 258"/>
                <p:cNvSpPr>
                  <a:spLocks/>
                </p:cNvSpPr>
                <p:nvPr/>
              </p:nvSpPr>
              <p:spPr bwMode="auto">
                <a:xfrm>
                  <a:off x="1522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6" name="Freeform 259"/>
                <p:cNvSpPr>
                  <a:spLocks/>
                </p:cNvSpPr>
                <p:nvPr/>
              </p:nvSpPr>
              <p:spPr bwMode="auto">
                <a:xfrm>
                  <a:off x="1551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7" name="Freeform 260"/>
                <p:cNvSpPr>
                  <a:spLocks/>
                </p:cNvSpPr>
                <p:nvPr/>
              </p:nvSpPr>
              <p:spPr bwMode="auto">
                <a:xfrm>
                  <a:off x="1580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8" name="Freeform 261"/>
                <p:cNvSpPr>
                  <a:spLocks/>
                </p:cNvSpPr>
                <p:nvPr/>
              </p:nvSpPr>
              <p:spPr bwMode="auto">
                <a:xfrm>
                  <a:off x="1609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9" name="Freeform 262"/>
                <p:cNvSpPr>
                  <a:spLocks/>
                </p:cNvSpPr>
                <p:nvPr/>
              </p:nvSpPr>
              <p:spPr bwMode="auto">
                <a:xfrm>
                  <a:off x="926" y="1641"/>
                  <a:ext cx="43" cy="160"/>
                </a:xfrm>
                <a:custGeom>
                  <a:avLst/>
                  <a:gdLst/>
                  <a:ahLst/>
                  <a:cxnLst>
                    <a:cxn ang="0">
                      <a:pos x="174" y="652"/>
                    </a:cxn>
                    <a:cxn ang="0">
                      <a:pos x="101" y="652"/>
                    </a:cxn>
                    <a:cxn ang="0">
                      <a:pos x="78" y="652"/>
                    </a:cxn>
                    <a:cxn ang="0">
                      <a:pos x="5" y="652"/>
                    </a:cxn>
                    <a:cxn ang="0">
                      <a:pos x="0" y="647"/>
                    </a:cxn>
                    <a:cxn ang="0">
                      <a:pos x="0" y="498"/>
                    </a:cxn>
                    <a:cxn ang="0">
                      <a:pos x="0" y="154"/>
                    </a:cxn>
                    <a:cxn ang="0">
                      <a:pos x="0" y="5"/>
                    </a:cxn>
                    <a:cxn ang="0">
                      <a:pos x="5" y="0"/>
                    </a:cxn>
                    <a:cxn ang="0">
                      <a:pos x="78" y="0"/>
                    </a:cxn>
                    <a:cxn ang="0">
                      <a:pos x="101" y="0"/>
                    </a:cxn>
                    <a:cxn ang="0">
                      <a:pos x="174" y="0"/>
                    </a:cxn>
                    <a:cxn ang="0">
                      <a:pos x="179" y="5"/>
                    </a:cxn>
                    <a:cxn ang="0">
                      <a:pos x="179" y="154"/>
                    </a:cxn>
                    <a:cxn ang="0">
                      <a:pos x="179" y="498"/>
                    </a:cxn>
                    <a:cxn ang="0">
                      <a:pos x="179" y="647"/>
                    </a:cxn>
                    <a:cxn ang="0">
                      <a:pos x="174" y="652"/>
                    </a:cxn>
                  </a:cxnLst>
                  <a:rect l="0" t="0" r="r" b="b"/>
                  <a:pathLst>
                    <a:path w="179" h="652">
                      <a:moveTo>
                        <a:pt x="174" y="652"/>
                      </a:moveTo>
                      <a:lnTo>
                        <a:pt x="101" y="652"/>
                      </a:lnTo>
                      <a:lnTo>
                        <a:pt x="78" y="652"/>
                      </a:lnTo>
                      <a:lnTo>
                        <a:pt x="5" y="652"/>
                      </a:lnTo>
                      <a:cubicBezTo>
                        <a:pt x="2" y="652"/>
                        <a:pt x="0" y="650"/>
                        <a:pt x="0" y="647"/>
                      </a:cubicBezTo>
                      <a:lnTo>
                        <a:pt x="0" y="498"/>
                      </a:lnTo>
                      <a:lnTo>
                        <a:pt x="0" y="154"/>
                      </a:lnTo>
                      <a:lnTo>
                        <a:pt x="0" y="5"/>
                      </a:lnTo>
                      <a:cubicBezTo>
                        <a:pt x="0" y="2"/>
                        <a:pt x="2" y="0"/>
                        <a:pt x="5" y="0"/>
                      </a:cubicBezTo>
                      <a:lnTo>
                        <a:pt x="78" y="0"/>
                      </a:lnTo>
                      <a:lnTo>
                        <a:pt x="101" y="0"/>
                      </a:lnTo>
                      <a:lnTo>
                        <a:pt x="174" y="0"/>
                      </a:lnTo>
                      <a:cubicBezTo>
                        <a:pt x="177" y="0"/>
                        <a:pt x="179" y="2"/>
                        <a:pt x="179" y="5"/>
                      </a:cubicBezTo>
                      <a:lnTo>
                        <a:pt x="179" y="154"/>
                      </a:lnTo>
                      <a:lnTo>
                        <a:pt x="179" y="498"/>
                      </a:lnTo>
                      <a:lnTo>
                        <a:pt x="179" y="647"/>
                      </a:lnTo>
                      <a:cubicBezTo>
                        <a:pt x="179" y="650"/>
                        <a:pt x="177" y="652"/>
                        <a:pt x="174" y="652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0" name="Freeform 263"/>
                <p:cNvSpPr>
                  <a:spLocks noEditPoints="1"/>
                </p:cNvSpPr>
                <p:nvPr/>
              </p:nvSpPr>
              <p:spPr bwMode="auto">
                <a:xfrm>
                  <a:off x="1495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1" name="Freeform 264"/>
                <p:cNvSpPr>
                  <a:spLocks noEditPoints="1"/>
                </p:cNvSpPr>
                <p:nvPr/>
              </p:nvSpPr>
              <p:spPr bwMode="auto">
                <a:xfrm>
                  <a:off x="1524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0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4" y="17"/>
                    </a:cxn>
                    <a:cxn ang="0">
                      <a:pos x="70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0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4" y="17"/>
                      </a:lnTo>
                      <a:lnTo>
                        <a:pt x="70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2" name="Freeform 265"/>
                <p:cNvSpPr>
                  <a:spLocks noEditPoints="1"/>
                </p:cNvSpPr>
                <p:nvPr/>
              </p:nvSpPr>
              <p:spPr bwMode="auto">
                <a:xfrm>
                  <a:off x="1553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2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3" name="Freeform 266"/>
                <p:cNvSpPr>
                  <a:spLocks noEditPoints="1"/>
                </p:cNvSpPr>
                <p:nvPr/>
              </p:nvSpPr>
              <p:spPr bwMode="auto">
                <a:xfrm>
                  <a:off x="1582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3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0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4" y="17"/>
                    </a:cxn>
                    <a:cxn ang="0">
                      <a:pos x="70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3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0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4" y="17"/>
                      </a:lnTo>
                      <a:lnTo>
                        <a:pt x="70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4" name="Freeform 267"/>
                <p:cNvSpPr>
                  <a:spLocks noEditPoints="1"/>
                </p:cNvSpPr>
                <p:nvPr/>
              </p:nvSpPr>
              <p:spPr bwMode="auto">
                <a:xfrm>
                  <a:off x="1611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2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5" name="Freeform 268"/>
                <p:cNvSpPr>
                  <a:spLocks noEditPoints="1"/>
                </p:cNvSpPr>
                <p:nvPr/>
              </p:nvSpPr>
              <p:spPr bwMode="auto">
                <a:xfrm>
                  <a:off x="1477" y="1705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27" y="17"/>
                    </a:cxn>
                    <a:cxn ang="0">
                      <a:pos x="40" y="17"/>
                    </a:cxn>
                    <a:cxn ang="0">
                      <a:pos x="39" y="11"/>
                    </a:cxn>
                    <a:cxn ang="0">
                      <a:pos x="39" y="11"/>
                    </a:cxn>
                    <a:cxn ang="0">
                      <a:pos x="37" y="5"/>
                    </a:cxn>
                    <a:cxn ang="0">
                      <a:pos x="30" y="0"/>
                    </a:cxn>
                    <a:cxn ang="0">
                      <a:pos x="24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0" y="12"/>
                    </a:cxn>
                    <a:cxn ang="0">
                      <a:pos x="14" y="12"/>
                    </a:cxn>
                    <a:cxn ang="0">
                      <a:pos x="16" y="12"/>
                    </a:cxn>
                    <a:cxn ang="0">
                      <a:pos x="16" y="0"/>
                    </a:cxn>
                    <a:cxn ang="0">
                      <a:pos x="0" y="0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23" y="12"/>
                        <a:pt x="26" y="14"/>
                        <a:pt x="27" y="17"/>
                      </a:cubicBezTo>
                      <a:lnTo>
                        <a:pt x="40" y="17"/>
                      </a:lnTo>
                      <a:lnTo>
                        <a:pt x="39" y="11"/>
                      </a:lnTo>
                      <a:lnTo>
                        <a:pt x="39" y="11"/>
                      </a:lnTo>
                      <a:lnTo>
                        <a:pt x="37" y="5"/>
                      </a:lnTo>
                      <a:cubicBezTo>
                        <a:pt x="36" y="2"/>
                        <a:pt x="33" y="0"/>
                        <a:pt x="30" y="0"/>
                      </a:cubicBezTo>
                      <a:lnTo>
                        <a:pt x="24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0" y="12"/>
                      </a:moveTo>
                      <a:lnTo>
                        <a:pt x="14" y="12"/>
                      </a:lnTo>
                      <a:lnTo>
                        <a:pt x="16" y="12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6" name="Freeform 269"/>
                <p:cNvSpPr>
                  <a:spLocks noEditPoints="1"/>
                </p:cNvSpPr>
                <p:nvPr/>
              </p:nvSpPr>
              <p:spPr bwMode="auto">
                <a:xfrm>
                  <a:off x="1495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7" name="Freeform 270"/>
                <p:cNvSpPr>
                  <a:spLocks noEditPoints="1"/>
                </p:cNvSpPr>
                <p:nvPr/>
              </p:nvSpPr>
              <p:spPr bwMode="auto">
                <a:xfrm>
                  <a:off x="1524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6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  <a:cxn ang="0">
                      <a:pos x="60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1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4" y="17"/>
                    </a:cxn>
                    <a:cxn ang="0">
                      <a:pos x="70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1"/>
                      </a:moveTo>
                      <a:cubicBezTo>
                        <a:pt x="17" y="11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6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  <a:moveTo>
                        <a:pt x="60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1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4" y="17"/>
                      </a:lnTo>
                      <a:lnTo>
                        <a:pt x="70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8" name="Freeform 271"/>
                <p:cNvSpPr>
                  <a:spLocks noEditPoints="1"/>
                </p:cNvSpPr>
                <p:nvPr/>
              </p:nvSpPr>
              <p:spPr bwMode="auto">
                <a:xfrm>
                  <a:off x="1553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2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9" name="Freeform 272"/>
                <p:cNvSpPr>
                  <a:spLocks noEditPoints="1"/>
                </p:cNvSpPr>
                <p:nvPr/>
              </p:nvSpPr>
              <p:spPr bwMode="auto">
                <a:xfrm>
                  <a:off x="1582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3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6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  <a:cxn ang="0">
                      <a:pos x="60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1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4" y="17"/>
                    </a:cxn>
                    <a:cxn ang="0">
                      <a:pos x="70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1"/>
                      </a:moveTo>
                      <a:cubicBezTo>
                        <a:pt x="17" y="11"/>
                        <a:pt x="14" y="14"/>
                        <a:pt x="13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6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  <a:moveTo>
                        <a:pt x="60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1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4" y="17"/>
                      </a:lnTo>
                      <a:lnTo>
                        <a:pt x="70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0" name="Freeform 273"/>
                <p:cNvSpPr>
                  <a:spLocks noEditPoints="1"/>
                </p:cNvSpPr>
                <p:nvPr/>
              </p:nvSpPr>
              <p:spPr bwMode="auto">
                <a:xfrm>
                  <a:off x="1611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2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1" name="Freeform 274"/>
                <p:cNvSpPr>
                  <a:spLocks noEditPoints="1"/>
                </p:cNvSpPr>
                <p:nvPr/>
              </p:nvSpPr>
              <p:spPr bwMode="auto">
                <a:xfrm>
                  <a:off x="1477" y="1722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27" y="17"/>
                    </a:cxn>
                    <a:cxn ang="0">
                      <a:pos x="40" y="17"/>
                    </a:cxn>
                    <a:cxn ang="0">
                      <a:pos x="39" y="11"/>
                    </a:cxn>
                    <a:cxn ang="0">
                      <a:pos x="39" y="11"/>
                    </a:cxn>
                    <a:cxn ang="0">
                      <a:pos x="37" y="5"/>
                    </a:cxn>
                    <a:cxn ang="0">
                      <a:pos x="30" y="0"/>
                    </a:cxn>
                    <a:cxn ang="0">
                      <a:pos x="24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0" y="11"/>
                    </a:cxn>
                    <a:cxn ang="0">
                      <a:pos x="14" y="11"/>
                    </a:cxn>
                    <a:cxn ang="0">
                      <a:pos x="16" y="11"/>
                    </a:cxn>
                    <a:cxn ang="0">
                      <a:pos x="16" y="0"/>
                    </a:cxn>
                    <a:cxn ang="0">
                      <a:pos x="0" y="0"/>
                    </a:cxn>
                    <a:cxn ang="0">
                      <a:pos x="0" y="11"/>
                    </a:cxn>
                  </a:cxnLst>
                  <a:rect l="0" t="0" r="r" b="b"/>
                  <a:pathLst>
                    <a:path w="40" h="17">
                      <a:moveTo>
                        <a:pt x="20" y="11"/>
                      </a:moveTo>
                      <a:cubicBezTo>
                        <a:pt x="23" y="11"/>
                        <a:pt x="26" y="14"/>
                        <a:pt x="27" y="17"/>
                      </a:cubicBezTo>
                      <a:lnTo>
                        <a:pt x="40" y="17"/>
                      </a:lnTo>
                      <a:lnTo>
                        <a:pt x="39" y="11"/>
                      </a:lnTo>
                      <a:lnTo>
                        <a:pt x="39" y="11"/>
                      </a:lnTo>
                      <a:lnTo>
                        <a:pt x="37" y="5"/>
                      </a:lnTo>
                      <a:cubicBezTo>
                        <a:pt x="36" y="2"/>
                        <a:pt x="33" y="0"/>
                        <a:pt x="30" y="0"/>
                      </a:cubicBezTo>
                      <a:lnTo>
                        <a:pt x="24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0" y="11"/>
                      </a:moveTo>
                      <a:lnTo>
                        <a:pt x="14" y="11"/>
                      </a:lnTo>
                      <a:lnTo>
                        <a:pt x="16" y="11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2" name="Freeform 275"/>
                <p:cNvSpPr>
                  <a:spLocks noEditPoints="1"/>
                </p:cNvSpPr>
                <p:nvPr/>
              </p:nvSpPr>
              <p:spPr bwMode="auto">
                <a:xfrm>
                  <a:off x="1495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3" name="Freeform 276"/>
                <p:cNvSpPr>
                  <a:spLocks noEditPoints="1"/>
                </p:cNvSpPr>
                <p:nvPr/>
              </p:nvSpPr>
              <p:spPr bwMode="auto">
                <a:xfrm>
                  <a:off x="1524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0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6"/>
                    </a:cxn>
                    <a:cxn ang="0">
                      <a:pos x="83" y="12"/>
                    </a:cxn>
                    <a:cxn ang="0">
                      <a:pos x="84" y="17"/>
                    </a:cxn>
                    <a:cxn ang="0">
                      <a:pos x="70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0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3"/>
                        <a:pt x="81" y="6"/>
                      </a:cubicBezTo>
                      <a:lnTo>
                        <a:pt x="83" y="12"/>
                      </a:lnTo>
                      <a:lnTo>
                        <a:pt x="84" y="17"/>
                      </a:lnTo>
                      <a:lnTo>
                        <a:pt x="70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4" name="Freeform 277"/>
                <p:cNvSpPr>
                  <a:spLocks noEditPoints="1"/>
                </p:cNvSpPr>
                <p:nvPr/>
              </p:nvSpPr>
              <p:spPr bwMode="auto">
                <a:xfrm>
                  <a:off x="1553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2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1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1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5" name="Freeform 278"/>
                <p:cNvSpPr>
                  <a:spLocks noEditPoints="1"/>
                </p:cNvSpPr>
                <p:nvPr/>
              </p:nvSpPr>
              <p:spPr bwMode="auto">
                <a:xfrm>
                  <a:off x="1582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3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0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6"/>
                    </a:cxn>
                    <a:cxn ang="0">
                      <a:pos x="83" y="12"/>
                    </a:cxn>
                    <a:cxn ang="0">
                      <a:pos x="84" y="17"/>
                    </a:cxn>
                    <a:cxn ang="0">
                      <a:pos x="70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5"/>
                        <a:pt x="13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0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3"/>
                        <a:pt x="81" y="6"/>
                      </a:cubicBezTo>
                      <a:lnTo>
                        <a:pt x="83" y="12"/>
                      </a:lnTo>
                      <a:lnTo>
                        <a:pt x="84" y="17"/>
                      </a:lnTo>
                      <a:lnTo>
                        <a:pt x="70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6" name="Freeform 279"/>
                <p:cNvSpPr>
                  <a:spLocks noEditPoints="1"/>
                </p:cNvSpPr>
                <p:nvPr/>
              </p:nvSpPr>
              <p:spPr bwMode="auto">
                <a:xfrm>
                  <a:off x="1611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2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1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1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7" name="Freeform 280"/>
                <p:cNvSpPr>
                  <a:spLocks noEditPoints="1"/>
                </p:cNvSpPr>
                <p:nvPr/>
              </p:nvSpPr>
              <p:spPr bwMode="auto">
                <a:xfrm>
                  <a:off x="1477" y="1739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27" y="17"/>
                    </a:cxn>
                    <a:cxn ang="0">
                      <a:pos x="40" y="17"/>
                    </a:cxn>
                    <a:cxn ang="0">
                      <a:pos x="39" y="12"/>
                    </a:cxn>
                    <a:cxn ang="0">
                      <a:pos x="39" y="12"/>
                    </a:cxn>
                    <a:cxn ang="0">
                      <a:pos x="37" y="6"/>
                    </a:cxn>
                    <a:cxn ang="0">
                      <a:pos x="30" y="0"/>
                    </a:cxn>
                    <a:cxn ang="0">
                      <a:pos x="24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0" y="12"/>
                    </a:cxn>
                    <a:cxn ang="0">
                      <a:pos x="14" y="12"/>
                    </a:cxn>
                    <a:cxn ang="0">
                      <a:pos x="16" y="12"/>
                    </a:cxn>
                    <a:cxn ang="0">
                      <a:pos x="16" y="0"/>
                    </a:cxn>
                    <a:cxn ang="0">
                      <a:pos x="0" y="0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23" y="12"/>
                        <a:pt x="26" y="15"/>
                        <a:pt x="27" y="17"/>
                      </a:cubicBezTo>
                      <a:lnTo>
                        <a:pt x="40" y="17"/>
                      </a:lnTo>
                      <a:lnTo>
                        <a:pt x="39" y="12"/>
                      </a:lnTo>
                      <a:lnTo>
                        <a:pt x="39" y="12"/>
                      </a:lnTo>
                      <a:lnTo>
                        <a:pt x="37" y="6"/>
                      </a:lnTo>
                      <a:cubicBezTo>
                        <a:pt x="36" y="3"/>
                        <a:pt x="33" y="0"/>
                        <a:pt x="30" y="0"/>
                      </a:cubicBezTo>
                      <a:lnTo>
                        <a:pt x="24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0" y="12"/>
                      </a:moveTo>
                      <a:lnTo>
                        <a:pt x="14" y="12"/>
                      </a:lnTo>
                      <a:lnTo>
                        <a:pt x="16" y="12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8" name="Freeform 281"/>
                <p:cNvSpPr>
                  <a:spLocks noEditPoints="1"/>
                </p:cNvSpPr>
                <p:nvPr/>
              </p:nvSpPr>
              <p:spPr bwMode="auto">
                <a:xfrm>
                  <a:off x="1495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9" name="Freeform 282"/>
                <p:cNvSpPr>
                  <a:spLocks noEditPoints="1"/>
                </p:cNvSpPr>
                <p:nvPr/>
              </p:nvSpPr>
              <p:spPr bwMode="auto">
                <a:xfrm>
                  <a:off x="1524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0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2"/>
                    </a:cxn>
                    <a:cxn ang="0">
                      <a:pos x="84" y="17"/>
                    </a:cxn>
                    <a:cxn ang="0">
                      <a:pos x="70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0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2"/>
                      </a:lnTo>
                      <a:lnTo>
                        <a:pt x="84" y="17"/>
                      </a:lnTo>
                      <a:lnTo>
                        <a:pt x="70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0" name="Freeform 283"/>
                <p:cNvSpPr>
                  <a:spLocks noEditPoints="1"/>
                </p:cNvSpPr>
                <p:nvPr/>
              </p:nvSpPr>
              <p:spPr bwMode="auto">
                <a:xfrm>
                  <a:off x="1553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2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1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1" name="Freeform 284"/>
                <p:cNvSpPr>
                  <a:spLocks noEditPoints="1"/>
                </p:cNvSpPr>
                <p:nvPr/>
              </p:nvSpPr>
              <p:spPr bwMode="auto">
                <a:xfrm>
                  <a:off x="1582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3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0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2"/>
                    </a:cxn>
                    <a:cxn ang="0">
                      <a:pos x="84" y="17"/>
                    </a:cxn>
                    <a:cxn ang="0">
                      <a:pos x="70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3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0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2"/>
                      </a:lnTo>
                      <a:lnTo>
                        <a:pt x="84" y="17"/>
                      </a:lnTo>
                      <a:lnTo>
                        <a:pt x="70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2" name="Freeform 285"/>
                <p:cNvSpPr>
                  <a:spLocks noEditPoints="1"/>
                </p:cNvSpPr>
                <p:nvPr/>
              </p:nvSpPr>
              <p:spPr bwMode="auto">
                <a:xfrm>
                  <a:off x="1611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2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1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3" name="Freeform 286"/>
                <p:cNvSpPr>
                  <a:spLocks noEditPoints="1"/>
                </p:cNvSpPr>
                <p:nvPr/>
              </p:nvSpPr>
              <p:spPr bwMode="auto">
                <a:xfrm>
                  <a:off x="1477" y="1756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27" y="17"/>
                    </a:cxn>
                    <a:cxn ang="0">
                      <a:pos x="40" y="17"/>
                    </a:cxn>
                    <a:cxn ang="0">
                      <a:pos x="39" y="12"/>
                    </a:cxn>
                    <a:cxn ang="0">
                      <a:pos x="39" y="12"/>
                    </a:cxn>
                    <a:cxn ang="0">
                      <a:pos x="37" y="5"/>
                    </a:cxn>
                    <a:cxn ang="0">
                      <a:pos x="30" y="0"/>
                    </a:cxn>
                    <a:cxn ang="0">
                      <a:pos x="24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0" y="12"/>
                    </a:cxn>
                    <a:cxn ang="0">
                      <a:pos x="14" y="12"/>
                    </a:cxn>
                    <a:cxn ang="0">
                      <a:pos x="16" y="12"/>
                    </a:cxn>
                    <a:cxn ang="0">
                      <a:pos x="16" y="0"/>
                    </a:cxn>
                    <a:cxn ang="0">
                      <a:pos x="0" y="0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23" y="12"/>
                        <a:pt x="26" y="14"/>
                        <a:pt x="27" y="17"/>
                      </a:cubicBezTo>
                      <a:lnTo>
                        <a:pt x="40" y="17"/>
                      </a:lnTo>
                      <a:lnTo>
                        <a:pt x="39" y="12"/>
                      </a:lnTo>
                      <a:lnTo>
                        <a:pt x="39" y="12"/>
                      </a:lnTo>
                      <a:lnTo>
                        <a:pt x="37" y="5"/>
                      </a:lnTo>
                      <a:cubicBezTo>
                        <a:pt x="36" y="2"/>
                        <a:pt x="33" y="0"/>
                        <a:pt x="30" y="0"/>
                      </a:cubicBezTo>
                      <a:lnTo>
                        <a:pt x="24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0" y="12"/>
                      </a:moveTo>
                      <a:lnTo>
                        <a:pt x="14" y="12"/>
                      </a:lnTo>
                      <a:lnTo>
                        <a:pt x="16" y="12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4" name="Freeform 287"/>
                <p:cNvSpPr>
                  <a:spLocks/>
                </p:cNvSpPr>
                <p:nvPr/>
              </p:nvSpPr>
              <p:spPr bwMode="auto">
                <a:xfrm>
                  <a:off x="1498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5" name="Freeform 288"/>
                <p:cNvSpPr>
                  <a:spLocks/>
                </p:cNvSpPr>
                <p:nvPr/>
              </p:nvSpPr>
              <p:spPr bwMode="auto">
                <a:xfrm>
                  <a:off x="1527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4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6" name="Freeform 289"/>
                <p:cNvSpPr>
                  <a:spLocks/>
                </p:cNvSpPr>
                <p:nvPr/>
              </p:nvSpPr>
              <p:spPr bwMode="auto">
                <a:xfrm>
                  <a:off x="1556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7" name="Freeform 290"/>
                <p:cNvSpPr>
                  <a:spLocks/>
                </p:cNvSpPr>
                <p:nvPr/>
              </p:nvSpPr>
              <p:spPr bwMode="auto">
                <a:xfrm>
                  <a:off x="1585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8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4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8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8" name="Freeform 291"/>
                <p:cNvSpPr>
                  <a:spLocks/>
                </p:cNvSpPr>
                <p:nvPr/>
              </p:nvSpPr>
              <p:spPr bwMode="auto">
                <a:xfrm>
                  <a:off x="1614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9" name="Freeform 292"/>
                <p:cNvSpPr>
                  <a:spLocks/>
                </p:cNvSpPr>
                <p:nvPr/>
              </p:nvSpPr>
              <p:spPr bwMode="auto">
                <a:xfrm>
                  <a:off x="1477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31" y="25"/>
                    </a:cxn>
                    <a:cxn ang="0">
                      <a:pos x="13" y="51"/>
                    </a:cxn>
                    <a:cxn ang="0">
                      <a:pos x="8" y="54"/>
                    </a:cxn>
                    <a:cxn ang="0">
                      <a:pos x="8" y="55"/>
                    </a:cxn>
                    <a:cxn ang="0">
                      <a:pos x="0" y="55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23" y="4"/>
                    </a:cxn>
                    <a:cxn ang="0">
                      <a:pos x="31" y="18"/>
                    </a:cxn>
                    <a:cxn ang="0">
                      <a:pos x="31" y="25"/>
                    </a:cxn>
                  </a:cxnLst>
                  <a:rect l="0" t="0" r="r" b="b"/>
                  <a:pathLst>
                    <a:path w="32" h="55">
                      <a:moveTo>
                        <a:pt x="31" y="25"/>
                      </a:moveTo>
                      <a:lnTo>
                        <a:pt x="13" y="51"/>
                      </a:lnTo>
                      <a:cubicBezTo>
                        <a:pt x="12" y="53"/>
                        <a:pt x="10" y="54"/>
                        <a:pt x="8" y="54"/>
                      </a:cubicBezTo>
                      <a:lnTo>
                        <a:pt x="8" y="55"/>
                      </a:lnTo>
                      <a:lnTo>
                        <a:pt x="0" y="55"/>
                      </a:lnTo>
                      <a:lnTo>
                        <a:pt x="0" y="0"/>
                      </a:lnTo>
                      <a:lnTo>
                        <a:pt x="17" y="0"/>
                      </a:lnTo>
                      <a:cubicBezTo>
                        <a:pt x="20" y="0"/>
                        <a:pt x="22" y="2"/>
                        <a:pt x="23" y="4"/>
                      </a:cubicBezTo>
                      <a:lnTo>
                        <a:pt x="31" y="18"/>
                      </a:lnTo>
                      <a:cubicBezTo>
                        <a:pt x="32" y="20"/>
                        <a:pt x="32" y="23"/>
                        <a:pt x="3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0" name="Freeform 293"/>
                <p:cNvSpPr>
                  <a:spLocks/>
                </p:cNvSpPr>
                <p:nvPr/>
              </p:nvSpPr>
              <p:spPr bwMode="auto">
                <a:xfrm>
                  <a:off x="1498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2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1" name="Freeform 294"/>
                <p:cNvSpPr>
                  <a:spLocks/>
                </p:cNvSpPr>
                <p:nvPr/>
              </p:nvSpPr>
              <p:spPr bwMode="auto">
                <a:xfrm>
                  <a:off x="1527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2" name="Freeform 295"/>
                <p:cNvSpPr>
                  <a:spLocks/>
                </p:cNvSpPr>
                <p:nvPr/>
              </p:nvSpPr>
              <p:spPr bwMode="auto">
                <a:xfrm>
                  <a:off x="1556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2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3" name="Freeform 296"/>
                <p:cNvSpPr>
                  <a:spLocks/>
                </p:cNvSpPr>
                <p:nvPr/>
              </p:nvSpPr>
              <p:spPr bwMode="auto">
                <a:xfrm>
                  <a:off x="1585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8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8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4" name="Freeform 297"/>
                <p:cNvSpPr>
                  <a:spLocks/>
                </p:cNvSpPr>
                <p:nvPr/>
              </p:nvSpPr>
              <p:spPr bwMode="auto">
                <a:xfrm>
                  <a:off x="1614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2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5" y="54"/>
                      </a:cubicBezTo>
                      <a:lnTo>
                        <a:pt x="25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5" name="Freeform 298"/>
                <p:cNvSpPr>
                  <a:spLocks noEditPoints="1"/>
                </p:cNvSpPr>
                <p:nvPr/>
              </p:nvSpPr>
              <p:spPr bwMode="auto">
                <a:xfrm>
                  <a:off x="1498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6" name="Freeform 299"/>
                <p:cNvSpPr>
                  <a:spLocks noEditPoints="1"/>
                </p:cNvSpPr>
                <p:nvPr/>
              </p:nvSpPr>
              <p:spPr bwMode="auto">
                <a:xfrm>
                  <a:off x="1527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9" y="21"/>
                    </a:cxn>
                    <a:cxn ang="0">
                      <a:pos x="16" y="9"/>
                    </a:cxn>
                    <a:cxn ang="0">
                      <a:pos x="48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5" y="46"/>
                    </a:cxn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25" y="46"/>
                      </a:moveTo>
                      <a:lnTo>
                        <a:pt x="10" y="23"/>
                      </a:lnTo>
                      <a:lnTo>
                        <a:pt x="9" y="21"/>
                      </a:lnTo>
                      <a:lnTo>
                        <a:pt x="16" y="9"/>
                      </a:lnTo>
                      <a:lnTo>
                        <a:pt x="48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5" y="46"/>
                      </a:lnTo>
                      <a:close/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4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7" name="Freeform 300"/>
                <p:cNvSpPr>
                  <a:spLocks noEditPoints="1"/>
                </p:cNvSpPr>
                <p:nvPr/>
              </p:nvSpPr>
              <p:spPr bwMode="auto">
                <a:xfrm>
                  <a:off x="1556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8" name="Freeform 301"/>
                <p:cNvSpPr>
                  <a:spLocks noEditPoints="1"/>
                </p:cNvSpPr>
                <p:nvPr/>
              </p:nvSpPr>
              <p:spPr bwMode="auto">
                <a:xfrm>
                  <a:off x="1585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9" y="21"/>
                    </a:cxn>
                    <a:cxn ang="0">
                      <a:pos x="16" y="9"/>
                    </a:cxn>
                    <a:cxn ang="0">
                      <a:pos x="48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5" y="46"/>
                    </a:cxn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8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25" y="46"/>
                      </a:moveTo>
                      <a:lnTo>
                        <a:pt x="10" y="23"/>
                      </a:lnTo>
                      <a:lnTo>
                        <a:pt x="9" y="21"/>
                      </a:lnTo>
                      <a:lnTo>
                        <a:pt x="16" y="9"/>
                      </a:lnTo>
                      <a:lnTo>
                        <a:pt x="48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5" y="46"/>
                      </a:lnTo>
                      <a:close/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4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8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9" name="Freeform 302"/>
                <p:cNvSpPr>
                  <a:spLocks noEditPoints="1"/>
                </p:cNvSpPr>
                <p:nvPr/>
              </p:nvSpPr>
              <p:spPr bwMode="auto">
                <a:xfrm>
                  <a:off x="1614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48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48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0" name="Freeform 303"/>
                <p:cNvSpPr>
                  <a:spLocks/>
                </p:cNvSpPr>
                <p:nvPr/>
              </p:nvSpPr>
              <p:spPr bwMode="auto">
                <a:xfrm>
                  <a:off x="1477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31" y="25"/>
                    </a:cxn>
                    <a:cxn ang="0">
                      <a:pos x="13" y="51"/>
                    </a:cxn>
                    <a:cxn ang="0">
                      <a:pos x="8" y="54"/>
                    </a:cxn>
                    <a:cxn ang="0">
                      <a:pos x="8" y="55"/>
                    </a:cxn>
                    <a:cxn ang="0">
                      <a:pos x="0" y="55"/>
                    </a:cxn>
                    <a:cxn ang="0">
                      <a:pos x="0" y="46"/>
                    </a:cxn>
                    <a:cxn ang="0">
                      <a:pos x="7" y="46"/>
                    </a:cxn>
                    <a:cxn ang="0">
                      <a:pos x="22" y="23"/>
                    </a:cxn>
                    <a:cxn ang="0">
                      <a:pos x="23" y="21"/>
                    </a:cxn>
                    <a:cxn ang="0">
                      <a:pos x="16" y="9"/>
                    </a:cxn>
                    <a:cxn ang="0">
                      <a:pos x="0" y="9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23" y="4"/>
                    </a:cxn>
                    <a:cxn ang="0">
                      <a:pos x="31" y="18"/>
                    </a:cxn>
                    <a:cxn ang="0">
                      <a:pos x="31" y="25"/>
                    </a:cxn>
                  </a:cxnLst>
                  <a:rect l="0" t="0" r="r" b="b"/>
                  <a:pathLst>
                    <a:path w="32" h="55">
                      <a:moveTo>
                        <a:pt x="31" y="25"/>
                      </a:moveTo>
                      <a:lnTo>
                        <a:pt x="13" y="51"/>
                      </a:lnTo>
                      <a:cubicBezTo>
                        <a:pt x="12" y="53"/>
                        <a:pt x="10" y="54"/>
                        <a:pt x="8" y="54"/>
                      </a:cubicBezTo>
                      <a:lnTo>
                        <a:pt x="8" y="55"/>
                      </a:lnTo>
                      <a:lnTo>
                        <a:pt x="0" y="55"/>
                      </a:lnTo>
                      <a:lnTo>
                        <a:pt x="0" y="46"/>
                      </a:lnTo>
                      <a:lnTo>
                        <a:pt x="7" y="46"/>
                      </a:lnTo>
                      <a:lnTo>
                        <a:pt x="22" y="23"/>
                      </a:lnTo>
                      <a:lnTo>
                        <a:pt x="23" y="21"/>
                      </a:lnTo>
                      <a:lnTo>
                        <a:pt x="16" y="9"/>
                      </a:lnTo>
                      <a:lnTo>
                        <a:pt x="0" y="9"/>
                      </a:lnTo>
                      <a:lnTo>
                        <a:pt x="0" y="0"/>
                      </a:lnTo>
                      <a:lnTo>
                        <a:pt x="17" y="0"/>
                      </a:lnTo>
                      <a:cubicBezTo>
                        <a:pt x="20" y="0"/>
                        <a:pt x="22" y="2"/>
                        <a:pt x="23" y="4"/>
                      </a:cubicBezTo>
                      <a:lnTo>
                        <a:pt x="31" y="18"/>
                      </a:lnTo>
                      <a:cubicBezTo>
                        <a:pt x="32" y="20"/>
                        <a:pt x="32" y="23"/>
                        <a:pt x="3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1" name="Freeform 304"/>
                <p:cNvSpPr>
                  <a:spLocks/>
                </p:cNvSpPr>
                <p:nvPr/>
              </p:nvSpPr>
              <p:spPr bwMode="auto">
                <a:xfrm>
                  <a:off x="1498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2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2" name="Freeform 305"/>
                <p:cNvSpPr>
                  <a:spLocks/>
                </p:cNvSpPr>
                <p:nvPr/>
              </p:nvSpPr>
              <p:spPr bwMode="auto">
                <a:xfrm>
                  <a:off x="1527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9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5" y="46"/>
                      </a:lnTo>
                      <a:lnTo>
                        <a:pt x="10" y="23"/>
                      </a:lnTo>
                      <a:lnTo>
                        <a:pt x="9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3" name="Freeform 306"/>
                <p:cNvSpPr>
                  <a:spLocks/>
                </p:cNvSpPr>
                <p:nvPr/>
              </p:nvSpPr>
              <p:spPr bwMode="auto">
                <a:xfrm>
                  <a:off x="1556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2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4" name="Freeform 307"/>
                <p:cNvSpPr>
                  <a:spLocks/>
                </p:cNvSpPr>
                <p:nvPr/>
              </p:nvSpPr>
              <p:spPr bwMode="auto">
                <a:xfrm>
                  <a:off x="1585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9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8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5" y="46"/>
                      </a:lnTo>
                      <a:lnTo>
                        <a:pt x="10" y="23"/>
                      </a:lnTo>
                      <a:lnTo>
                        <a:pt x="9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8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5" name="Freeform 308"/>
                <p:cNvSpPr>
                  <a:spLocks/>
                </p:cNvSpPr>
                <p:nvPr/>
              </p:nvSpPr>
              <p:spPr bwMode="auto">
                <a:xfrm>
                  <a:off x="1614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2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5" y="54"/>
                      </a:cubicBezTo>
                      <a:lnTo>
                        <a:pt x="25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6" name="Freeform 309"/>
                <p:cNvSpPr>
                  <a:spLocks/>
                </p:cNvSpPr>
                <p:nvPr/>
              </p:nvSpPr>
              <p:spPr bwMode="auto">
                <a:xfrm>
                  <a:off x="1496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8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7" name="Freeform 310"/>
                <p:cNvSpPr>
                  <a:spLocks/>
                </p:cNvSpPr>
                <p:nvPr/>
              </p:nvSpPr>
              <p:spPr bwMode="auto">
                <a:xfrm>
                  <a:off x="1525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6" y="34"/>
                    </a:cxn>
                    <a:cxn ang="0">
                      <a:pos x="68" y="28"/>
                    </a:cxn>
                    <a:cxn ang="0">
                      <a:pos x="70" y="23"/>
                    </a:cxn>
                    <a:cxn ang="0">
                      <a:pos x="76" y="17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6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6" y="34"/>
                      </a:cubicBezTo>
                      <a:lnTo>
                        <a:pt x="68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6" y="17"/>
                      </a:cubicBez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8" name="Freeform 311"/>
                <p:cNvSpPr>
                  <a:spLocks/>
                </p:cNvSpPr>
                <p:nvPr/>
              </p:nvSpPr>
              <p:spPr bwMode="auto">
                <a:xfrm>
                  <a:off x="1554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8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9" name="Freeform 312"/>
                <p:cNvSpPr>
                  <a:spLocks/>
                </p:cNvSpPr>
                <p:nvPr/>
              </p:nvSpPr>
              <p:spPr bwMode="auto">
                <a:xfrm>
                  <a:off x="1583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9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5" y="40"/>
                    </a:cxn>
                    <a:cxn ang="0">
                      <a:pos x="61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1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9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5" y="40"/>
                      </a:lnTo>
                      <a:lnTo>
                        <a:pt x="61" y="40"/>
                      </a:lnTo>
                      <a:cubicBezTo>
                        <a:pt x="64" y="40"/>
                        <a:pt x="67" y="37"/>
                        <a:pt x="67" y="34"/>
                      </a:cubicBezTo>
                      <a:lnTo>
                        <a:pt x="69" y="28"/>
                      </a:lnTo>
                      <a:lnTo>
                        <a:pt x="71" y="23"/>
                      </a:lnTo>
                      <a:cubicBezTo>
                        <a:pt x="72" y="20"/>
                        <a:pt x="75" y="17"/>
                        <a:pt x="77" y="17"/>
                      </a:cubicBezTo>
                      <a:cubicBezTo>
                        <a:pt x="67" y="6"/>
                        <a:pt x="54" y="0"/>
                        <a:pt x="39" y="0"/>
                      </a:cubicBezTo>
                      <a:cubicBezTo>
                        <a:pt x="24" y="0"/>
                        <a:pt x="11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0" name="Freeform 313"/>
                <p:cNvSpPr>
                  <a:spLocks/>
                </p:cNvSpPr>
                <p:nvPr/>
              </p:nvSpPr>
              <p:spPr bwMode="auto">
                <a:xfrm>
                  <a:off x="1612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8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1" name="Freeform 314"/>
                <p:cNvSpPr>
                  <a:spLocks/>
                </p:cNvSpPr>
                <p:nvPr/>
              </p:nvSpPr>
              <p:spPr bwMode="auto">
                <a:xfrm>
                  <a:off x="1477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38" y="17"/>
                    </a:cxn>
                    <a:cxn ang="0">
                      <a:pos x="32" y="23"/>
                    </a:cxn>
                    <a:cxn ang="0">
                      <a:pos x="30" y="28"/>
                    </a:cxn>
                    <a:cxn ang="0">
                      <a:pos x="29" y="34"/>
                    </a:cxn>
                    <a:cxn ang="0">
                      <a:pos x="22" y="40"/>
                    </a:cxn>
                    <a:cxn ang="0">
                      <a:pos x="16" y="40"/>
                    </a:cxn>
                    <a:cxn ang="0">
                      <a:pos x="0" y="40"/>
                    </a:cxn>
                    <a:cxn ang="0">
                      <a:pos x="0" y="0"/>
                    </a:cxn>
                    <a:cxn ang="0">
                      <a:pos x="38" y="17"/>
                    </a:cxn>
                  </a:cxnLst>
                  <a:rect l="0" t="0" r="r" b="b"/>
                  <a:pathLst>
                    <a:path w="38" h="40">
                      <a:moveTo>
                        <a:pt x="38" y="17"/>
                      </a:moveTo>
                      <a:cubicBezTo>
                        <a:pt x="36" y="17"/>
                        <a:pt x="33" y="20"/>
                        <a:pt x="32" y="23"/>
                      </a:cubicBezTo>
                      <a:lnTo>
                        <a:pt x="30" y="28"/>
                      </a:lnTo>
                      <a:lnTo>
                        <a:pt x="29" y="34"/>
                      </a:lnTo>
                      <a:cubicBezTo>
                        <a:pt x="28" y="37"/>
                        <a:pt x="25" y="40"/>
                        <a:pt x="22" y="40"/>
                      </a:cubicBezTo>
                      <a:lnTo>
                        <a:pt x="16" y="40"/>
                      </a:lnTo>
                      <a:lnTo>
                        <a:pt x="0" y="40"/>
                      </a:lnTo>
                      <a:lnTo>
                        <a:pt x="0" y="0"/>
                      </a:lnTo>
                      <a:cubicBezTo>
                        <a:pt x="15" y="0"/>
                        <a:pt x="28" y="6"/>
                        <a:pt x="38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2" name="Freeform 315"/>
                <p:cNvSpPr>
                  <a:spLocks/>
                </p:cNvSpPr>
                <p:nvPr/>
              </p:nvSpPr>
              <p:spPr bwMode="auto">
                <a:xfrm>
                  <a:off x="1496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3" name="Freeform 316"/>
                <p:cNvSpPr>
                  <a:spLocks/>
                </p:cNvSpPr>
                <p:nvPr/>
              </p:nvSpPr>
              <p:spPr bwMode="auto">
                <a:xfrm>
                  <a:off x="1525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4" name="Freeform 317"/>
                <p:cNvSpPr>
                  <a:spLocks/>
                </p:cNvSpPr>
                <p:nvPr/>
              </p:nvSpPr>
              <p:spPr bwMode="auto">
                <a:xfrm>
                  <a:off x="1554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5" name="Freeform 318"/>
                <p:cNvSpPr>
                  <a:spLocks/>
                </p:cNvSpPr>
                <p:nvPr/>
              </p:nvSpPr>
              <p:spPr bwMode="auto">
                <a:xfrm>
                  <a:off x="1583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9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9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1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6" name="Freeform 319"/>
                <p:cNvSpPr>
                  <a:spLocks/>
                </p:cNvSpPr>
                <p:nvPr/>
              </p:nvSpPr>
              <p:spPr bwMode="auto">
                <a:xfrm>
                  <a:off x="1612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7" name="Freeform 320"/>
                <p:cNvSpPr>
                  <a:spLocks/>
                </p:cNvSpPr>
                <p:nvPr/>
              </p:nvSpPr>
              <p:spPr bwMode="auto">
                <a:xfrm>
                  <a:off x="1496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8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8" name="Freeform 321"/>
                <p:cNvSpPr>
                  <a:spLocks/>
                </p:cNvSpPr>
                <p:nvPr/>
              </p:nvSpPr>
              <p:spPr bwMode="auto">
                <a:xfrm>
                  <a:off x="1525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6" y="17"/>
                    </a:cxn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76" y="17"/>
                    </a:cxn>
                  </a:cxnLst>
                  <a:rect l="0" t="0" r="r" b="b"/>
                  <a:pathLst>
                    <a:path w="76" h="17">
                      <a:moveTo>
                        <a:pt x="76" y="17"/>
                      </a:move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lnTo>
                        <a:pt x="76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9" name="Freeform 322"/>
                <p:cNvSpPr>
                  <a:spLocks/>
                </p:cNvSpPr>
                <p:nvPr/>
              </p:nvSpPr>
              <p:spPr bwMode="auto">
                <a:xfrm>
                  <a:off x="1554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8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0" name="Freeform 323"/>
                <p:cNvSpPr>
                  <a:spLocks/>
                </p:cNvSpPr>
                <p:nvPr/>
              </p:nvSpPr>
              <p:spPr bwMode="auto">
                <a:xfrm>
                  <a:off x="1583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4" y="0"/>
                        <a:pt x="39" y="0"/>
                      </a:cubicBezTo>
                      <a:cubicBezTo>
                        <a:pt x="24" y="0"/>
                        <a:pt x="11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1" name="Freeform 324"/>
                <p:cNvSpPr>
                  <a:spLocks/>
                </p:cNvSpPr>
                <p:nvPr/>
              </p:nvSpPr>
              <p:spPr bwMode="auto">
                <a:xfrm>
                  <a:off x="1612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8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2" name="Freeform 325"/>
                <p:cNvSpPr>
                  <a:spLocks/>
                </p:cNvSpPr>
                <p:nvPr/>
              </p:nvSpPr>
              <p:spPr bwMode="auto">
                <a:xfrm>
                  <a:off x="1477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8" y="17"/>
                    </a:cxn>
                    <a:cxn ang="0">
                      <a:pos x="0" y="1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8" h="17">
                      <a:moveTo>
                        <a:pt x="0" y="0"/>
                      </a:moveTo>
                      <a:cubicBezTo>
                        <a:pt x="15" y="0"/>
                        <a:pt x="28" y="6"/>
                        <a:pt x="38" y="17"/>
                      </a:cubicBezTo>
                      <a:lnTo>
                        <a:pt x="0" y="1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3" name="Freeform 326"/>
                <p:cNvSpPr>
                  <a:spLocks/>
                </p:cNvSpPr>
                <p:nvPr/>
              </p:nvSpPr>
              <p:spPr bwMode="auto">
                <a:xfrm>
                  <a:off x="1496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4" name="Freeform 327"/>
                <p:cNvSpPr>
                  <a:spLocks/>
                </p:cNvSpPr>
                <p:nvPr/>
              </p:nvSpPr>
              <p:spPr bwMode="auto">
                <a:xfrm>
                  <a:off x="1525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5" name="Freeform 328"/>
                <p:cNvSpPr>
                  <a:spLocks/>
                </p:cNvSpPr>
                <p:nvPr/>
              </p:nvSpPr>
              <p:spPr bwMode="auto">
                <a:xfrm>
                  <a:off x="1554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6" name="Freeform 329"/>
                <p:cNvSpPr>
                  <a:spLocks/>
                </p:cNvSpPr>
                <p:nvPr/>
              </p:nvSpPr>
              <p:spPr bwMode="auto">
                <a:xfrm>
                  <a:off x="1583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1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7" name="Freeform 330"/>
                <p:cNvSpPr>
                  <a:spLocks/>
                </p:cNvSpPr>
                <p:nvPr/>
              </p:nvSpPr>
              <p:spPr bwMode="auto">
                <a:xfrm>
                  <a:off x="1612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8" name="Freeform 331"/>
                <p:cNvSpPr>
                  <a:spLocks/>
                </p:cNvSpPr>
                <p:nvPr/>
              </p:nvSpPr>
              <p:spPr bwMode="auto">
                <a:xfrm>
                  <a:off x="1496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77" h="12">
                      <a:moveTo>
                        <a:pt x="38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8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9" name="Freeform 332"/>
                <p:cNvSpPr>
                  <a:spLocks/>
                </p:cNvSpPr>
                <p:nvPr/>
              </p:nvSpPr>
              <p:spPr bwMode="auto">
                <a:xfrm>
                  <a:off x="1525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76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76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76" y="12"/>
                      </a:lnTo>
                      <a:cubicBezTo>
                        <a:pt x="66" y="4"/>
                        <a:pt x="53" y="0"/>
                        <a:pt x="38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0" name="Freeform 333"/>
                <p:cNvSpPr>
                  <a:spLocks/>
                </p:cNvSpPr>
                <p:nvPr/>
              </p:nvSpPr>
              <p:spPr bwMode="auto">
                <a:xfrm>
                  <a:off x="1554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77" h="12">
                      <a:moveTo>
                        <a:pt x="38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8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1" name="Freeform 334"/>
                <p:cNvSpPr>
                  <a:spLocks/>
                </p:cNvSpPr>
                <p:nvPr/>
              </p:nvSpPr>
              <p:spPr bwMode="auto">
                <a:xfrm>
                  <a:off x="1583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1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4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2" name="Freeform 335"/>
                <p:cNvSpPr>
                  <a:spLocks/>
                </p:cNvSpPr>
                <p:nvPr/>
              </p:nvSpPr>
              <p:spPr bwMode="auto">
                <a:xfrm>
                  <a:off x="1612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77" h="12">
                      <a:moveTo>
                        <a:pt x="38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8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3" name="Freeform 336"/>
                <p:cNvSpPr>
                  <a:spLocks/>
                </p:cNvSpPr>
                <p:nvPr/>
              </p:nvSpPr>
              <p:spPr bwMode="auto">
                <a:xfrm>
                  <a:off x="1477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8" y="12"/>
                    </a:cxn>
                    <a:cxn ang="0">
                      <a:pos x="0" y="1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8" h="12">
                      <a:moveTo>
                        <a:pt x="0" y="0"/>
                      </a:moveTo>
                      <a:cubicBezTo>
                        <a:pt x="15" y="0"/>
                        <a:pt x="28" y="4"/>
                        <a:pt x="38" y="12"/>
                      </a:cubicBezTo>
                      <a:lnTo>
                        <a:pt x="0" y="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4" name="Freeform 337"/>
                <p:cNvSpPr>
                  <a:spLocks/>
                </p:cNvSpPr>
                <p:nvPr/>
              </p:nvSpPr>
              <p:spPr bwMode="auto">
                <a:xfrm>
                  <a:off x="1496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5" name="Freeform 338"/>
                <p:cNvSpPr>
                  <a:spLocks/>
                </p:cNvSpPr>
                <p:nvPr/>
              </p:nvSpPr>
              <p:spPr bwMode="auto">
                <a:xfrm>
                  <a:off x="1525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6" name="Freeform 339"/>
                <p:cNvSpPr>
                  <a:spLocks/>
                </p:cNvSpPr>
                <p:nvPr/>
              </p:nvSpPr>
              <p:spPr bwMode="auto">
                <a:xfrm>
                  <a:off x="1554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7" name="Freeform 340"/>
                <p:cNvSpPr>
                  <a:spLocks/>
                </p:cNvSpPr>
                <p:nvPr/>
              </p:nvSpPr>
              <p:spPr bwMode="auto">
                <a:xfrm>
                  <a:off x="1583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1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8" name="Freeform 341"/>
                <p:cNvSpPr>
                  <a:spLocks/>
                </p:cNvSpPr>
                <p:nvPr/>
              </p:nvSpPr>
              <p:spPr bwMode="auto">
                <a:xfrm>
                  <a:off x="1612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9" name="Rectangle 342"/>
                <p:cNvSpPr>
                  <a:spLocks noChangeArrowheads="1"/>
                </p:cNvSpPr>
                <p:nvPr/>
              </p:nvSpPr>
              <p:spPr bwMode="auto">
                <a:xfrm>
                  <a:off x="1541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0" name="Rectangle 343"/>
                <p:cNvSpPr>
                  <a:spLocks noChangeArrowheads="1"/>
                </p:cNvSpPr>
                <p:nvPr/>
              </p:nvSpPr>
              <p:spPr bwMode="auto">
                <a:xfrm>
                  <a:off x="1618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1" name="Rectangle 344"/>
                <p:cNvSpPr>
                  <a:spLocks noChangeArrowheads="1"/>
                </p:cNvSpPr>
                <p:nvPr/>
              </p:nvSpPr>
              <p:spPr bwMode="auto">
                <a:xfrm>
                  <a:off x="1531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2" name="Rectangle 345"/>
                <p:cNvSpPr>
                  <a:spLocks noChangeArrowheads="1"/>
                </p:cNvSpPr>
                <p:nvPr/>
              </p:nvSpPr>
              <p:spPr bwMode="auto">
                <a:xfrm>
                  <a:off x="1609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3" name="Rectangle 346"/>
                <p:cNvSpPr>
                  <a:spLocks noChangeArrowheads="1"/>
                </p:cNvSpPr>
                <p:nvPr/>
              </p:nvSpPr>
              <p:spPr bwMode="auto">
                <a:xfrm>
                  <a:off x="1619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4" name="Rectangle 347"/>
                <p:cNvSpPr>
                  <a:spLocks noChangeArrowheads="1"/>
                </p:cNvSpPr>
                <p:nvPr/>
              </p:nvSpPr>
              <p:spPr bwMode="auto">
                <a:xfrm>
                  <a:off x="1522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5" name="Rectangle 348"/>
                <p:cNvSpPr>
                  <a:spLocks noChangeArrowheads="1"/>
                </p:cNvSpPr>
                <p:nvPr/>
              </p:nvSpPr>
              <p:spPr bwMode="auto">
                <a:xfrm>
                  <a:off x="1599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6" name="Rectangle 349"/>
                <p:cNvSpPr>
                  <a:spLocks noChangeArrowheads="1"/>
                </p:cNvSpPr>
                <p:nvPr/>
              </p:nvSpPr>
              <p:spPr bwMode="auto">
                <a:xfrm>
                  <a:off x="1512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7" name="Rectangle 350"/>
                <p:cNvSpPr>
                  <a:spLocks noChangeArrowheads="1"/>
                </p:cNvSpPr>
                <p:nvPr/>
              </p:nvSpPr>
              <p:spPr bwMode="auto">
                <a:xfrm>
                  <a:off x="1589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8" name="Rectangle 351"/>
                <p:cNvSpPr>
                  <a:spLocks noChangeArrowheads="1"/>
                </p:cNvSpPr>
                <p:nvPr/>
              </p:nvSpPr>
              <p:spPr bwMode="auto">
                <a:xfrm>
                  <a:off x="1502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9" name="Rectangle 352"/>
                <p:cNvSpPr>
                  <a:spLocks noChangeArrowheads="1"/>
                </p:cNvSpPr>
                <p:nvPr/>
              </p:nvSpPr>
              <p:spPr bwMode="auto">
                <a:xfrm>
                  <a:off x="1580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0" name="Rectangle 353"/>
                <p:cNvSpPr>
                  <a:spLocks noChangeArrowheads="1"/>
                </p:cNvSpPr>
                <p:nvPr/>
              </p:nvSpPr>
              <p:spPr bwMode="auto">
                <a:xfrm>
                  <a:off x="1493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1" name="Rectangle 354"/>
                <p:cNvSpPr>
                  <a:spLocks noChangeArrowheads="1"/>
                </p:cNvSpPr>
                <p:nvPr/>
              </p:nvSpPr>
              <p:spPr bwMode="auto">
                <a:xfrm>
                  <a:off x="1570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2" name="Rectangle 355"/>
                <p:cNvSpPr>
                  <a:spLocks noChangeArrowheads="1"/>
                </p:cNvSpPr>
                <p:nvPr/>
              </p:nvSpPr>
              <p:spPr bwMode="auto">
                <a:xfrm>
                  <a:off x="1483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3" name="Rectangle 356"/>
                <p:cNvSpPr>
                  <a:spLocks noChangeArrowheads="1"/>
                </p:cNvSpPr>
                <p:nvPr/>
              </p:nvSpPr>
              <p:spPr bwMode="auto">
                <a:xfrm>
                  <a:off x="1560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4" name="Rectangle 357"/>
                <p:cNvSpPr>
                  <a:spLocks noChangeArrowheads="1"/>
                </p:cNvSpPr>
                <p:nvPr/>
              </p:nvSpPr>
              <p:spPr bwMode="auto">
                <a:xfrm>
                  <a:off x="1477" y="1791"/>
                  <a:ext cx="3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5" name="Rectangle 358"/>
                <p:cNvSpPr>
                  <a:spLocks noChangeArrowheads="1"/>
                </p:cNvSpPr>
                <p:nvPr/>
              </p:nvSpPr>
              <p:spPr bwMode="auto">
                <a:xfrm>
                  <a:off x="1551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6" name="Rectangle 359"/>
                <p:cNvSpPr>
                  <a:spLocks noChangeArrowheads="1"/>
                </p:cNvSpPr>
                <p:nvPr/>
              </p:nvSpPr>
              <p:spPr bwMode="auto">
                <a:xfrm>
                  <a:off x="1505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7" name="Rectangle 360"/>
                <p:cNvSpPr>
                  <a:spLocks noChangeArrowheads="1"/>
                </p:cNvSpPr>
                <p:nvPr/>
              </p:nvSpPr>
              <p:spPr bwMode="auto">
                <a:xfrm>
                  <a:off x="1477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8" name="Rectangle 361"/>
                <p:cNvSpPr>
                  <a:spLocks noChangeArrowheads="1"/>
                </p:cNvSpPr>
                <p:nvPr/>
              </p:nvSpPr>
              <p:spPr bwMode="auto">
                <a:xfrm>
                  <a:off x="1535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9" name="Rectangle 362"/>
                <p:cNvSpPr>
                  <a:spLocks noChangeArrowheads="1"/>
                </p:cNvSpPr>
                <p:nvPr/>
              </p:nvSpPr>
              <p:spPr bwMode="auto">
                <a:xfrm>
                  <a:off x="1564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0" name="Rectangle 363"/>
                <p:cNvSpPr>
                  <a:spLocks noChangeArrowheads="1"/>
                </p:cNvSpPr>
                <p:nvPr/>
              </p:nvSpPr>
              <p:spPr bwMode="auto">
                <a:xfrm>
                  <a:off x="1593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1" name="Rectangle 364"/>
                <p:cNvSpPr>
                  <a:spLocks noChangeArrowheads="1"/>
                </p:cNvSpPr>
                <p:nvPr/>
              </p:nvSpPr>
              <p:spPr bwMode="auto">
                <a:xfrm>
                  <a:off x="1622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2" name="Rectangle 365"/>
                <p:cNvSpPr>
                  <a:spLocks noChangeArrowheads="1"/>
                </p:cNvSpPr>
                <p:nvPr/>
              </p:nvSpPr>
              <p:spPr bwMode="auto">
                <a:xfrm>
                  <a:off x="1494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3" name="Rectangle 366"/>
                <p:cNvSpPr>
                  <a:spLocks noChangeArrowheads="1"/>
                </p:cNvSpPr>
                <p:nvPr/>
              </p:nvSpPr>
              <p:spPr bwMode="auto">
                <a:xfrm>
                  <a:off x="1523" y="1650"/>
                  <a:ext cx="1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4" name="Rectangle 367"/>
                <p:cNvSpPr>
                  <a:spLocks noChangeArrowheads="1"/>
                </p:cNvSpPr>
                <p:nvPr/>
              </p:nvSpPr>
              <p:spPr bwMode="auto">
                <a:xfrm>
                  <a:off x="1552" y="1650"/>
                  <a:ext cx="1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5" name="Rectangle 368"/>
                <p:cNvSpPr>
                  <a:spLocks noChangeArrowheads="1"/>
                </p:cNvSpPr>
                <p:nvPr/>
              </p:nvSpPr>
              <p:spPr bwMode="auto">
                <a:xfrm>
                  <a:off x="1581" y="1650"/>
                  <a:ext cx="1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6" name="Rectangle 369"/>
                <p:cNvSpPr>
                  <a:spLocks noChangeArrowheads="1"/>
                </p:cNvSpPr>
                <p:nvPr/>
              </p:nvSpPr>
              <p:spPr bwMode="auto">
                <a:xfrm>
                  <a:off x="1610" y="1650"/>
                  <a:ext cx="1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7" name="Rectangle 370"/>
                <p:cNvSpPr>
                  <a:spLocks noChangeArrowheads="1"/>
                </p:cNvSpPr>
                <p:nvPr/>
              </p:nvSpPr>
              <p:spPr bwMode="auto">
                <a:xfrm>
                  <a:off x="1517" y="1650"/>
                  <a:ext cx="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8" name="Rectangle 371"/>
                <p:cNvSpPr>
                  <a:spLocks noChangeArrowheads="1"/>
                </p:cNvSpPr>
                <p:nvPr/>
              </p:nvSpPr>
              <p:spPr bwMode="auto">
                <a:xfrm>
                  <a:off x="1488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9" name="Rectangle 372"/>
                <p:cNvSpPr>
                  <a:spLocks noChangeArrowheads="1"/>
                </p:cNvSpPr>
                <p:nvPr/>
              </p:nvSpPr>
              <p:spPr bwMode="auto">
                <a:xfrm>
                  <a:off x="1546" y="1650"/>
                  <a:ext cx="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0" name="Rectangle 373"/>
                <p:cNvSpPr>
                  <a:spLocks noChangeArrowheads="1"/>
                </p:cNvSpPr>
                <p:nvPr/>
              </p:nvSpPr>
              <p:spPr bwMode="auto">
                <a:xfrm>
                  <a:off x="1575" y="1650"/>
                  <a:ext cx="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1" name="Rectangle 374"/>
                <p:cNvSpPr>
                  <a:spLocks noChangeArrowheads="1"/>
                </p:cNvSpPr>
                <p:nvPr/>
              </p:nvSpPr>
              <p:spPr bwMode="auto">
                <a:xfrm>
                  <a:off x="1604" y="1650"/>
                  <a:ext cx="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2" name="Rectangle 375"/>
                <p:cNvSpPr>
                  <a:spLocks noChangeArrowheads="1"/>
                </p:cNvSpPr>
                <p:nvPr/>
              </p:nvSpPr>
              <p:spPr bwMode="auto">
                <a:xfrm>
                  <a:off x="1633" y="1650"/>
                  <a:ext cx="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3" name="Rectangle 376"/>
                <p:cNvSpPr>
                  <a:spLocks noChangeArrowheads="1"/>
                </p:cNvSpPr>
                <p:nvPr/>
              </p:nvSpPr>
              <p:spPr bwMode="auto">
                <a:xfrm>
                  <a:off x="1493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4" name="Rectangle 377"/>
                <p:cNvSpPr>
                  <a:spLocks noChangeArrowheads="1"/>
                </p:cNvSpPr>
                <p:nvPr/>
              </p:nvSpPr>
              <p:spPr bwMode="auto">
                <a:xfrm>
                  <a:off x="1522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5" name="Rectangle 378"/>
                <p:cNvSpPr>
                  <a:spLocks noChangeArrowheads="1"/>
                </p:cNvSpPr>
                <p:nvPr/>
              </p:nvSpPr>
              <p:spPr bwMode="auto">
                <a:xfrm>
                  <a:off x="1551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6" name="Rectangle 379"/>
                <p:cNvSpPr>
                  <a:spLocks noChangeArrowheads="1"/>
                </p:cNvSpPr>
                <p:nvPr/>
              </p:nvSpPr>
              <p:spPr bwMode="auto">
                <a:xfrm>
                  <a:off x="1580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7" name="Rectangle 380"/>
                <p:cNvSpPr>
                  <a:spLocks noChangeArrowheads="1"/>
                </p:cNvSpPr>
                <p:nvPr/>
              </p:nvSpPr>
              <p:spPr bwMode="auto">
                <a:xfrm>
                  <a:off x="1609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8" name="Rectangle 381"/>
                <p:cNvSpPr>
                  <a:spLocks noChangeArrowheads="1"/>
                </p:cNvSpPr>
                <p:nvPr/>
              </p:nvSpPr>
              <p:spPr bwMode="auto">
                <a:xfrm>
                  <a:off x="1506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9" name="Rectangle 382"/>
                <p:cNvSpPr>
                  <a:spLocks noChangeArrowheads="1"/>
                </p:cNvSpPr>
                <p:nvPr/>
              </p:nvSpPr>
              <p:spPr bwMode="auto">
                <a:xfrm>
                  <a:off x="1498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0" name="Rectangle 383"/>
                <p:cNvSpPr>
                  <a:spLocks noChangeArrowheads="1"/>
                </p:cNvSpPr>
                <p:nvPr/>
              </p:nvSpPr>
              <p:spPr bwMode="auto">
                <a:xfrm>
                  <a:off x="1478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1" name="Rectangle 384"/>
                <p:cNvSpPr>
                  <a:spLocks noChangeArrowheads="1"/>
                </p:cNvSpPr>
                <p:nvPr/>
              </p:nvSpPr>
              <p:spPr bwMode="auto">
                <a:xfrm>
                  <a:off x="1469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2" name="Rectangle 385"/>
                <p:cNvSpPr>
                  <a:spLocks noChangeArrowheads="1"/>
                </p:cNvSpPr>
                <p:nvPr/>
              </p:nvSpPr>
              <p:spPr bwMode="auto">
                <a:xfrm>
                  <a:off x="1536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3" name="Rectangle 386"/>
                <p:cNvSpPr>
                  <a:spLocks noChangeArrowheads="1"/>
                </p:cNvSpPr>
                <p:nvPr/>
              </p:nvSpPr>
              <p:spPr bwMode="auto">
                <a:xfrm>
                  <a:off x="1527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4" name="Rectangle 387"/>
                <p:cNvSpPr>
                  <a:spLocks noChangeArrowheads="1"/>
                </p:cNvSpPr>
                <p:nvPr/>
              </p:nvSpPr>
              <p:spPr bwMode="auto">
                <a:xfrm>
                  <a:off x="1565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5" name="Rectangle 388"/>
                <p:cNvSpPr>
                  <a:spLocks noChangeArrowheads="1"/>
                </p:cNvSpPr>
                <p:nvPr/>
              </p:nvSpPr>
              <p:spPr bwMode="auto">
                <a:xfrm>
                  <a:off x="1556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6" name="Rectangle 389"/>
                <p:cNvSpPr>
                  <a:spLocks noChangeArrowheads="1"/>
                </p:cNvSpPr>
                <p:nvPr/>
              </p:nvSpPr>
              <p:spPr bwMode="auto">
                <a:xfrm>
                  <a:off x="1594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7" name="Rectangle 390"/>
                <p:cNvSpPr>
                  <a:spLocks noChangeArrowheads="1"/>
                </p:cNvSpPr>
                <p:nvPr/>
              </p:nvSpPr>
              <p:spPr bwMode="auto">
                <a:xfrm>
                  <a:off x="1585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8" name="Rectangle 391"/>
                <p:cNvSpPr>
                  <a:spLocks noChangeArrowheads="1"/>
                </p:cNvSpPr>
                <p:nvPr/>
              </p:nvSpPr>
              <p:spPr bwMode="auto">
                <a:xfrm>
                  <a:off x="1623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9" name="Rectangle 392"/>
                <p:cNvSpPr>
                  <a:spLocks noChangeArrowheads="1"/>
                </p:cNvSpPr>
                <p:nvPr/>
              </p:nvSpPr>
              <p:spPr bwMode="auto">
                <a:xfrm>
                  <a:off x="1614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0" name="Rectangle 393"/>
                <p:cNvSpPr>
                  <a:spLocks noChangeArrowheads="1"/>
                </p:cNvSpPr>
                <p:nvPr/>
              </p:nvSpPr>
              <p:spPr bwMode="auto">
                <a:xfrm>
                  <a:off x="1477" y="1640"/>
                  <a:ext cx="158" cy="5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1" name="Rectangle 394"/>
                <p:cNvSpPr>
                  <a:spLocks noChangeArrowheads="1"/>
                </p:cNvSpPr>
                <p:nvPr/>
              </p:nvSpPr>
              <p:spPr bwMode="auto">
                <a:xfrm>
                  <a:off x="1128" y="1640"/>
                  <a:ext cx="116" cy="16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2" name="Rectangle 395"/>
                <p:cNvSpPr>
                  <a:spLocks noChangeArrowheads="1"/>
                </p:cNvSpPr>
                <p:nvPr/>
              </p:nvSpPr>
              <p:spPr bwMode="auto">
                <a:xfrm>
                  <a:off x="1128" y="1786"/>
                  <a:ext cx="116" cy="15"/>
                </a:xfrm>
                <a:prstGeom prst="rect">
                  <a:avLst/>
                </a:prstGeom>
                <a:solidFill>
                  <a:srgbClr val="CC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3" name="Freeform 396"/>
                <p:cNvSpPr>
                  <a:spLocks/>
                </p:cNvSpPr>
                <p:nvPr/>
              </p:nvSpPr>
              <p:spPr bwMode="auto">
                <a:xfrm>
                  <a:off x="1128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48" y="504"/>
                    </a:cxn>
                    <a:cxn ang="0">
                      <a:pos x="0" y="504"/>
                    </a:cxn>
                    <a:cxn ang="0">
                      <a:pos x="0" y="0"/>
                    </a:cxn>
                    <a:cxn ang="0">
                      <a:pos x="48" y="0"/>
                    </a:cxn>
                    <a:cxn ang="0">
                      <a:pos x="53" y="6"/>
                    </a:cxn>
                    <a:cxn ang="0">
                      <a:pos x="53" y="499"/>
                    </a:cxn>
                    <a:cxn ang="0">
                      <a:pos x="48" y="504"/>
                    </a:cxn>
                  </a:cxnLst>
                  <a:rect l="0" t="0" r="r" b="b"/>
                  <a:pathLst>
                    <a:path w="53" h="504">
                      <a:moveTo>
                        <a:pt x="48" y="504"/>
                      </a:moveTo>
                      <a:lnTo>
                        <a:pt x="0" y="504"/>
                      </a:lnTo>
                      <a:lnTo>
                        <a:pt x="0" y="0"/>
                      </a:lnTo>
                      <a:lnTo>
                        <a:pt x="48" y="0"/>
                      </a:lnTo>
                      <a:cubicBezTo>
                        <a:pt x="51" y="0"/>
                        <a:pt x="53" y="3"/>
                        <a:pt x="53" y="6"/>
                      </a:cubicBezTo>
                      <a:lnTo>
                        <a:pt x="53" y="499"/>
                      </a:lnTo>
                      <a:cubicBezTo>
                        <a:pt x="53" y="502"/>
                        <a:pt x="51" y="504"/>
                        <a:pt x="48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4" name="Freeform 397"/>
                <p:cNvSpPr>
                  <a:spLocks/>
                </p:cNvSpPr>
                <p:nvPr/>
              </p:nvSpPr>
              <p:spPr bwMode="auto">
                <a:xfrm>
                  <a:off x="1144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2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102" y="0"/>
                    </a:cxn>
                    <a:cxn ang="0">
                      <a:pos x="107" y="6"/>
                    </a:cxn>
                    <a:cxn ang="0">
                      <a:pos x="107" y="499"/>
                    </a:cxn>
                    <a:cxn ang="0">
                      <a:pos x="102" y="504"/>
                    </a:cxn>
                  </a:cxnLst>
                  <a:rect l="0" t="0" r="r" b="b"/>
                  <a:pathLst>
                    <a:path w="107" h="504">
                      <a:moveTo>
                        <a:pt x="102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102" y="0"/>
                      </a:lnTo>
                      <a:cubicBezTo>
                        <a:pt x="105" y="0"/>
                        <a:pt x="107" y="3"/>
                        <a:pt x="107" y="6"/>
                      </a:cubicBezTo>
                      <a:lnTo>
                        <a:pt x="107" y="499"/>
                      </a:lnTo>
                      <a:cubicBezTo>
                        <a:pt x="107" y="502"/>
                        <a:pt x="105" y="504"/>
                        <a:pt x="102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5" name="Freeform 398"/>
                <p:cNvSpPr>
                  <a:spLocks/>
                </p:cNvSpPr>
                <p:nvPr/>
              </p:nvSpPr>
              <p:spPr bwMode="auto">
                <a:xfrm>
                  <a:off x="1173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6" name="Freeform 399"/>
                <p:cNvSpPr>
                  <a:spLocks/>
                </p:cNvSpPr>
                <p:nvPr/>
              </p:nvSpPr>
              <p:spPr bwMode="auto">
                <a:xfrm>
                  <a:off x="1202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2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102" y="0"/>
                    </a:cxn>
                    <a:cxn ang="0">
                      <a:pos x="107" y="6"/>
                    </a:cxn>
                    <a:cxn ang="0">
                      <a:pos x="107" y="499"/>
                    </a:cxn>
                    <a:cxn ang="0">
                      <a:pos x="102" y="504"/>
                    </a:cxn>
                  </a:cxnLst>
                  <a:rect l="0" t="0" r="r" b="b"/>
                  <a:pathLst>
                    <a:path w="107" h="504">
                      <a:moveTo>
                        <a:pt x="102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102" y="0"/>
                      </a:lnTo>
                      <a:cubicBezTo>
                        <a:pt x="105" y="0"/>
                        <a:pt x="107" y="3"/>
                        <a:pt x="107" y="6"/>
                      </a:cubicBezTo>
                      <a:lnTo>
                        <a:pt x="107" y="499"/>
                      </a:lnTo>
                      <a:cubicBezTo>
                        <a:pt x="107" y="502"/>
                        <a:pt x="105" y="504"/>
                        <a:pt x="102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7" name="Freeform 400"/>
                <p:cNvSpPr>
                  <a:spLocks/>
                </p:cNvSpPr>
                <p:nvPr/>
              </p:nvSpPr>
              <p:spPr bwMode="auto">
                <a:xfrm>
                  <a:off x="1231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8" name="Freeform 401"/>
                <p:cNvSpPr>
                  <a:spLocks/>
                </p:cNvSpPr>
                <p:nvPr/>
              </p:nvSpPr>
              <p:spPr bwMode="auto">
                <a:xfrm>
                  <a:off x="1144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4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54" y="0"/>
                    </a:cxn>
                    <a:cxn ang="0">
                      <a:pos x="54" y="504"/>
                    </a:cxn>
                  </a:cxnLst>
                  <a:rect l="0" t="0" r="r" b="b"/>
                  <a:pathLst>
                    <a:path w="54" h="504">
                      <a:moveTo>
                        <a:pt x="54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54" y="0"/>
                      </a:lnTo>
                      <a:lnTo>
                        <a:pt x="54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9" name="Freeform 402"/>
                <p:cNvSpPr>
                  <a:spLocks/>
                </p:cNvSpPr>
                <p:nvPr/>
              </p:nvSpPr>
              <p:spPr bwMode="auto">
                <a:xfrm>
                  <a:off x="1173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0" name="Freeform 403"/>
                <p:cNvSpPr>
                  <a:spLocks/>
                </p:cNvSpPr>
                <p:nvPr/>
              </p:nvSpPr>
              <p:spPr bwMode="auto">
                <a:xfrm>
                  <a:off x="1202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4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54" y="0"/>
                    </a:cxn>
                    <a:cxn ang="0">
                      <a:pos x="54" y="504"/>
                    </a:cxn>
                  </a:cxnLst>
                  <a:rect l="0" t="0" r="r" b="b"/>
                  <a:pathLst>
                    <a:path w="54" h="504">
                      <a:moveTo>
                        <a:pt x="54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54" y="0"/>
                      </a:lnTo>
                      <a:lnTo>
                        <a:pt x="54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1" name="Freeform 404"/>
                <p:cNvSpPr>
                  <a:spLocks/>
                </p:cNvSpPr>
                <p:nvPr/>
              </p:nvSpPr>
              <p:spPr bwMode="auto">
                <a:xfrm>
                  <a:off x="1231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2" name="Freeform 405"/>
                <p:cNvSpPr>
                  <a:spLocks noEditPoints="1"/>
                </p:cNvSpPr>
                <p:nvPr/>
              </p:nvSpPr>
              <p:spPr bwMode="auto">
                <a:xfrm>
                  <a:off x="1129" y="1705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2"/>
                    </a:cxn>
                    <a:cxn ang="0">
                      <a:pos x="14" y="12"/>
                    </a:cxn>
                    <a:cxn ang="0">
                      <a:pos x="0" y="12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2"/>
                    </a:cxn>
                    <a:cxn ang="0">
                      <a:pos x="24" y="0"/>
                    </a:cxn>
                    <a:cxn ang="0">
                      <a:pos x="31" y="0"/>
                    </a:cxn>
                    <a:cxn ang="0">
                      <a:pos x="37" y="5"/>
                    </a:cxn>
                    <a:cxn ang="0">
                      <a:pos x="39" y="11"/>
                    </a:cxn>
                    <a:cxn ang="0">
                      <a:pos x="41" y="17"/>
                    </a:cxn>
                    <a:cxn ang="0">
                      <a:pos x="27" y="17"/>
                    </a:cxn>
                    <a:cxn ang="0">
                      <a:pos x="20" y="12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1" h="17">
                      <a:moveTo>
                        <a:pt x="17" y="12"/>
                      </a:moveTo>
                      <a:lnTo>
                        <a:pt x="14" y="12"/>
                      </a:lnTo>
                      <a:lnTo>
                        <a:pt x="0" y="12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2"/>
                      </a:lnTo>
                      <a:close/>
                      <a:moveTo>
                        <a:pt x="24" y="0"/>
                      </a:moveTo>
                      <a:lnTo>
                        <a:pt x="31" y="0"/>
                      </a:lnTo>
                      <a:cubicBezTo>
                        <a:pt x="33" y="0"/>
                        <a:pt x="36" y="2"/>
                        <a:pt x="37" y="5"/>
                      </a:cubicBezTo>
                      <a:lnTo>
                        <a:pt x="39" y="11"/>
                      </a:lnTo>
                      <a:lnTo>
                        <a:pt x="41" y="17"/>
                      </a:lnTo>
                      <a:lnTo>
                        <a:pt x="27" y="17"/>
                      </a:lnTo>
                      <a:cubicBezTo>
                        <a:pt x="26" y="14"/>
                        <a:pt x="23" y="12"/>
                        <a:pt x="20" y="12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3" name="Freeform 406"/>
                <p:cNvSpPr>
                  <a:spLocks noEditPoints="1"/>
                </p:cNvSpPr>
                <p:nvPr/>
              </p:nvSpPr>
              <p:spPr bwMode="auto">
                <a:xfrm>
                  <a:off x="1147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4" name="Freeform 407"/>
                <p:cNvSpPr>
                  <a:spLocks noEditPoints="1"/>
                </p:cNvSpPr>
                <p:nvPr/>
              </p:nvSpPr>
              <p:spPr bwMode="auto">
                <a:xfrm>
                  <a:off x="1176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5" name="Freeform 408"/>
                <p:cNvSpPr>
                  <a:spLocks noEditPoints="1"/>
                </p:cNvSpPr>
                <p:nvPr/>
              </p:nvSpPr>
              <p:spPr bwMode="auto">
                <a:xfrm>
                  <a:off x="1205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6" name="Freeform 409"/>
                <p:cNvSpPr>
                  <a:spLocks noEditPoints="1"/>
                </p:cNvSpPr>
                <p:nvPr/>
              </p:nvSpPr>
              <p:spPr bwMode="auto">
                <a:xfrm>
                  <a:off x="1234" y="1705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7" name="Freeform 410"/>
                <p:cNvSpPr>
                  <a:spLocks noEditPoints="1"/>
                </p:cNvSpPr>
                <p:nvPr/>
              </p:nvSpPr>
              <p:spPr bwMode="auto">
                <a:xfrm>
                  <a:off x="1129" y="1722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1"/>
                    </a:cxn>
                    <a:cxn ang="0">
                      <a:pos x="14" y="11"/>
                    </a:cxn>
                    <a:cxn ang="0">
                      <a:pos x="0" y="11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1"/>
                    </a:cxn>
                    <a:cxn ang="0">
                      <a:pos x="24" y="0"/>
                    </a:cxn>
                    <a:cxn ang="0">
                      <a:pos x="31" y="0"/>
                    </a:cxn>
                    <a:cxn ang="0">
                      <a:pos x="37" y="5"/>
                    </a:cxn>
                    <a:cxn ang="0">
                      <a:pos x="39" y="11"/>
                    </a:cxn>
                    <a:cxn ang="0">
                      <a:pos x="41" y="17"/>
                    </a:cxn>
                    <a:cxn ang="0">
                      <a:pos x="27" y="17"/>
                    </a:cxn>
                    <a:cxn ang="0">
                      <a:pos x="20" y="11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1" h="17">
                      <a:moveTo>
                        <a:pt x="17" y="11"/>
                      </a:moveTo>
                      <a:lnTo>
                        <a:pt x="14" y="11"/>
                      </a:lnTo>
                      <a:lnTo>
                        <a:pt x="0" y="11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1"/>
                      </a:lnTo>
                      <a:close/>
                      <a:moveTo>
                        <a:pt x="24" y="0"/>
                      </a:moveTo>
                      <a:lnTo>
                        <a:pt x="31" y="0"/>
                      </a:lnTo>
                      <a:cubicBezTo>
                        <a:pt x="33" y="0"/>
                        <a:pt x="36" y="2"/>
                        <a:pt x="37" y="5"/>
                      </a:cubicBezTo>
                      <a:lnTo>
                        <a:pt x="39" y="11"/>
                      </a:lnTo>
                      <a:lnTo>
                        <a:pt x="41" y="17"/>
                      </a:lnTo>
                      <a:lnTo>
                        <a:pt x="27" y="17"/>
                      </a:lnTo>
                      <a:cubicBezTo>
                        <a:pt x="26" y="14"/>
                        <a:pt x="23" y="11"/>
                        <a:pt x="20" y="11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</p:grpSp>
          <p:grpSp>
            <p:nvGrpSpPr>
              <p:cNvPr id="18" name="Group 612"/>
              <p:cNvGrpSpPr>
                <a:grpSpLocks/>
              </p:cNvGrpSpPr>
              <p:nvPr/>
            </p:nvGrpSpPr>
            <p:grpSpPr bwMode="auto">
              <a:xfrm>
                <a:off x="1128" y="1640"/>
                <a:ext cx="232" cy="161"/>
                <a:chOff x="1128" y="1640"/>
                <a:chExt cx="232" cy="161"/>
              </a:xfrm>
            </p:grpSpPr>
            <p:sp>
              <p:nvSpPr>
                <p:cNvPr id="688" name="Freeform 412"/>
                <p:cNvSpPr>
                  <a:spLocks noEditPoints="1"/>
                </p:cNvSpPr>
                <p:nvPr/>
              </p:nvSpPr>
              <p:spPr bwMode="auto">
                <a:xfrm>
                  <a:off x="1147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1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5" y="11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89" name="Freeform 413"/>
                <p:cNvSpPr>
                  <a:spLocks noEditPoints="1"/>
                </p:cNvSpPr>
                <p:nvPr/>
              </p:nvSpPr>
              <p:spPr bwMode="auto">
                <a:xfrm>
                  <a:off x="1176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6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1"/>
                      </a:moveTo>
                      <a:cubicBezTo>
                        <a:pt x="17" y="11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6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0" name="Freeform 414"/>
                <p:cNvSpPr>
                  <a:spLocks noEditPoints="1"/>
                </p:cNvSpPr>
                <p:nvPr/>
              </p:nvSpPr>
              <p:spPr bwMode="auto">
                <a:xfrm>
                  <a:off x="1205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1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5" y="11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1" name="Freeform 415"/>
                <p:cNvSpPr>
                  <a:spLocks noEditPoints="1"/>
                </p:cNvSpPr>
                <p:nvPr/>
              </p:nvSpPr>
              <p:spPr bwMode="auto">
                <a:xfrm>
                  <a:off x="1234" y="1722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6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</a:cxnLst>
                  <a:rect l="0" t="0" r="r" b="b"/>
                  <a:pathLst>
                    <a:path w="40" h="17">
                      <a:moveTo>
                        <a:pt x="20" y="11"/>
                      </a:moveTo>
                      <a:cubicBezTo>
                        <a:pt x="17" y="11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6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2" name="Freeform 416"/>
                <p:cNvSpPr>
                  <a:spLocks noEditPoints="1"/>
                </p:cNvSpPr>
                <p:nvPr/>
              </p:nvSpPr>
              <p:spPr bwMode="auto">
                <a:xfrm>
                  <a:off x="1129" y="1739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2"/>
                    </a:cxn>
                    <a:cxn ang="0">
                      <a:pos x="14" y="12"/>
                    </a:cxn>
                    <a:cxn ang="0">
                      <a:pos x="0" y="12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2"/>
                    </a:cxn>
                    <a:cxn ang="0">
                      <a:pos x="24" y="0"/>
                    </a:cxn>
                    <a:cxn ang="0">
                      <a:pos x="31" y="0"/>
                    </a:cxn>
                    <a:cxn ang="0">
                      <a:pos x="37" y="6"/>
                    </a:cxn>
                    <a:cxn ang="0">
                      <a:pos x="39" y="12"/>
                    </a:cxn>
                    <a:cxn ang="0">
                      <a:pos x="41" y="17"/>
                    </a:cxn>
                    <a:cxn ang="0">
                      <a:pos x="27" y="17"/>
                    </a:cxn>
                    <a:cxn ang="0">
                      <a:pos x="20" y="12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1" h="17">
                      <a:moveTo>
                        <a:pt x="17" y="12"/>
                      </a:moveTo>
                      <a:lnTo>
                        <a:pt x="14" y="12"/>
                      </a:lnTo>
                      <a:lnTo>
                        <a:pt x="0" y="12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2"/>
                      </a:lnTo>
                      <a:close/>
                      <a:moveTo>
                        <a:pt x="24" y="0"/>
                      </a:moveTo>
                      <a:lnTo>
                        <a:pt x="31" y="0"/>
                      </a:lnTo>
                      <a:cubicBezTo>
                        <a:pt x="33" y="0"/>
                        <a:pt x="36" y="3"/>
                        <a:pt x="37" y="6"/>
                      </a:cubicBezTo>
                      <a:lnTo>
                        <a:pt x="39" y="12"/>
                      </a:lnTo>
                      <a:lnTo>
                        <a:pt x="41" y="17"/>
                      </a:lnTo>
                      <a:lnTo>
                        <a:pt x="27" y="17"/>
                      </a:lnTo>
                      <a:cubicBezTo>
                        <a:pt x="26" y="15"/>
                        <a:pt x="23" y="12"/>
                        <a:pt x="20" y="12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3" name="Freeform 417"/>
                <p:cNvSpPr>
                  <a:spLocks noEditPoints="1"/>
                </p:cNvSpPr>
                <p:nvPr/>
              </p:nvSpPr>
              <p:spPr bwMode="auto">
                <a:xfrm>
                  <a:off x="1147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4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4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4" name="Freeform 418"/>
                <p:cNvSpPr>
                  <a:spLocks noEditPoints="1"/>
                </p:cNvSpPr>
                <p:nvPr/>
              </p:nvSpPr>
              <p:spPr bwMode="auto">
                <a:xfrm>
                  <a:off x="1176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2"/>
                      </a:moveTo>
                      <a:cubicBezTo>
                        <a:pt x="17" y="12"/>
                        <a:pt x="14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3"/>
                        <a:pt x="81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5" name="Freeform 419"/>
                <p:cNvSpPr>
                  <a:spLocks noEditPoints="1"/>
                </p:cNvSpPr>
                <p:nvPr/>
              </p:nvSpPr>
              <p:spPr bwMode="auto">
                <a:xfrm>
                  <a:off x="1205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6" name="Freeform 420"/>
                <p:cNvSpPr>
                  <a:spLocks noEditPoints="1"/>
                </p:cNvSpPr>
                <p:nvPr/>
              </p:nvSpPr>
              <p:spPr bwMode="auto">
                <a:xfrm>
                  <a:off x="1234" y="1739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4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7" name="Freeform 421"/>
                <p:cNvSpPr>
                  <a:spLocks noEditPoints="1"/>
                </p:cNvSpPr>
                <p:nvPr/>
              </p:nvSpPr>
              <p:spPr bwMode="auto">
                <a:xfrm>
                  <a:off x="1129" y="1756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2"/>
                    </a:cxn>
                    <a:cxn ang="0">
                      <a:pos x="14" y="12"/>
                    </a:cxn>
                    <a:cxn ang="0">
                      <a:pos x="0" y="12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2"/>
                    </a:cxn>
                    <a:cxn ang="0">
                      <a:pos x="24" y="0"/>
                    </a:cxn>
                    <a:cxn ang="0">
                      <a:pos x="31" y="0"/>
                    </a:cxn>
                    <a:cxn ang="0">
                      <a:pos x="37" y="5"/>
                    </a:cxn>
                    <a:cxn ang="0">
                      <a:pos x="39" y="12"/>
                    </a:cxn>
                    <a:cxn ang="0">
                      <a:pos x="41" y="17"/>
                    </a:cxn>
                    <a:cxn ang="0">
                      <a:pos x="27" y="17"/>
                    </a:cxn>
                    <a:cxn ang="0">
                      <a:pos x="20" y="12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1" h="17">
                      <a:moveTo>
                        <a:pt x="17" y="12"/>
                      </a:moveTo>
                      <a:lnTo>
                        <a:pt x="14" y="12"/>
                      </a:lnTo>
                      <a:lnTo>
                        <a:pt x="0" y="12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2"/>
                      </a:lnTo>
                      <a:close/>
                      <a:moveTo>
                        <a:pt x="24" y="0"/>
                      </a:moveTo>
                      <a:lnTo>
                        <a:pt x="31" y="0"/>
                      </a:lnTo>
                      <a:cubicBezTo>
                        <a:pt x="33" y="0"/>
                        <a:pt x="36" y="2"/>
                        <a:pt x="37" y="5"/>
                      </a:cubicBezTo>
                      <a:lnTo>
                        <a:pt x="39" y="12"/>
                      </a:lnTo>
                      <a:lnTo>
                        <a:pt x="41" y="17"/>
                      </a:lnTo>
                      <a:lnTo>
                        <a:pt x="27" y="17"/>
                      </a:lnTo>
                      <a:cubicBezTo>
                        <a:pt x="26" y="14"/>
                        <a:pt x="23" y="12"/>
                        <a:pt x="20" y="12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8" name="Freeform 422"/>
                <p:cNvSpPr>
                  <a:spLocks noEditPoints="1"/>
                </p:cNvSpPr>
                <p:nvPr/>
              </p:nvSpPr>
              <p:spPr bwMode="auto">
                <a:xfrm>
                  <a:off x="1147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7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4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7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4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99" name="Freeform 423"/>
                <p:cNvSpPr>
                  <a:spLocks noEditPoints="1"/>
                </p:cNvSpPr>
                <p:nvPr/>
              </p:nvSpPr>
              <p:spPr bwMode="auto">
                <a:xfrm>
                  <a:off x="1176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5" y="0"/>
                    </a:cxn>
                    <a:cxn ang="0">
                      <a:pos x="81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5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5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0" name="Freeform 424"/>
                <p:cNvSpPr>
                  <a:spLocks noEditPoints="1"/>
                </p:cNvSpPr>
                <p:nvPr/>
              </p:nvSpPr>
              <p:spPr bwMode="auto">
                <a:xfrm>
                  <a:off x="1205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5" y="12"/>
                    </a:cxn>
                    <a:cxn ang="0">
                      <a:pos x="65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5" y="12"/>
                      </a:cubicBezTo>
                      <a:lnTo>
                        <a:pt x="65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1" name="Freeform 425"/>
                <p:cNvSpPr>
                  <a:spLocks noEditPoints="1"/>
                </p:cNvSpPr>
                <p:nvPr/>
              </p:nvSpPr>
              <p:spPr bwMode="auto">
                <a:xfrm>
                  <a:off x="1234" y="1756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2" name="Freeform 426"/>
                <p:cNvSpPr>
                  <a:spLocks/>
                </p:cNvSpPr>
                <p:nvPr/>
              </p:nvSpPr>
              <p:spPr bwMode="auto">
                <a:xfrm>
                  <a:off x="1128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0" y="55"/>
                    </a:cxn>
                    <a:cxn ang="0">
                      <a:pos x="8" y="55"/>
                    </a:cxn>
                    <a:cxn ang="0">
                      <a:pos x="14" y="51"/>
                    </a:cxn>
                    <a:cxn ang="0">
                      <a:pos x="31" y="25"/>
                    </a:cxn>
                    <a:cxn ang="0">
                      <a:pos x="31" y="18"/>
                    </a:cxn>
                    <a:cxn ang="0">
                      <a:pos x="23" y="4"/>
                    </a:cxn>
                    <a:cxn ang="0">
                      <a:pos x="17" y="0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55"/>
                    </a:cxn>
                  </a:cxnLst>
                  <a:rect l="0" t="0" r="r" b="b"/>
                  <a:pathLst>
                    <a:path w="32" h="55">
                      <a:moveTo>
                        <a:pt x="0" y="55"/>
                      </a:moveTo>
                      <a:lnTo>
                        <a:pt x="8" y="55"/>
                      </a:lnTo>
                      <a:cubicBezTo>
                        <a:pt x="10" y="55"/>
                        <a:pt x="13" y="53"/>
                        <a:pt x="14" y="51"/>
                      </a:cubicBezTo>
                      <a:lnTo>
                        <a:pt x="31" y="25"/>
                      </a:lnTo>
                      <a:cubicBezTo>
                        <a:pt x="32" y="23"/>
                        <a:pt x="32" y="20"/>
                        <a:pt x="31" y="18"/>
                      </a:cubicBezTo>
                      <a:lnTo>
                        <a:pt x="23" y="4"/>
                      </a:lnTo>
                      <a:cubicBezTo>
                        <a:pt x="22" y="1"/>
                        <a:pt x="20" y="0"/>
                        <a:pt x="17" y="0"/>
                      </a:cubicBez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55"/>
                      </a:ln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3" name="Freeform 427"/>
                <p:cNvSpPr>
                  <a:spLocks/>
                </p:cNvSpPr>
                <p:nvPr/>
              </p:nvSpPr>
              <p:spPr bwMode="auto">
                <a:xfrm>
                  <a:off x="1149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4" name="Freeform 428"/>
                <p:cNvSpPr>
                  <a:spLocks/>
                </p:cNvSpPr>
                <p:nvPr/>
              </p:nvSpPr>
              <p:spPr bwMode="auto">
                <a:xfrm>
                  <a:off x="1179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5" name="Freeform 429"/>
                <p:cNvSpPr>
                  <a:spLocks/>
                </p:cNvSpPr>
                <p:nvPr/>
              </p:nvSpPr>
              <p:spPr bwMode="auto">
                <a:xfrm>
                  <a:off x="1207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6" name="Freeform 430"/>
                <p:cNvSpPr>
                  <a:spLocks/>
                </p:cNvSpPr>
                <p:nvPr/>
              </p:nvSpPr>
              <p:spPr bwMode="auto">
                <a:xfrm>
                  <a:off x="1237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7" name="Freeform 431"/>
                <p:cNvSpPr>
                  <a:spLocks/>
                </p:cNvSpPr>
                <p:nvPr/>
              </p:nvSpPr>
              <p:spPr bwMode="auto">
                <a:xfrm>
                  <a:off x="1149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8" name="Freeform 432"/>
                <p:cNvSpPr>
                  <a:spLocks/>
                </p:cNvSpPr>
                <p:nvPr/>
              </p:nvSpPr>
              <p:spPr bwMode="auto">
                <a:xfrm>
                  <a:off x="1179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09" name="Freeform 433"/>
                <p:cNvSpPr>
                  <a:spLocks/>
                </p:cNvSpPr>
                <p:nvPr/>
              </p:nvSpPr>
              <p:spPr bwMode="auto">
                <a:xfrm>
                  <a:off x="1207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0" name="Freeform 434"/>
                <p:cNvSpPr>
                  <a:spLocks/>
                </p:cNvSpPr>
                <p:nvPr/>
              </p:nvSpPr>
              <p:spPr bwMode="auto">
                <a:xfrm>
                  <a:off x="1237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1" name="Freeform 435"/>
                <p:cNvSpPr>
                  <a:spLocks/>
                </p:cNvSpPr>
                <p:nvPr/>
              </p:nvSpPr>
              <p:spPr bwMode="auto">
                <a:xfrm>
                  <a:off x="1128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0" y="55"/>
                    </a:cxn>
                    <a:cxn ang="0">
                      <a:pos x="8" y="55"/>
                    </a:cxn>
                    <a:cxn ang="0">
                      <a:pos x="14" y="51"/>
                    </a:cxn>
                    <a:cxn ang="0">
                      <a:pos x="31" y="25"/>
                    </a:cxn>
                    <a:cxn ang="0">
                      <a:pos x="31" y="18"/>
                    </a:cxn>
                    <a:cxn ang="0">
                      <a:pos x="23" y="4"/>
                    </a:cxn>
                    <a:cxn ang="0">
                      <a:pos x="17" y="0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9"/>
                    </a:cxn>
                    <a:cxn ang="0">
                      <a:pos x="16" y="9"/>
                    </a:cxn>
                    <a:cxn ang="0">
                      <a:pos x="23" y="21"/>
                    </a:cxn>
                    <a:cxn ang="0">
                      <a:pos x="7" y="46"/>
                    </a:cxn>
                    <a:cxn ang="0">
                      <a:pos x="0" y="46"/>
                    </a:cxn>
                    <a:cxn ang="0">
                      <a:pos x="0" y="55"/>
                    </a:cxn>
                  </a:cxnLst>
                  <a:rect l="0" t="0" r="r" b="b"/>
                  <a:pathLst>
                    <a:path w="32" h="55">
                      <a:moveTo>
                        <a:pt x="0" y="55"/>
                      </a:moveTo>
                      <a:lnTo>
                        <a:pt x="8" y="55"/>
                      </a:lnTo>
                      <a:cubicBezTo>
                        <a:pt x="10" y="55"/>
                        <a:pt x="13" y="53"/>
                        <a:pt x="14" y="51"/>
                      </a:cubicBezTo>
                      <a:lnTo>
                        <a:pt x="31" y="25"/>
                      </a:lnTo>
                      <a:cubicBezTo>
                        <a:pt x="32" y="23"/>
                        <a:pt x="32" y="20"/>
                        <a:pt x="31" y="18"/>
                      </a:cubicBezTo>
                      <a:lnTo>
                        <a:pt x="23" y="4"/>
                      </a:lnTo>
                      <a:cubicBezTo>
                        <a:pt x="22" y="1"/>
                        <a:pt x="20" y="0"/>
                        <a:pt x="17" y="0"/>
                      </a:cubicBez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6" y="9"/>
                      </a:lnTo>
                      <a:lnTo>
                        <a:pt x="23" y="21"/>
                      </a:lnTo>
                      <a:lnTo>
                        <a:pt x="7" y="46"/>
                      </a:lnTo>
                      <a:lnTo>
                        <a:pt x="0" y="46"/>
                      </a:lnTo>
                      <a:lnTo>
                        <a:pt x="0" y="55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2" name="Freeform 436"/>
                <p:cNvSpPr>
                  <a:spLocks noEditPoints="1"/>
                </p:cNvSpPr>
                <p:nvPr/>
              </p:nvSpPr>
              <p:spPr bwMode="auto">
                <a:xfrm>
                  <a:off x="1149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3" name="Freeform 437"/>
                <p:cNvSpPr>
                  <a:spLocks noEditPoints="1"/>
                </p:cNvSpPr>
                <p:nvPr/>
              </p:nvSpPr>
              <p:spPr bwMode="auto">
                <a:xfrm>
                  <a:off x="1179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48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48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4" name="Freeform 438"/>
                <p:cNvSpPr>
                  <a:spLocks noEditPoints="1"/>
                </p:cNvSpPr>
                <p:nvPr/>
              </p:nvSpPr>
              <p:spPr bwMode="auto">
                <a:xfrm>
                  <a:off x="1207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4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4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5" name="Freeform 439"/>
                <p:cNvSpPr>
                  <a:spLocks/>
                </p:cNvSpPr>
                <p:nvPr/>
              </p:nvSpPr>
              <p:spPr bwMode="auto">
                <a:xfrm>
                  <a:off x="1237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6" name="Freeform 440"/>
                <p:cNvSpPr>
                  <a:spLocks/>
                </p:cNvSpPr>
                <p:nvPr/>
              </p:nvSpPr>
              <p:spPr bwMode="auto">
                <a:xfrm>
                  <a:off x="1149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33" y="9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33" y="9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7" name="Freeform 441"/>
                <p:cNvSpPr>
                  <a:spLocks/>
                </p:cNvSpPr>
                <p:nvPr/>
              </p:nvSpPr>
              <p:spPr bwMode="auto">
                <a:xfrm>
                  <a:off x="1179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8" name="Freeform 442"/>
                <p:cNvSpPr>
                  <a:spLocks/>
                </p:cNvSpPr>
                <p:nvPr/>
              </p:nvSpPr>
              <p:spPr bwMode="auto">
                <a:xfrm>
                  <a:off x="1207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33" y="9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1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33" y="9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19" name="Freeform 443"/>
                <p:cNvSpPr>
                  <a:spLocks/>
                </p:cNvSpPr>
                <p:nvPr/>
              </p:nvSpPr>
              <p:spPr bwMode="auto">
                <a:xfrm>
                  <a:off x="1237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0" name="Freeform 444"/>
                <p:cNvSpPr>
                  <a:spLocks/>
                </p:cNvSpPr>
                <p:nvPr/>
              </p:nvSpPr>
              <p:spPr bwMode="auto">
                <a:xfrm>
                  <a:off x="1128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40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29" y="34"/>
                    </a:cxn>
                    <a:cxn ang="0">
                      <a:pos x="31" y="28"/>
                    </a:cxn>
                    <a:cxn ang="0">
                      <a:pos x="32" y="23"/>
                    </a:cxn>
                    <a:cxn ang="0">
                      <a:pos x="39" y="17"/>
                    </a:cxn>
                    <a:cxn ang="0">
                      <a:pos x="0" y="0"/>
                    </a:cxn>
                    <a:cxn ang="0">
                      <a:pos x="0" y="40"/>
                    </a:cxn>
                  </a:cxnLst>
                  <a:rect l="0" t="0" r="r" b="b"/>
                  <a:pathLst>
                    <a:path w="39" h="40">
                      <a:moveTo>
                        <a:pt x="0" y="40"/>
                      </a:moveTo>
                      <a:lnTo>
                        <a:pt x="16" y="40"/>
                      </a:lnTo>
                      <a:lnTo>
                        <a:pt x="22" y="40"/>
                      </a:lnTo>
                      <a:cubicBezTo>
                        <a:pt x="25" y="40"/>
                        <a:pt x="28" y="37"/>
                        <a:pt x="29" y="34"/>
                      </a:cubicBezTo>
                      <a:lnTo>
                        <a:pt x="31" y="28"/>
                      </a:lnTo>
                      <a:lnTo>
                        <a:pt x="32" y="23"/>
                      </a:lnTo>
                      <a:cubicBezTo>
                        <a:pt x="33" y="20"/>
                        <a:pt x="36" y="17"/>
                        <a:pt x="39" y="17"/>
                      </a:cubicBezTo>
                      <a:cubicBezTo>
                        <a:pt x="28" y="6"/>
                        <a:pt x="15" y="0"/>
                        <a:pt x="0" y="0"/>
                      </a:cubicBezTo>
                      <a:lnTo>
                        <a:pt x="0" y="40"/>
                      </a:ln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1" name="Freeform 445"/>
                <p:cNvSpPr>
                  <a:spLocks/>
                </p:cNvSpPr>
                <p:nvPr/>
              </p:nvSpPr>
              <p:spPr bwMode="auto">
                <a:xfrm>
                  <a:off x="1148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1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1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1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1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2" name="Freeform 446"/>
                <p:cNvSpPr>
                  <a:spLocks/>
                </p:cNvSpPr>
                <p:nvPr/>
              </p:nvSpPr>
              <p:spPr bwMode="auto">
                <a:xfrm>
                  <a:off x="1177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8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8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3" name="Freeform 447"/>
                <p:cNvSpPr>
                  <a:spLocks/>
                </p:cNvSpPr>
                <p:nvPr/>
              </p:nvSpPr>
              <p:spPr bwMode="auto">
                <a:xfrm>
                  <a:off x="1206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1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1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4" name="Freeform 448"/>
                <p:cNvSpPr>
                  <a:spLocks/>
                </p:cNvSpPr>
                <p:nvPr/>
              </p:nvSpPr>
              <p:spPr bwMode="auto">
                <a:xfrm>
                  <a:off x="1235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5" name="Freeform 449"/>
                <p:cNvSpPr>
                  <a:spLocks/>
                </p:cNvSpPr>
                <p:nvPr/>
              </p:nvSpPr>
              <p:spPr bwMode="auto">
                <a:xfrm>
                  <a:off x="1148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6" name="Freeform 450"/>
                <p:cNvSpPr>
                  <a:spLocks/>
                </p:cNvSpPr>
                <p:nvPr/>
              </p:nvSpPr>
              <p:spPr bwMode="auto">
                <a:xfrm>
                  <a:off x="1177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7" name="Freeform 451"/>
                <p:cNvSpPr>
                  <a:spLocks/>
                </p:cNvSpPr>
                <p:nvPr/>
              </p:nvSpPr>
              <p:spPr bwMode="auto">
                <a:xfrm>
                  <a:off x="1206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8" name="Freeform 452"/>
                <p:cNvSpPr>
                  <a:spLocks/>
                </p:cNvSpPr>
                <p:nvPr/>
              </p:nvSpPr>
              <p:spPr bwMode="auto">
                <a:xfrm>
                  <a:off x="1235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3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29" name="Freeform 453"/>
                <p:cNvSpPr>
                  <a:spLocks/>
                </p:cNvSpPr>
                <p:nvPr/>
              </p:nvSpPr>
              <p:spPr bwMode="auto">
                <a:xfrm>
                  <a:off x="1128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9" y="17"/>
                    </a:cxn>
                    <a:cxn ang="0">
                      <a:pos x="0" y="0"/>
                    </a:cxn>
                    <a:cxn ang="0">
                      <a:pos x="0" y="17"/>
                    </a:cxn>
                    <a:cxn ang="0">
                      <a:pos x="39" y="17"/>
                    </a:cxn>
                  </a:cxnLst>
                  <a:rect l="0" t="0" r="r" b="b"/>
                  <a:pathLst>
                    <a:path w="39" h="17">
                      <a:moveTo>
                        <a:pt x="39" y="17"/>
                      </a:moveTo>
                      <a:cubicBezTo>
                        <a:pt x="28" y="6"/>
                        <a:pt x="15" y="0"/>
                        <a:pt x="0" y="0"/>
                      </a:cubicBezTo>
                      <a:lnTo>
                        <a:pt x="0" y="17"/>
                      </a:lnTo>
                      <a:lnTo>
                        <a:pt x="39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0" name="Freeform 454"/>
                <p:cNvSpPr>
                  <a:spLocks/>
                </p:cNvSpPr>
                <p:nvPr/>
              </p:nvSpPr>
              <p:spPr bwMode="auto">
                <a:xfrm>
                  <a:off x="1148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1" name="Freeform 455"/>
                <p:cNvSpPr>
                  <a:spLocks/>
                </p:cNvSpPr>
                <p:nvPr/>
              </p:nvSpPr>
              <p:spPr bwMode="auto">
                <a:xfrm>
                  <a:off x="1177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2" name="Freeform 456"/>
                <p:cNvSpPr>
                  <a:spLocks/>
                </p:cNvSpPr>
                <p:nvPr/>
              </p:nvSpPr>
              <p:spPr bwMode="auto">
                <a:xfrm>
                  <a:off x="1206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3" name="Freeform 457"/>
                <p:cNvSpPr>
                  <a:spLocks/>
                </p:cNvSpPr>
                <p:nvPr/>
              </p:nvSpPr>
              <p:spPr bwMode="auto">
                <a:xfrm>
                  <a:off x="1235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4" name="Freeform 458"/>
                <p:cNvSpPr>
                  <a:spLocks/>
                </p:cNvSpPr>
                <p:nvPr/>
              </p:nvSpPr>
              <p:spPr bwMode="auto">
                <a:xfrm>
                  <a:off x="1148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5" name="Freeform 459"/>
                <p:cNvSpPr>
                  <a:spLocks/>
                </p:cNvSpPr>
                <p:nvPr/>
              </p:nvSpPr>
              <p:spPr bwMode="auto">
                <a:xfrm>
                  <a:off x="1177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6" name="Freeform 460"/>
                <p:cNvSpPr>
                  <a:spLocks/>
                </p:cNvSpPr>
                <p:nvPr/>
              </p:nvSpPr>
              <p:spPr bwMode="auto">
                <a:xfrm>
                  <a:off x="1206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7" name="Freeform 461"/>
                <p:cNvSpPr>
                  <a:spLocks/>
                </p:cNvSpPr>
                <p:nvPr/>
              </p:nvSpPr>
              <p:spPr bwMode="auto">
                <a:xfrm>
                  <a:off x="1235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8" name="Freeform 462"/>
                <p:cNvSpPr>
                  <a:spLocks/>
                </p:cNvSpPr>
                <p:nvPr/>
              </p:nvSpPr>
              <p:spPr bwMode="auto">
                <a:xfrm>
                  <a:off x="1128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0" y="0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9" h="12">
                      <a:moveTo>
                        <a:pt x="0" y="12"/>
                      </a:moveTo>
                      <a:lnTo>
                        <a:pt x="39" y="12"/>
                      </a:lnTo>
                      <a:cubicBezTo>
                        <a:pt x="28" y="4"/>
                        <a:pt x="15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39" name="Freeform 463"/>
                <p:cNvSpPr>
                  <a:spLocks/>
                </p:cNvSpPr>
                <p:nvPr/>
              </p:nvSpPr>
              <p:spPr bwMode="auto">
                <a:xfrm>
                  <a:off x="1148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0" name="Freeform 464"/>
                <p:cNvSpPr>
                  <a:spLocks/>
                </p:cNvSpPr>
                <p:nvPr/>
              </p:nvSpPr>
              <p:spPr bwMode="auto">
                <a:xfrm>
                  <a:off x="1177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77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6" y="4"/>
                        <a:pt x="53" y="0"/>
                        <a:pt x="38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1" name="Freeform 465"/>
                <p:cNvSpPr>
                  <a:spLocks/>
                </p:cNvSpPr>
                <p:nvPr/>
              </p:nvSpPr>
              <p:spPr bwMode="auto">
                <a:xfrm>
                  <a:off x="1206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2" name="Freeform 466"/>
                <p:cNvSpPr>
                  <a:spLocks/>
                </p:cNvSpPr>
                <p:nvPr/>
              </p:nvSpPr>
              <p:spPr bwMode="auto">
                <a:xfrm>
                  <a:off x="1235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3" name="Freeform 467"/>
                <p:cNvSpPr>
                  <a:spLocks/>
                </p:cNvSpPr>
                <p:nvPr/>
              </p:nvSpPr>
              <p:spPr bwMode="auto">
                <a:xfrm>
                  <a:off x="1148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4" name="Freeform 468"/>
                <p:cNvSpPr>
                  <a:spLocks/>
                </p:cNvSpPr>
                <p:nvPr/>
              </p:nvSpPr>
              <p:spPr bwMode="auto">
                <a:xfrm>
                  <a:off x="1177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5" name="Freeform 469"/>
                <p:cNvSpPr>
                  <a:spLocks/>
                </p:cNvSpPr>
                <p:nvPr/>
              </p:nvSpPr>
              <p:spPr bwMode="auto">
                <a:xfrm>
                  <a:off x="1206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6" name="Freeform 470"/>
                <p:cNvSpPr>
                  <a:spLocks/>
                </p:cNvSpPr>
                <p:nvPr/>
              </p:nvSpPr>
              <p:spPr bwMode="auto">
                <a:xfrm>
                  <a:off x="1235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7" name="Rectangle 471"/>
                <p:cNvSpPr>
                  <a:spLocks noChangeArrowheads="1"/>
                </p:cNvSpPr>
                <p:nvPr/>
              </p:nvSpPr>
              <p:spPr bwMode="auto">
                <a:xfrm>
                  <a:off x="1173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8" name="Rectangle 472"/>
                <p:cNvSpPr>
                  <a:spLocks noChangeArrowheads="1"/>
                </p:cNvSpPr>
                <p:nvPr/>
              </p:nvSpPr>
              <p:spPr bwMode="auto">
                <a:xfrm>
                  <a:off x="1183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49" name="Rectangle 473"/>
                <p:cNvSpPr>
                  <a:spLocks noChangeArrowheads="1"/>
                </p:cNvSpPr>
                <p:nvPr/>
              </p:nvSpPr>
              <p:spPr bwMode="auto">
                <a:xfrm>
                  <a:off x="1193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0" name="Rectangle 474"/>
                <p:cNvSpPr>
                  <a:spLocks noChangeArrowheads="1"/>
                </p:cNvSpPr>
                <p:nvPr/>
              </p:nvSpPr>
              <p:spPr bwMode="auto">
                <a:xfrm>
                  <a:off x="1202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1" name="Rectangle 475"/>
                <p:cNvSpPr>
                  <a:spLocks noChangeArrowheads="1"/>
                </p:cNvSpPr>
                <p:nvPr/>
              </p:nvSpPr>
              <p:spPr bwMode="auto">
                <a:xfrm>
                  <a:off x="1128" y="1791"/>
                  <a:ext cx="4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2" name="Rectangle 476"/>
                <p:cNvSpPr>
                  <a:spLocks noChangeArrowheads="1"/>
                </p:cNvSpPr>
                <p:nvPr/>
              </p:nvSpPr>
              <p:spPr bwMode="auto">
                <a:xfrm>
                  <a:off x="1212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3" name="Rectangle 477"/>
                <p:cNvSpPr>
                  <a:spLocks noChangeArrowheads="1"/>
                </p:cNvSpPr>
                <p:nvPr/>
              </p:nvSpPr>
              <p:spPr bwMode="auto">
                <a:xfrm>
                  <a:off x="1135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4" name="Rectangle 478"/>
                <p:cNvSpPr>
                  <a:spLocks noChangeArrowheads="1"/>
                </p:cNvSpPr>
                <p:nvPr/>
              </p:nvSpPr>
              <p:spPr bwMode="auto">
                <a:xfrm>
                  <a:off x="1222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5" name="Rectangle 479"/>
                <p:cNvSpPr>
                  <a:spLocks noChangeArrowheads="1"/>
                </p:cNvSpPr>
                <p:nvPr/>
              </p:nvSpPr>
              <p:spPr bwMode="auto">
                <a:xfrm>
                  <a:off x="1144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6" name="Rectangle 480"/>
                <p:cNvSpPr>
                  <a:spLocks noChangeArrowheads="1"/>
                </p:cNvSpPr>
                <p:nvPr/>
              </p:nvSpPr>
              <p:spPr bwMode="auto">
                <a:xfrm>
                  <a:off x="1231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7" name="Rectangle 481"/>
                <p:cNvSpPr>
                  <a:spLocks noChangeArrowheads="1"/>
                </p:cNvSpPr>
                <p:nvPr/>
              </p:nvSpPr>
              <p:spPr bwMode="auto">
                <a:xfrm>
                  <a:off x="1154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8" name="Rectangle 482"/>
                <p:cNvSpPr>
                  <a:spLocks noChangeArrowheads="1"/>
                </p:cNvSpPr>
                <p:nvPr/>
              </p:nvSpPr>
              <p:spPr bwMode="auto">
                <a:xfrm>
                  <a:off x="1241" y="1791"/>
                  <a:ext cx="3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59" name="Rectangle 483"/>
                <p:cNvSpPr>
                  <a:spLocks noChangeArrowheads="1"/>
                </p:cNvSpPr>
                <p:nvPr/>
              </p:nvSpPr>
              <p:spPr bwMode="auto">
                <a:xfrm>
                  <a:off x="1164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0" name="Rectangle 484"/>
                <p:cNvSpPr>
                  <a:spLocks noChangeArrowheads="1"/>
                </p:cNvSpPr>
                <p:nvPr/>
              </p:nvSpPr>
              <p:spPr bwMode="auto">
                <a:xfrm>
                  <a:off x="1128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1" name="Rectangle 485"/>
                <p:cNvSpPr>
                  <a:spLocks noChangeArrowheads="1"/>
                </p:cNvSpPr>
                <p:nvPr/>
              </p:nvSpPr>
              <p:spPr bwMode="auto">
                <a:xfrm>
                  <a:off x="1157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2" name="Rectangle 486"/>
                <p:cNvSpPr>
                  <a:spLocks noChangeArrowheads="1"/>
                </p:cNvSpPr>
                <p:nvPr/>
              </p:nvSpPr>
              <p:spPr bwMode="auto">
                <a:xfrm>
                  <a:off x="1186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3" name="Rectangle 487"/>
                <p:cNvSpPr>
                  <a:spLocks noChangeArrowheads="1"/>
                </p:cNvSpPr>
                <p:nvPr/>
              </p:nvSpPr>
              <p:spPr bwMode="auto">
                <a:xfrm>
                  <a:off x="1215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4" name="Rectangle 488"/>
                <p:cNvSpPr>
                  <a:spLocks noChangeArrowheads="1"/>
                </p:cNvSpPr>
                <p:nvPr/>
              </p:nvSpPr>
              <p:spPr bwMode="auto">
                <a:xfrm>
                  <a:off x="1146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5" name="Rectangle 489"/>
                <p:cNvSpPr>
                  <a:spLocks noChangeArrowheads="1"/>
                </p:cNvSpPr>
                <p:nvPr/>
              </p:nvSpPr>
              <p:spPr bwMode="auto">
                <a:xfrm>
                  <a:off x="1175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6" name="Rectangle 490"/>
                <p:cNvSpPr>
                  <a:spLocks noChangeArrowheads="1"/>
                </p:cNvSpPr>
                <p:nvPr/>
              </p:nvSpPr>
              <p:spPr bwMode="auto">
                <a:xfrm>
                  <a:off x="1204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7" name="Rectangle 491"/>
                <p:cNvSpPr>
                  <a:spLocks noChangeArrowheads="1"/>
                </p:cNvSpPr>
                <p:nvPr/>
              </p:nvSpPr>
              <p:spPr bwMode="auto">
                <a:xfrm>
                  <a:off x="1233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8" name="Rectangle 492"/>
                <p:cNvSpPr>
                  <a:spLocks noChangeArrowheads="1"/>
                </p:cNvSpPr>
                <p:nvPr/>
              </p:nvSpPr>
              <p:spPr bwMode="auto">
                <a:xfrm>
                  <a:off x="1140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69" name="Rectangle 493"/>
                <p:cNvSpPr>
                  <a:spLocks noChangeArrowheads="1"/>
                </p:cNvSpPr>
                <p:nvPr/>
              </p:nvSpPr>
              <p:spPr bwMode="auto">
                <a:xfrm>
                  <a:off x="1169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0" name="Rectangle 494"/>
                <p:cNvSpPr>
                  <a:spLocks noChangeArrowheads="1"/>
                </p:cNvSpPr>
                <p:nvPr/>
              </p:nvSpPr>
              <p:spPr bwMode="auto">
                <a:xfrm>
                  <a:off x="1198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1" name="Rectangle 495"/>
                <p:cNvSpPr>
                  <a:spLocks noChangeArrowheads="1"/>
                </p:cNvSpPr>
                <p:nvPr/>
              </p:nvSpPr>
              <p:spPr bwMode="auto">
                <a:xfrm>
                  <a:off x="1227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2" name="Rectangle 496"/>
                <p:cNvSpPr>
                  <a:spLocks noChangeArrowheads="1"/>
                </p:cNvSpPr>
                <p:nvPr/>
              </p:nvSpPr>
              <p:spPr bwMode="auto">
                <a:xfrm>
                  <a:off x="1144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3" name="Rectangle 497"/>
                <p:cNvSpPr>
                  <a:spLocks noChangeArrowheads="1"/>
                </p:cNvSpPr>
                <p:nvPr/>
              </p:nvSpPr>
              <p:spPr bwMode="auto">
                <a:xfrm>
                  <a:off x="1173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4" name="Rectangle 498"/>
                <p:cNvSpPr>
                  <a:spLocks noChangeArrowheads="1"/>
                </p:cNvSpPr>
                <p:nvPr/>
              </p:nvSpPr>
              <p:spPr bwMode="auto">
                <a:xfrm>
                  <a:off x="1202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5" name="Rectangle 499"/>
                <p:cNvSpPr>
                  <a:spLocks noChangeArrowheads="1"/>
                </p:cNvSpPr>
                <p:nvPr/>
              </p:nvSpPr>
              <p:spPr bwMode="auto">
                <a:xfrm>
                  <a:off x="1231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6" name="Rectangle 500"/>
                <p:cNvSpPr>
                  <a:spLocks noChangeArrowheads="1"/>
                </p:cNvSpPr>
                <p:nvPr/>
              </p:nvSpPr>
              <p:spPr bwMode="auto">
                <a:xfrm>
                  <a:off x="1129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7" name="Rectangle 501"/>
                <p:cNvSpPr>
                  <a:spLocks noChangeArrowheads="1"/>
                </p:cNvSpPr>
                <p:nvPr/>
              </p:nvSpPr>
              <p:spPr bwMode="auto">
                <a:xfrm>
                  <a:off x="1158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8" name="Rectangle 502"/>
                <p:cNvSpPr>
                  <a:spLocks noChangeArrowheads="1"/>
                </p:cNvSpPr>
                <p:nvPr/>
              </p:nvSpPr>
              <p:spPr bwMode="auto">
                <a:xfrm>
                  <a:off x="1150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79" name="Rectangle 503"/>
                <p:cNvSpPr>
                  <a:spLocks noChangeArrowheads="1"/>
                </p:cNvSpPr>
                <p:nvPr/>
              </p:nvSpPr>
              <p:spPr bwMode="auto">
                <a:xfrm>
                  <a:off x="1187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0" name="Rectangle 504"/>
                <p:cNvSpPr>
                  <a:spLocks noChangeArrowheads="1"/>
                </p:cNvSpPr>
                <p:nvPr/>
              </p:nvSpPr>
              <p:spPr bwMode="auto">
                <a:xfrm>
                  <a:off x="1179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1" name="Rectangle 505"/>
                <p:cNvSpPr>
                  <a:spLocks noChangeArrowheads="1"/>
                </p:cNvSpPr>
                <p:nvPr/>
              </p:nvSpPr>
              <p:spPr bwMode="auto">
                <a:xfrm>
                  <a:off x="1216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2" name="Rectangle 506"/>
                <p:cNvSpPr>
                  <a:spLocks noChangeArrowheads="1"/>
                </p:cNvSpPr>
                <p:nvPr/>
              </p:nvSpPr>
              <p:spPr bwMode="auto">
                <a:xfrm>
                  <a:off x="1208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3" name="Rectangle 507"/>
                <p:cNvSpPr>
                  <a:spLocks noChangeArrowheads="1"/>
                </p:cNvSpPr>
                <p:nvPr/>
              </p:nvSpPr>
              <p:spPr bwMode="auto">
                <a:xfrm>
                  <a:off x="1237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4" name="Rectangle 508"/>
                <p:cNvSpPr>
                  <a:spLocks noChangeArrowheads="1"/>
                </p:cNvSpPr>
                <p:nvPr/>
              </p:nvSpPr>
              <p:spPr bwMode="auto">
                <a:xfrm>
                  <a:off x="1128" y="1640"/>
                  <a:ext cx="116" cy="5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5" name="Rectangle 509"/>
                <p:cNvSpPr>
                  <a:spLocks noChangeArrowheads="1"/>
                </p:cNvSpPr>
                <p:nvPr/>
              </p:nvSpPr>
              <p:spPr bwMode="auto">
                <a:xfrm>
                  <a:off x="1244" y="1640"/>
                  <a:ext cx="116" cy="16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6" name="Rectangle 510"/>
                <p:cNvSpPr>
                  <a:spLocks noChangeArrowheads="1"/>
                </p:cNvSpPr>
                <p:nvPr/>
              </p:nvSpPr>
              <p:spPr bwMode="auto">
                <a:xfrm>
                  <a:off x="1244" y="1786"/>
                  <a:ext cx="116" cy="15"/>
                </a:xfrm>
                <a:prstGeom prst="rect">
                  <a:avLst/>
                </a:prstGeom>
                <a:solidFill>
                  <a:srgbClr val="CC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7" name="Freeform 511"/>
                <p:cNvSpPr>
                  <a:spLocks/>
                </p:cNvSpPr>
                <p:nvPr/>
              </p:nvSpPr>
              <p:spPr bwMode="auto">
                <a:xfrm>
                  <a:off x="1244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48" y="504"/>
                    </a:cxn>
                    <a:cxn ang="0">
                      <a:pos x="0" y="504"/>
                    </a:cxn>
                    <a:cxn ang="0">
                      <a:pos x="0" y="0"/>
                    </a:cxn>
                    <a:cxn ang="0">
                      <a:pos x="48" y="0"/>
                    </a:cxn>
                    <a:cxn ang="0">
                      <a:pos x="53" y="6"/>
                    </a:cxn>
                    <a:cxn ang="0">
                      <a:pos x="53" y="499"/>
                    </a:cxn>
                    <a:cxn ang="0">
                      <a:pos x="48" y="504"/>
                    </a:cxn>
                  </a:cxnLst>
                  <a:rect l="0" t="0" r="r" b="b"/>
                  <a:pathLst>
                    <a:path w="53" h="504">
                      <a:moveTo>
                        <a:pt x="48" y="504"/>
                      </a:moveTo>
                      <a:lnTo>
                        <a:pt x="0" y="504"/>
                      </a:lnTo>
                      <a:lnTo>
                        <a:pt x="0" y="0"/>
                      </a:lnTo>
                      <a:lnTo>
                        <a:pt x="48" y="0"/>
                      </a:lnTo>
                      <a:cubicBezTo>
                        <a:pt x="51" y="0"/>
                        <a:pt x="53" y="3"/>
                        <a:pt x="53" y="6"/>
                      </a:cubicBezTo>
                      <a:lnTo>
                        <a:pt x="53" y="499"/>
                      </a:lnTo>
                      <a:cubicBezTo>
                        <a:pt x="53" y="502"/>
                        <a:pt x="51" y="504"/>
                        <a:pt x="48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8" name="Freeform 512"/>
                <p:cNvSpPr>
                  <a:spLocks/>
                </p:cNvSpPr>
                <p:nvPr/>
              </p:nvSpPr>
              <p:spPr bwMode="auto">
                <a:xfrm>
                  <a:off x="1260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2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102" y="0"/>
                    </a:cxn>
                    <a:cxn ang="0">
                      <a:pos x="107" y="6"/>
                    </a:cxn>
                    <a:cxn ang="0">
                      <a:pos x="107" y="499"/>
                    </a:cxn>
                    <a:cxn ang="0">
                      <a:pos x="102" y="504"/>
                    </a:cxn>
                  </a:cxnLst>
                  <a:rect l="0" t="0" r="r" b="b"/>
                  <a:pathLst>
                    <a:path w="107" h="504">
                      <a:moveTo>
                        <a:pt x="102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102" y="0"/>
                      </a:lnTo>
                      <a:cubicBezTo>
                        <a:pt x="105" y="0"/>
                        <a:pt x="107" y="3"/>
                        <a:pt x="107" y="6"/>
                      </a:cubicBezTo>
                      <a:lnTo>
                        <a:pt x="107" y="499"/>
                      </a:lnTo>
                      <a:cubicBezTo>
                        <a:pt x="107" y="502"/>
                        <a:pt x="105" y="504"/>
                        <a:pt x="102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89" name="Freeform 513"/>
                <p:cNvSpPr>
                  <a:spLocks/>
                </p:cNvSpPr>
                <p:nvPr/>
              </p:nvSpPr>
              <p:spPr bwMode="auto">
                <a:xfrm>
                  <a:off x="1290" y="1667"/>
                  <a:ext cx="25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0" name="Freeform 514"/>
                <p:cNvSpPr>
                  <a:spLocks/>
                </p:cNvSpPr>
                <p:nvPr/>
              </p:nvSpPr>
              <p:spPr bwMode="auto">
                <a:xfrm>
                  <a:off x="1318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2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102" y="0"/>
                    </a:cxn>
                    <a:cxn ang="0">
                      <a:pos x="107" y="6"/>
                    </a:cxn>
                    <a:cxn ang="0">
                      <a:pos x="107" y="499"/>
                    </a:cxn>
                    <a:cxn ang="0">
                      <a:pos x="102" y="504"/>
                    </a:cxn>
                  </a:cxnLst>
                  <a:rect l="0" t="0" r="r" b="b"/>
                  <a:pathLst>
                    <a:path w="107" h="504">
                      <a:moveTo>
                        <a:pt x="102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102" y="0"/>
                      </a:lnTo>
                      <a:cubicBezTo>
                        <a:pt x="104" y="0"/>
                        <a:pt x="107" y="3"/>
                        <a:pt x="107" y="6"/>
                      </a:cubicBezTo>
                      <a:lnTo>
                        <a:pt x="107" y="499"/>
                      </a:lnTo>
                      <a:cubicBezTo>
                        <a:pt x="107" y="502"/>
                        <a:pt x="104" y="504"/>
                        <a:pt x="102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1" name="Freeform 515"/>
                <p:cNvSpPr>
                  <a:spLocks/>
                </p:cNvSpPr>
                <p:nvPr/>
              </p:nvSpPr>
              <p:spPr bwMode="auto">
                <a:xfrm>
                  <a:off x="1348" y="1667"/>
                  <a:ext cx="12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2" name="Freeform 516"/>
                <p:cNvSpPr>
                  <a:spLocks/>
                </p:cNvSpPr>
                <p:nvPr/>
              </p:nvSpPr>
              <p:spPr bwMode="auto">
                <a:xfrm>
                  <a:off x="1260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4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54" y="0"/>
                    </a:cxn>
                    <a:cxn ang="0">
                      <a:pos x="54" y="504"/>
                    </a:cxn>
                  </a:cxnLst>
                  <a:rect l="0" t="0" r="r" b="b"/>
                  <a:pathLst>
                    <a:path w="54" h="504">
                      <a:moveTo>
                        <a:pt x="54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54" y="0"/>
                      </a:lnTo>
                      <a:lnTo>
                        <a:pt x="54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3" name="Freeform 517"/>
                <p:cNvSpPr>
                  <a:spLocks/>
                </p:cNvSpPr>
                <p:nvPr/>
              </p:nvSpPr>
              <p:spPr bwMode="auto">
                <a:xfrm>
                  <a:off x="1290" y="1667"/>
                  <a:ext cx="12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4" name="Freeform 518"/>
                <p:cNvSpPr>
                  <a:spLocks/>
                </p:cNvSpPr>
                <p:nvPr/>
              </p:nvSpPr>
              <p:spPr bwMode="auto">
                <a:xfrm>
                  <a:off x="1318" y="1667"/>
                  <a:ext cx="14" cy="123"/>
                </a:xfrm>
                <a:custGeom>
                  <a:avLst/>
                  <a:gdLst/>
                  <a:ahLst/>
                  <a:cxnLst>
                    <a:cxn ang="0">
                      <a:pos x="54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54" y="0"/>
                    </a:cxn>
                    <a:cxn ang="0">
                      <a:pos x="54" y="504"/>
                    </a:cxn>
                  </a:cxnLst>
                  <a:rect l="0" t="0" r="r" b="b"/>
                  <a:pathLst>
                    <a:path w="54" h="504">
                      <a:moveTo>
                        <a:pt x="54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54" y="0"/>
                      </a:lnTo>
                      <a:lnTo>
                        <a:pt x="54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5" name="Freeform 519"/>
                <p:cNvSpPr>
                  <a:spLocks/>
                </p:cNvSpPr>
                <p:nvPr/>
              </p:nvSpPr>
              <p:spPr bwMode="auto">
                <a:xfrm>
                  <a:off x="1348" y="1667"/>
                  <a:ext cx="12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6" name="Freeform 520"/>
                <p:cNvSpPr>
                  <a:spLocks noEditPoints="1"/>
                </p:cNvSpPr>
                <p:nvPr/>
              </p:nvSpPr>
              <p:spPr bwMode="auto">
                <a:xfrm>
                  <a:off x="1245" y="1705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2"/>
                    </a:cxn>
                    <a:cxn ang="0">
                      <a:pos x="14" y="12"/>
                    </a:cxn>
                    <a:cxn ang="0">
                      <a:pos x="0" y="12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2"/>
                    </a:cxn>
                    <a:cxn ang="0">
                      <a:pos x="24" y="0"/>
                    </a:cxn>
                    <a:cxn ang="0">
                      <a:pos x="31" y="0"/>
                    </a:cxn>
                    <a:cxn ang="0">
                      <a:pos x="37" y="5"/>
                    </a:cxn>
                    <a:cxn ang="0">
                      <a:pos x="39" y="11"/>
                    </a:cxn>
                    <a:cxn ang="0">
                      <a:pos x="41" y="17"/>
                    </a:cxn>
                    <a:cxn ang="0">
                      <a:pos x="27" y="17"/>
                    </a:cxn>
                    <a:cxn ang="0">
                      <a:pos x="20" y="12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1" h="17">
                      <a:moveTo>
                        <a:pt x="17" y="12"/>
                      </a:moveTo>
                      <a:lnTo>
                        <a:pt x="14" y="12"/>
                      </a:lnTo>
                      <a:lnTo>
                        <a:pt x="0" y="12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2"/>
                      </a:lnTo>
                      <a:close/>
                      <a:moveTo>
                        <a:pt x="24" y="0"/>
                      </a:moveTo>
                      <a:lnTo>
                        <a:pt x="31" y="0"/>
                      </a:lnTo>
                      <a:cubicBezTo>
                        <a:pt x="33" y="0"/>
                        <a:pt x="36" y="2"/>
                        <a:pt x="37" y="5"/>
                      </a:cubicBezTo>
                      <a:lnTo>
                        <a:pt x="39" y="11"/>
                      </a:lnTo>
                      <a:lnTo>
                        <a:pt x="41" y="17"/>
                      </a:lnTo>
                      <a:lnTo>
                        <a:pt x="27" y="17"/>
                      </a:lnTo>
                      <a:cubicBezTo>
                        <a:pt x="26" y="14"/>
                        <a:pt x="23" y="12"/>
                        <a:pt x="20" y="12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7" name="Freeform 521"/>
                <p:cNvSpPr>
                  <a:spLocks noEditPoints="1"/>
                </p:cNvSpPr>
                <p:nvPr/>
              </p:nvSpPr>
              <p:spPr bwMode="auto">
                <a:xfrm>
                  <a:off x="1263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8" name="Freeform 522"/>
                <p:cNvSpPr>
                  <a:spLocks noEditPoints="1"/>
                </p:cNvSpPr>
                <p:nvPr/>
              </p:nvSpPr>
              <p:spPr bwMode="auto">
                <a:xfrm>
                  <a:off x="1292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4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4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799" name="Freeform 523"/>
                <p:cNvSpPr>
                  <a:spLocks noEditPoints="1"/>
                </p:cNvSpPr>
                <p:nvPr/>
              </p:nvSpPr>
              <p:spPr bwMode="auto">
                <a:xfrm>
                  <a:off x="1321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0" name="Freeform 524"/>
                <p:cNvSpPr>
                  <a:spLocks noEditPoints="1"/>
                </p:cNvSpPr>
                <p:nvPr/>
              </p:nvSpPr>
              <p:spPr bwMode="auto">
                <a:xfrm>
                  <a:off x="1350" y="1705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1" name="Freeform 525"/>
                <p:cNvSpPr>
                  <a:spLocks noEditPoints="1"/>
                </p:cNvSpPr>
                <p:nvPr/>
              </p:nvSpPr>
              <p:spPr bwMode="auto">
                <a:xfrm>
                  <a:off x="1245" y="1722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1"/>
                    </a:cxn>
                    <a:cxn ang="0">
                      <a:pos x="14" y="11"/>
                    </a:cxn>
                    <a:cxn ang="0">
                      <a:pos x="0" y="11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1"/>
                    </a:cxn>
                    <a:cxn ang="0">
                      <a:pos x="24" y="0"/>
                    </a:cxn>
                    <a:cxn ang="0">
                      <a:pos x="31" y="0"/>
                    </a:cxn>
                    <a:cxn ang="0">
                      <a:pos x="37" y="5"/>
                    </a:cxn>
                    <a:cxn ang="0">
                      <a:pos x="39" y="11"/>
                    </a:cxn>
                    <a:cxn ang="0">
                      <a:pos x="41" y="17"/>
                    </a:cxn>
                    <a:cxn ang="0">
                      <a:pos x="27" y="17"/>
                    </a:cxn>
                    <a:cxn ang="0">
                      <a:pos x="20" y="11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1" h="17">
                      <a:moveTo>
                        <a:pt x="17" y="11"/>
                      </a:moveTo>
                      <a:lnTo>
                        <a:pt x="14" y="11"/>
                      </a:lnTo>
                      <a:lnTo>
                        <a:pt x="0" y="11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1"/>
                      </a:lnTo>
                      <a:close/>
                      <a:moveTo>
                        <a:pt x="24" y="0"/>
                      </a:moveTo>
                      <a:lnTo>
                        <a:pt x="31" y="0"/>
                      </a:lnTo>
                      <a:cubicBezTo>
                        <a:pt x="33" y="0"/>
                        <a:pt x="36" y="2"/>
                        <a:pt x="37" y="5"/>
                      </a:cubicBezTo>
                      <a:lnTo>
                        <a:pt x="39" y="11"/>
                      </a:lnTo>
                      <a:lnTo>
                        <a:pt x="41" y="17"/>
                      </a:lnTo>
                      <a:lnTo>
                        <a:pt x="27" y="17"/>
                      </a:lnTo>
                      <a:cubicBezTo>
                        <a:pt x="26" y="14"/>
                        <a:pt x="23" y="11"/>
                        <a:pt x="20" y="11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2" name="Freeform 526"/>
                <p:cNvSpPr>
                  <a:spLocks noEditPoints="1"/>
                </p:cNvSpPr>
                <p:nvPr/>
              </p:nvSpPr>
              <p:spPr bwMode="auto">
                <a:xfrm>
                  <a:off x="1263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3" name="Freeform 527"/>
                <p:cNvSpPr>
                  <a:spLocks noEditPoints="1"/>
                </p:cNvSpPr>
                <p:nvPr/>
              </p:nvSpPr>
              <p:spPr bwMode="auto">
                <a:xfrm>
                  <a:off x="1292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6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4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1"/>
                      </a:moveTo>
                      <a:cubicBezTo>
                        <a:pt x="17" y="11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6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4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4" name="Freeform 528"/>
                <p:cNvSpPr>
                  <a:spLocks noEditPoints="1"/>
                </p:cNvSpPr>
                <p:nvPr/>
              </p:nvSpPr>
              <p:spPr bwMode="auto">
                <a:xfrm>
                  <a:off x="1321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5" name="Freeform 529"/>
                <p:cNvSpPr>
                  <a:spLocks noEditPoints="1"/>
                </p:cNvSpPr>
                <p:nvPr/>
              </p:nvSpPr>
              <p:spPr bwMode="auto">
                <a:xfrm>
                  <a:off x="1350" y="1722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6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</a:cxnLst>
                  <a:rect l="0" t="0" r="r" b="b"/>
                  <a:pathLst>
                    <a:path w="40" h="17">
                      <a:moveTo>
                        <a:pt x="20" y="11"/>
                      </a:moveTo>
                      <a:cubicBezTo>
                        <a:pt x="17" y="11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6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6" name="Freeform 530"/>
                <p:cNvSpPr>
                  <a:spLocks noEditPoints="1"/>
                </p:cNvSpPr>
                <p:nvPr/>
              </p:nvSpPr>
              <p:spPr bwMode="auto">
                <a:xfrm>
                  <a:off x="1245" y="1739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2"/>
                    </a:cxn>
                    <a:cxn ang="0">
                      <a:pos x="14" y="12"/>
                    </a:cxn>
                    <a:cxn ang="0">
                      <a:pos x="0" y="12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2"/>
                    </a:cxn>
                    <a:cxn ang="0">
                      <a:pos x="24" y="0"/>
                    </a:cxn>
                    <a:cxn ang="0">
                      <a:pos x="31" y="0"/>
                    </a:cxn>
                    <a:cxn ang="0">
                      <a:pos x="37" y="6"/>
                    </a:cxn>
                    <a:cxn ang="0">
                      <a:pos x="39" y="12"/>
                    </a:cxn>
                    <a:cxn ang="0">
                      <a:pos x="41" y="17"/>
                    </a:cxn>
                    <a:cxn ang="0">
                      <a:pos x="27" y="17"/>
                    </a:cxn>
                    <a:cxn ang="0">
                      <a:pos x="20" y="12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1" h="17">
                      <a:moveTo>
                        <a:pt x="17" y="12"/>
                      </a:moveTo>
                      <a:lnTo>
                        <a:pt x="14" y="12"/>
                      </a:lnTo>
                      <a:lnTo>
                        <a:pt x="0" y="12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2"/>
                      </a:lnTo>
                      <a:close/>
                      <a:moveTo>
                        <a:pt x="24" y="0"/>
                      </a:moveTo>
                      <a:lnTo>
                        <a:pt x="31" y="0"/>
                      </a:lnTo>
                      <a:cubicBezTo>
                        <a:pt x="33" y="0"/>
                        <a:pt x="36" y="3"/>
                        <a:pt x="37" y="6"/>
                      </a:cubicBezTo>
                      <a:lnTo>
                        <a:pt x="39" y="12"/>
                      </a:lnTo>
                      <a:lnTo>
                        <a:pt x="41" y="17"/>
                      </a:lnTo>
                      <a:lnTo>
                        <a:pt x="27" y="17"/>
                      </a:lnTo>
                      <a:cubicBezTo>
                        <a:pt x="26" y="15"/>
                        <a:pt x="23" y="12"/>
                        <a:pt x="20" y="12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7" name="Freeform 531"/>
                <p:cNvSpPr>
                  <a:spLocks noEditPoints="1"/>
                </p:cNvSpPr>
                <p:nvPr/>
              </p:nvSpPr>
              <p:spPr bwMode="auto">
                <a:xfrm>
                  <a:off x="1263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8" name="Freeform 532"/>
                <p:cNvSpPr>
                  <a:spLocks noEditPoints="1"/>
                </p:cNvSpPr>
                <p:nvPr/>
              </p:nvSpPr>
              <p:spPr bwMode="auto">
                <a:xfrm>
                  <a:off x="1292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6"/>
                    </a:cxn>
                    <a:cxn ang="0">
                      <a:pos x="83" y="12"/>
                    </a:cxn>
                    <a:cxn ang="0">
                      <a:pos x="84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3"/>
                        <a:pt x="81" y="6"/>
                      </a:cubicBezTo>
                      <a:lnTo>
                        <a:pt x="83" y="12"/>
                      </a:lnTo>
                      <a:lnTo>
                        <a:pt x="84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09" name="Freeform 533"/>
                <p:cNvSpPr>
                  <a:spLocks noEditPoints="1"/>
                </p:cNvSpPr>
                <p:nvPr/>
              </p:nvSpPr>
              <p:spPr bwMode="auto">
                <a:xfrm>
                  <a:off x="1321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0" name="Freeform 534"/>
                <p:cNvSpPr>
                  <a:spLocks noEditPoints="1"/>
                </p:cNvSpPr>
                <p:nvPr/>
              </p:nvSpPr>
              <p:spPr bwMode="auto">
                <a:xfrm>
                  <a:off x="1350" y="1739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4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1" name="Freeform 535"/>
                <p:cNvSpPr>
                  <a:spLocks noEditPoints="1"/>
                </p:cNvSpPr>
                <p:nvPr/>
              </p:nvSpPr>
              <p:spPr bwMode="auto">
                <a:xfrm>
                  <a:off x="1245" y="1756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2"/>
                    </a:cxn>
                    <a:cxn ang="0">
                      <a:pos x="14" y="12"/>
                    </a:cxn>
                    <a:cxn ang="0">
                      <a:pos x="0" y="12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2"/>
                    </a:cxn>
                    <a:cxn ang="0">
                      <a:pos x="24" y="0"/>
                    </a:cxn>
                    <a:cxn ang="0">
                      <a:pos x="31" y="0"/>
                    </a:cxn>
                    <a:cxn ang="0">
                      <a:pos x="37" y="5"/>
                    </a:cxn>
                    <a:cxn ang="0">
                      <a:pos x="39" y="12"/>
                    </a:cxn>
                    <a:cxn ang="0">
                      <a:pos x="41" y="17"/>
                    </a:cxn>
                    <a:cxn ang="0">
                      <a:pos x="27" y="17"/>
                    </a:cxn>
                    <a:cxn ang="0">
                      <a:pos x="20" y="12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1" h="17">
                      <a:moveTo>
                        <a:pt x="17" y="12"/>
                      </a:moveTo>
                      <a:lnTo>
                        <a:pt x="14" y="12"/>
                      </a:lnTo>
                      <a:lnTo>
                        <a:pt x="0" y="12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2"/>
                      </a:lnTo>
                      <a:close/>
                      <a:moveTo>
                        <a:pt x="24" y="0"/>
                      </a:moveTo>
                      <a:lnTo>
                        <a:pt x="31" y="0"/>
                      </a:lnTo>
                      <a:cubicBezTo>
                        <a:pt x="33" y="0"/>
                        <a:pt x="36" y="2"/>
                        <a:pt x="37" y="5"/>
                      </a:cubicBezTo>
                      <a:lnTo>
                        <a:pt x="39" y="12"/>
                      </a:lnTo>
                      <a:lnTo>
                        <a:pt x="41" y="17"/>
                      </a:lnTo>
                      <a:lnTo>
                        <a:pt x="27" y="17"/>
                      </a:lnTo>
                      <a:cubicBezTo>
                        <a:pt x="26" y="14"/>
                        <a:pt x="23" y="12"/>
                        <a:pt x="20" y="12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2" name="Freeform 536"/>
                <p:cNvSpPr>
                  <a:spLocks noEditPoints="1"/>
                </p:cNvSpPr>
                <p:nvPr/>
              </p:nvSpPr>
              <p:spPr bwMode="auto">
                <a:xfrm>
                  <a:off x="1263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3" name="Freeform 537"/>
                <p:cNvSpPr>
                  <a:spLocks noEditPoints="1"/>
                </p:cNvSpPr>
                <p:nvPr/>
              </p:nvSpPr>
              <p:spPr bwMode="auto">
                <a:xfrm>
                  <a:off x="1292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2"/>
                    </a:cxn>
                    <a:cxn ang="0">
                      <a:pos x="84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2"/>
                      </a:lnTo>
                      <a:lnTo>
                        <a:pt x="84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4" name="Freeform 538"/>
                <p:cNvSpPr>
                  <a:spLocks noEditPoints="1"/>
                </p:cNvSpPr>
                <p:nvPr/>
              </p:nvSpPr>
              <p:spPr bwMode="auto">
                <a:xfrm>
                  <a:off x="1321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5" name="Freeform 539"/>
                <p:cNvSpPr>
                  <a:spLocks noEditPoints="1"/>
                </p:cNvSpPr>
                <p:nvPr/>
              </p:nvSpPr>
              <p:spPr bwMode="auto">
                <a:xfrm>
                  <a:off x="1350" y="1756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6" name="Freeform 540"/>
                <p:cNvSpPr>
                  <a:spLocks/>
                </p:cNvSpPr>
                <p:nvPr/>
              </p:nvSpPr>
              <p:spPr bwMode="auto">
                <a:xfrm>
                  <a:off x="1244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0" y="55"/>
                    </a:cxn>
                    <a:cxn ang="0">
                      <a:pos x="8" y="55"/>
                    </a:cxn>
                    <a:cxn ang="0">
                      <a:pos x="14" y="51"/>
                    </a:cxn>
                    <a:cxn ang="0">
                      <a:pos x="31" y="25"/>
                    </a:cxn>
                    <a:cxn ang="0">
                      <a:pos x="31" y="18"/>
                    </a:cxn>
                    <a:cxn ang="0">
                      <a:pos x="23" y="4"/>
                    </a:cxn>
                    <a:cxn ang="0">
                      <a:pos x="17" y="0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55"/>
                    </a:cxn>
                  </a:cxnLst>
                  <a:rect l="0" t="0" r="r" b="b"/>
                  <a:pathLst>
                    <a:path w="32" h="55">
                      <a:moveTo>
                        <a:pt x="0" y="55"/>
                      </a:moveTo>
                      <a:lnTo>
                        <a:pt x="8" y="55"/>
                      </a:lnTo>
                      <a:cubicBezTo>
                        <a:pt x="10" y="55"/>
                        <a:pt x="13" y="53"/>
                        <a:pt x="14" y="51"/>
                      </a:cubicBezTo>
                      <a:lnTo>
                        <a:pt x="31" y="25"/>
                      </a:lnTo>
                      <a:cubicBezTo>
                        <a:pt x="32" y="23"/>
                        <a:pt x="32" y="20"/>
                        <a:pt x="31" y="18"/>
                      </a:cubicBezTo>
                      <a:lnTo>
                        <a:pt x="23" y="4"/>
                      </a:lnTo>
                      <a:cubicBezTo>
                        <a:pt x="22" y="1"/>
                        <a:pt x="20" y="0"/>
                        <a:pt x="17" y="0"/>
                      </a:cubicBez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55"/>
                      </a:ln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7" name="Freeform 541"/>
                <p:cNvSpPr>
                  <a:spLocks/>
                </p:cNvSpPr>
                <p:nvPr/>
              </p:nvSpPr>
              <p:spPr bwMode="auto">
                <a:xfrm>
                  <a:off x="1265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8" name="Freeform 542"/>
                <p:cNvSpPr>
                  <a:spLocks/>
                </p:cNvSpPr>
                <p:nvPr/>
              </p:nvSpPr>
              <p:spPr bwMode="auto">
                <a:xfrm>
                  <a:off x="1295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4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19" name="Freeform 543"/>
                <p:cNvSpPr>
                  <a:spLocks/>
                </p:cNvSpPr>
                <p:nvPr/>
              </p:nvSpPr>
              <p:spPr bwMode="auto">
                <a:xfrm>
                  <a:off x="1324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0" name="Freeform 544"/>
                <p:cNvSpPr>
                  <a:spLocks/>
                </p:cNvSpPr>
                <p:nvPr/>
              </p:nvSpPr>
              <p:spPr bwMode="auto">
                <a:xfrm>
                  <a:off x="1353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1" name="Freeform 545"/>
                <p:cNvSpPr>
                  <a:spLocks/>
                </p:cNvSpPr>
                <p:nvPr/>
              </p:nvSpPr>
              <p:spPr bwMode="auto">
                <a:xfrm>
                  <a:off x="1265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2" name="Freeform 546"/>
                <p:cNvSpPr>
                  <a:spLocks/>
                </p:cNvSpPr>
                <p:nvPr/>
              </p:nvSpPr>
              <p:spPr bwMode="auto">
                <a:xfrm>
                  <a:off x="1295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3" name="Freeform 547"/>
                <p:cNvSpPr>
                  <a:spLocks/>
                </p:cNvSpPr>
                <p:nvPr/>
              </p:nvSpPr>
              <p:spPr bwMode="auto">
                <a:xfrm>
                  <a:off x="1324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4" name="Freeform 548"/>
                <p:cNvSpPr>
                  <a:spLocks/>
                </p:cNvSpPr>
                <p:nvPr/>
              </p:nvSpPr>
              <p:spPr bwMode="auto">
                <a:xfrm>
                  <a:off x="1353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5" name="Freeform 549"/>
                <p:cNvSpPr>
                  <a:spLocks/>
                </p:cNvSpPr>
                <p:nvPr/>
              </p:nvSpPr>
              <p:spPr bwMode="auto">
                <a:xfrm>
                  <a:off x="1244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0" y="55"/>
                    </a:cxn>
                    <a:cxn ang="0">
                      <a:pos x="8" y="55"/>
                    </a:cxn>
                    <a:cxn ang="0">
                      <a:pos x="14" y="51"/>
                    </a:cxn>
                    <a:cxn ang="0">
                      <a:pos x="31" y="25"/>
                    </a:cxn>
                    <a:cxn ang="0">
                      <a:pos x="31" y="18"/>
                    </a:cxn>
                    <a:cxn ang="0">
                      <a:pos x="23" y="4"/>
                    </a:cxn>
                    <a:cxn ang="0">
                      <a:pos x="17" y="0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9"/>
                    </a:cxn>
                    <a:cxn ang="0">
                      <a:pos x="16" y="9"/>
                    </a:cxn>
                    <a:cxn ang="0">
                      <a:pos x="23" y="21"/>
                    </a:cxn>
                    <a:cxn ang="0">
                      <a:pos x="7" y="46"/>
                    </a:cxn>
                    <a:cxn ang="0">
                      <a:pos x="0" y="46"/>
                    </a:cxn>
                    <a:cxn ang="0">
                      <a:pos x="0" y="55"/>
                    </a:cxn>
                  </a:cxnLst>
                  <a:rect l="0" t="0" r="r" b="b"/>
                  <a:pathLst>
                    <a:path w="32" h="55">
                      <a:moveTo>
                        <a:pt x="0" y="55"/>
                      </a:moveTo>
                      <a:lnTo>
                        <a:pt x="8" y="55"/>
                      </a:lnTo>
                      <a:cubicBezTo>
                        <a:pt x="10" y="55"/>
                        <a:pt x="13" y="53"/>
                        <a:pt x="14" y="51"/>
                      </a:cubicBezTo>
                      <a:lnTo>
                        <a:pt x="31" y="25"/>
                      </a:lnTo>
                      <a:cubicBezTo>
                        <a:pt x="32" y="23"/>
                        <a:pt x="32" y="20"/>
                        <a:pt x="31" y="18"/>
                      </a:cubicBezTo>
                      <a:lnTo>
                        <a:pt x="23" y="4"/>
                      </a:lnTo>
                      <a:cubicBezTo>
                        <a:pt x="22" y="1"/>
                        <a:pt x="20" y="0"/>
                        <a:pt x="17" y="0"/>
                      </a:cubicBez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6" y="9"/>
                      </a:lnTo>
                      <a:lnTo>
                        <a:pt x="23" y="21"/>
                      </a:lnTo>
                      <a:lnTo>
                        <a:pt x="7" y="46"/>
                      </a:lnTo>
                      <a:lnTo>
                        <a:pt x="0" y="46"/>
                      </a:lnTo>
                      <a:lnTo>
                        <a:pt x="0" y="55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6" name="Freeform 550"/>
                <p:cNvSpPr>
                  <a:spLocks noEditPoints="1"/>
                </p:cNvSpPr>
                <p:nvPr/>
              </p:nvSpPr>
              <p:spPr bwMode="auto">
                <a:xfrm>
                  <a:off x="1265" y="1682"/>
                  <a:ext cx="16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7" name="Freeform 551"/>
                <p:cNvSpPr>
                  <a:spLocks noEditPoints="1"/>
                </p:cNvSpPr>
                <p:nvPr/>
              </p:nvSpPr>
              <p:spPr bwMode="auto">
                <a:xfrm>
                  <a:off x="1295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0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48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26" y="46"/>
                      </a:moveTo>
                      <a:lnTo>
                        <a:pt x="10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48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4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8" name="Freeform 552"/>
                <p:cNvSpPr>
                  <a:spLocks noEditPoints="1"/>
                </p:cNvSpPr>
                <p:nvPr/>
              </p:nvSpPr>
              <p:spPr bwMode="auto">
                <a:xfrm>
                  <a:off x="1324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29" name="Freeform 553"/>
                <p:cNvSpPr>
                  <a:spLocks/>
                </p:cNvSpPr>
                <p:nvPr/>
              </p:nvSpPr>
              <p:spPr bwMode="auto">
                <a:xfrm>
                  <a:off x="1353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5" y="46"/>
                      </a:lnTo>
                      <a:lnTo>
                        <a:pt x="10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0" name="Freeform 554"/>
                <p:cNvSpPr>
                  <a:spLocks/>
                </p:cNvSpPr>
                <p:nvPr/>
              </p:nvSpPr>
              <p:spPr bwMode="auto">
                <a:xfrm>
                  <a:off x="1265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33" y="9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33" y="9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1" name="Freeform 555"/>
                <p:cNvSpPr>
                  <a:spLocks/>
                </p:cNvSpPr>
                <p:nvPr/>
              </p:nvSpPr>
              <p:spPr bwMode="auto">
                <a:xfrm>
                  <a:off x="1295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6" y="46"/>
                    </a:cxn>
                    <a:cxn ang="0">
                      <a:pos x="10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6" y="46"/>
                      </a:lnTo>
                      <a:lnTo>
                        <a:pt x="10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2" name="Freeform 556"/>
                <p:cNvSpPr>
                  <a:spLocks/>
                </p:cNvSpPr>
                <p:nvPr/>
              </p:nvSpPr>
              <p:spPr bwMode="auto">
                <a:xfrm>
                  <a:off x="1324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33" y="9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33" y="9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3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1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3" name="Freeform 557"/>
                <p:cNvSpPr>
                  <a:spLocks/>
                </p:cNvSpPr>
                <p:nvPr/>
              </p:nvSpPr>
              <p:spPr bwMode="auto">
                <a:xfrm>
                  <a:off x="1353" y="1682"/>
                  <a:ext cx="7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5" y="46"/>
                      </a:lnTo>
                      <a:lnTo>
                        <a:pt x="10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4" name="Freeform 558"/>
                <p:cNvSpPr>
                  <a:spLocks/>
                </p:cNvSpPr>
                <p:nvPr/>
              </p:nvSpPr>
              <p:spPr bwMode="auto">
                <a:xfrm>
                  <a:off x="1244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40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29" y="34"/>
                    </a:cxn>
                    <a:cxn ang="0">
                      <a:pos x="30" y="28"/>
                    </a:cxn>
                    <a:cxn ang="0">
                      <a:pos x="32" y="23"/>
                    </a:cxn>
                    <a:cxn ang="0">
                      <a:pos x="39" y="17"/>
                    </a:cxn>
                    <a:cxn ang="0">
                      <a:pos x="0" y="0"/>
                    </a:cxn>
                    <a:cxn ang="0">
                      <a:pos x="0" y="40"/>
                    </a:cxn>
                  </a:cxnLst>
                  <a:rect l="0" t="0" r="r" b="b"/>
                  <a:pathLst>
                    <a:path w="39" h="40">
                      <a:moveTo>
                        <a:pt x="0" y="40"/>
                      </a:moveTo>
                      <a:lnTo>
                        <a:pt x="16" y="40"/>
                      </a:lnTo>
                      <a:lnTo>
                        <a:pt x="22" y="40"/>
                      </a:lnTo>
                      <a:cubicBezTo>
                        <a:pt x="25" y="40"/>
                        <a:pt x="28" y="37"/>
                        <a:pt x="29" y="34"/>
                      </a:cubicBezTo>
                      <a:lnTo>
                        <a:pt x="30" y="28"/>
                      </a:lnTo>
                      <a:lnTo>
                        <a:pt x="32" y="23"/>
                      </a:lnTo>
                      <a:cubicBezTo>
                        <a:pt x="33" y="20"/>
                        <a:pt x="36" y="17"/>
                        <a:pt x="39" y="17"/>
                      </a:cubicBezTo>
                      <a:cubicBezTo>
                        <a:pt x="28" y="6"/>
                        <a:pt x="15" y="0"/>
                        <a:pt x="0" y="0"/>
                      </a:cubicBezTo>
                      <a:lnTo>
                        <a:pt x="0" y="40"/>
                      </a:ln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5" name="Freeform 559"/>
                <p:cNvSpPr>
                  <a:spLocks/>
                </p:cNvSpPr>
                <p:nvPr/>
              </p:nvSpPr>
              <p:spPr bwMode="auto">
                <a:xfrm>
                  <a:off x="1264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6" name="Freeform 560"/>
                <p:cNvSpPr>
                  <a:spLocks/>
                </p:cNvSpPr>
                <p:nvPr/>
              </p:nvSpPr>
              <p:spPr bwMode="auto">
                <a:xfrm>
                  <a:off x="1293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8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8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7" name="Freeform 561"/>
                <p:cNvSpPr>
                  <a:spLocks/>
                </p:cNvSpPr>
                <p:nvPr/>
              </p:nvSpPr>
              <p:spPr bwMode="auto">
                <a:xfrm>
                  <a:off x="1322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8" name="Freeform 562"/>
                <p:cNvSpPr>
                  <a:spLocks/>
                </p:cNvSpPr>
                <p:nvPr/>
              </p:nvSpPr>
              <p:spPr bwMode="auto">
                <a:xfrm>
                  <a:off x="1351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39" name="Freeform 563"/>
                <p:cNvSpPr>
                  <a:spLocks/>
                </p:cNvSpPr>
                <p:nvPr/>
              </p:nvSpPr>
              <p:spPr bwMode="auto">
                <a:xfrm>
                  <a:off x="1264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0" name="Freeform 564"/>
                <p:cNvSpPr>
                  <a:spLocks/>
                </p:cNvSpPr>
                <p:nvPr/>
              </p:nvSpPr>
              <p:spPr bwMode="auto">
                <a:xfrm>
                  <a:off x="1293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1" name="Freeform 565"/>
                <p:cNvSpPr>
                  <a:spLocks/>
                </p:cNvSpPr>
                <p:nvPr/>
              </p:nvSpPr>
              <p:spPr bwMode="auto">
                <a:xfrm>
                  <a:off x="1322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2" name="Freeform 566"/>
                <p:cNvSpPr>
                  <a:spLocks/>
                </p:cNvSpPr>
                <p:nvPr/>
              </p:nvSpPr>
              <p:spPr bwMode="auto">
                <a:xfrm>
                  <a:off x="1351" y="1663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3" name="Freeform 567"/>
                <p:cNvSpPr>
                  <a:spLocks/>
                </p:cNvSpPr>
                <p:nvPr/>
              </p:nvSpPr>
              <p:spPr bwMode="auto">
                <a:xfrm>
                  <a:off x="1244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9" y="17"/>
                    </a:cxn>
                    <a:cxn ang="0">
                      <a:pos x="0" y="0"/>
                    </a:cxn>
                    <a:cxn ang="0">
                      <a:pos x="0" y="17"/>
                    </a:cxn>
                    <a:cxn ang="0">
                      <a:pos x="39" y="17"/>
                    </a:cxn>
                  </a:cxnLst>
                  <a:rect l="0" t="0" r="r" b="b"/>
                  <a:pathLst>
                    <a:path w="39" h="17">
                      <a:moveTo>
                        <a:pt x="39" y="17"/>
                      </a:moveTo>
                      <a:cubicBezTo>
                        <a:pt x="28" y="6"/>
                        <a:pt x="15" y="0"/>
                        <a:pt x="0" y="0"/>
                      </a:cubicBezTo>
                      <a:lnTo>
                        <a:pt x="0" y="17"/>
                      </a:lnTo>
                      <a:lnTo>
                        <a:pt x="39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4" name="Freeform 568"/>
                <p:cNvSpPr>
                  <a:spLocks/>
                </p:cNvSpPr>
                <p:nvPr/>
              </p:nvSpPr>
              <p:spPr bwMode="auto">
                <a:xfrm>
                  <a:off x="1264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5" name="Freeform 569"/>
                <p:cNvSpPr>
                  <a:spLocks/>
                </p:cNvSpPr>
                <p:nvPr/>
              </p:nvSpPr>
              <p:spPr bwMode="auto">
                <a:xfrm>
                  <a:off x="1293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6" name="Freeform 570"/>
                <p:cNvSpPr>
                  <a:spLocks/>
                </p:cNvSpPr>
                <p:nvPr/>
              </p:nvSpPr>
              <p:spPr bwMode="auto">
                <a:xfrm>
                  <a:off x="1322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7" name="Freeform 571"/>
                <p:cNvSpPr>
                  <a:spLocks/>
                </p:cNvSpPr>
                <p:nvPr/>
              </p:nvSpPr>
              <p:spPr bwMode="auto">
                <a:xfrm>
                  <a:off x="1351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8" name="Freeform 572"/>
                <p:cNvSpPr>
                  <a:spLocks/>
                </p:cNvSpPr>
                <p:nvPr/>
              </p:nvSpPr>
              <p:spPr bwMode="auto">
                <a:xfrm>
                  <a:off x="1264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49" name="Freeform 573"/>
                <p:cNvSpPr>
                  <a:spLocks/>
                </p:cNvSpPr>
                <p:nvPr/>
              </p:nvSpPr>
              <p:spPr bwMode="auto">
                <a:xfrm>
                  <a:off x="1293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0" name="Freeform 574"/>
                <p:cNvSpPr>
                  <a:spLocks/>
                </p:cNvSpPr>
                <p:nvPr/>
              </p:nvSpPr>
              <p:spPr bwMode="auto">
                <a:xfrm>
                  <a:off x="1322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1" name="Freeform 575"/>
                <p:cNvSpPr>
                  <a:spLocks/>
                </p:cNvSpPr>
                <p:nvPr/>
              </p:nvSpPr>
              <p:spPr bwMode="auto">
                <a:xfrm>
                  <a:off x="1351" y="1663"/>
                  <a:ext cx="9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2" name="Freeform 576"/>
                <p:cNvSpPr>
                  <a:spLocks/>
                </p:cNvSpPr>
                <p:nvPr/>
              </p:nvSpPr>
              <p:spPr bwMode="auto">
                <a:xfrm>
                  <a:off x="1244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0" y="0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9" h="12">
                      <a:moveTo>
                        <a:pt x="0" y="12"/>
                      </a:moveTo>
                      <a:lnTo>
                        <a:pt x="39" y="12"/>
                      </a:lnTo>
                      <a:cubicBezTo>
                        <a:pt x="28" y="4"/>
                        <a:pt x="15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3" name="Freeform 577"/>
                <p:cNvSpPr>
                  <a:spLocks/>
                </p:cNvSpPr>
                <p:nvPr/>
              </p:nvSpPr>
              <p:spPr bwMode="auto">
                <a:xfrm>
                  <a:off x="1264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4" name="Freeform 578"/>
                <p:cNvSpPr>
                  <a:spLocks/>
                </p:cNvSpPr>
                <p:nvPr/>
              </p:nvSpPr>
              <p:spPr bwMode="auto">
                <a:xfrm>
                  <a:off x="1293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77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6" y="4"/>
                        <a:pt x="53" y="0"/>
                        <a:pt x="38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5" name="Freeform 579"/>
                <p:cNvSpPr>
                  <a:spLocks/>
                </p:cNvSpPr>
                <p:nvPr/>
              </p:nvSpPr>
              <p:spPr bwMode="auto">
                <a:xfrm>
                  <a:off x="1322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6" name="Freeform 580"/>
                <p:cNvSpPr>
                  <a:spLocks/>
                </p:cNvSpPr>
                <p:nvPr/>
              </p:nvSpPr>
              <p:spPr bwMode="auto">
                <a:xfrm>
                  <a:off x="1351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7" name="Freeform 581"/>
                <p:cNvSpPr>
                  <a:spLocks/>
                </p:cNvSpPr>
                <p:nvPr/>
              </p:nvSpPr>
              <p:spPr bwMode="auto">
                <a:xfrm>
                  <a:off x="1264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8" name="Freeform 582"/>
                <p:cNvSpPr>
                  <a:spLocks/>
                </p:cNvSpPr>
                <p:nvPr/>
              </p:nvSpPr>
              <p:spPr bwMode="auto">
                <a:xfrm>
                  <a:off x="1293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59" name="Freeform 583"/>
                <p:cNvSpPr>
                  <a:spLocks/>
                </p:cNvSpPr>
                <p:nvPr/>
              </p:nvSpPr>
              <p:spPr bwMode="auto">
                <a:xfrm>
                  <a:off x="1322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0" name="Freeform 584"/>
                <p:cNvSpPr>
                  <a:spLocks/>
                </p:cNvSpPr>
                <p:nvPr/>
              </p:nvSpPr>
              <p:spPr bwMode="auto">
                <a:xfrm>
                  <a:off x="1351" y="1664"/>
                  <a:ext cx="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1" name="Rectangle 585"/>
                <p:cNvSpPr>
                  <a:spLocks noChangeArrowheads="1"/>
                </p:cNvSpPr>
                <p:nvPr/>
              </p:nvSpPr>
              <p:spPr bwMode="auto">
                <a:xfrm>
                  <a:off x="1289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2" name="Rectangle 586"/>
                <p:cNvSpPr>
                  <a:spLocks noChangeArrowheads="1"/>
                </p:cNvSpPr>
                <p:nvPr/>
              </p:nvSpPr>
              <p:spPr bwMode="auto">
                <a:xfrm>
                  <a:off x="1299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3" name="Rectangle 587"/>
                <p:cNvSpPr>
                  <a:spLocks noChangeArrowheads="1"/>
                </p:cNvSpPr>
                <p:nvPr/>
              </p:nvSpPr>
              <p:spPr bwMode="auto">
                <a:xfrm>
                  <a:off x="1309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4" name="Rectangle 588"/>
                <p:cNvSpPr>
                  <a:spLocks noChangeArrowheads="1"/>
                </p:cNvSpPr>
                <p:nvPr/>
              </p:nvSpPr>
              <p:spPr bwMode="auto">
                <a:xfrm>
                  <a:off x="1318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5" name="Rectangle 589"/>
                <p:cNvSpPr>
                  <a:spLocks noChangeArrowheads="1"/>
                </p:cNvSpPr>
                <p:nvPr/>
              </p:nvSpPr>
              <p:spPr bwMode="auto">
                <a:xfrm>
                  <a:off x="1244" y="1791"/>
                  <a:ext cx="4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6" name="Rectangle 590"/>
                <p:cNvSpPr>
                  <a:spLocks noChangeArrowheads="1"/>
                </p:cNvSpPr>
                <p:nvPr/>
              </p:nvSpPr>
              <p:spPr bwMode="auto">
                <a:xfrm>
                  <a:off x="1328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7" name="Rectangle 591"/>
                <p:cNvSpPr>
                  <a:spLocks noChangeArrowheads="1"/>
                </p:cNvSpPr>
                <p:nvPr/>
              </p:nvSpPr>
              <p:spPr bwMode="auto">
                <a:xfrm>
                  <a:off x="1251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8" name="Rectangle 592"/>
                <p:cNvSpPr>
                  <a:spLocks noChangeArrowheads="1"/>
                </p:cNvSpPr>
                <p:nvPr/>
              </p:nvSpPr>
              <p:spPr bwMode="auto">
                <a:xfrm>
                  <a:off x="1338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69" name="Rectangle 593"/>
                <p:cNvSpPr>
                  <a:spLocks noChangeArrowheads="1"/>
                </p:cNvSpPr>
                <p:nvPr/>
              </p:nvSpPr>
              <p:spPr bwMode="auto">
                <a:xfrm>
                  <a:off x="1260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0" name="Rectangle 594"/>
                <p:cNvSpPr>
                  <a:spLocks noChangeArrowheads="1"/>
                </p:cNvSpPr>
                <p:nvPr/>
              </p:nvSpPr>
              <p:spPr bwMode="auto">
                <a:xfrm>
                  <a:off x="1347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1" name="Rectangle 595"/>
                <p:cNvSpPr>
                  <a:spLocks noChangeArrowheads="1"/>
                </p:cNvSpPr>
                <p:nvPr/>
              </p:nvSpPr>
              <p:spPr bwMode="auto">
                <a:xfrm>
                  <a:off x="1270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2" name="Rectangle 596"/>
                <p:cNvSpPr>
                  <a:spLocks noChangeArrowheads="1"/>
                </p:cNvSpPr>
                <p:nvPr/>
              </p:nvSpPr>
              <p:spPr bwMode="auto">
                <a:xfrm>
                  <a:off x="1357" y="1791"/>
                  <a:ext cx="3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3" name="Rectangle 597"/>
                <p:cNvSpPr>
                  <a:spLocks noChangeArrowheads="1"/>
                </p:cNvSpPr>
                <p:nvPr/>
              </p:nvSpPr>
              <p:spPr bwMode="auto">
                <a:xfrm>
                  <a:off x="1280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4" name="Rectangle 598"/>
                <p:cNvSpPr>
                  <a:spLocks noChangeArrowheads="1"/>
                </p:cNvSpPr>
                <p:nvPr/>
              </p:nvSpPr>
              <p:spPr bwMode="auto">
                <a:xfrm>
                  <a:off x="1244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5" name="Rectangle 599"/>
                <p:cNvSpPr>
                  <a:spLocks noChangeArrowheads="1"/>
                </p:cNvSpPr>
                <p:nvPr/>
              </p:nvSpPr>
              <p:spPr bwMode="auto">
                <a:xfrm>
                  <a:off x="1273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6" name="Rectangle 600"/>
                <p:cNvSpPr>
                  <a:spLocks noChangeArrowheads="1"/>
                </p:cNvSpPr>
                <p:nvPr/>
              </p:nvSpPr>
              <p:spPr bwMode="auto">
                <a:xfrm>
                  <a:off x="1302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7" name="Rectangle 601"/>
                <p:cNvSpPr>
                  <a:spLocks noChangeArrowheads="1"/>
                </p:cNvSpPr>
                <p:nvPr/>
              </p:nvSpPr>
              <p:spPr bwMode="auto">
                <a:xfrm>
                  <a:off x="1332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8" name="Rectangle 602"/>
                <p:cNvSpPr>
                  <a:spLocks noChangeArrowheads="1"/>
                </p:cNvSpPr>
                <p:nvPr/>
              </p:nvSpPr>
              <p:spPr bwMode="auto">
                <a:xfrm>
                  <a:off x="1262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79" name="Rectangle 603"/>
                <p:cNvSpPr>
                  <a:spLocks noChangeArrowheads="1"/>
                </p:cNvSpPr>
                <p:nvPr/>
              </p:nvSpPr>
              <p:spPr bwMode="auto">
                <a:xfrm>
                  <a:off x="1291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80" name="Rectangle 604"/>
                <p:cNvSpPr>
                  <a:spLocks noChangeArrowheads="1"/>
                </p:cNvSpPr>
                <p:nvPr/>
              </p:nvSpPr>
              <p:spPr bwMode="auto">
                <a:xfrm>
                  <a:off x="1320" y="1650"/>
                  <a:ext cx="1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81" name="Rectangle 605"/>
                <p:cNvSpPr>
                  <a:spLocks noChangeArrowheads="1"/>
                </p:cNvSpPr>
                <p:nvPr/>
              </p:nvSpPr>
              <p:spPr bwMode="auto">
                <a:xfrm>
                  <a:off x="1349" y="1650"/>
                  <a:ext cx="1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82" name="Rectangle 606"/>
                <p:cNvSpPr>
                  <a:spLocks noChangeArrowheads="1"/>
                </p:cNvSpPr>
                <p:nvPr/>
              </p:nvSpPr>
              <p:spPr bwMode="auto">
                <a:xfrm>
                  <a:off x="1256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83" name="Rectangle 607"/>
                <p:cNvSpPr>
                  <a:spLocks noChangeArrowheads="1"/>
                </p:cNvSpPr>
                <p:nvPr/>
              </p:nvSpPr>
              <p:spPr bwMode="auto">
                <a:xfrm>
                  <a:off x="1285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84" name="Rectangle 608"/>
                <p:cNvSpPr>
                  <a:spLocks noChangeArrowheads="1"/>
                </p:cNvSpPr>
                <p:nvPr/>
              </p:nvSpPr>
              <p:spPr bwMode="auto">
                <a:xfrm>
                  <a:off x="1314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85" name="Rectangle 609"/>
                <p:cNvSpPr>
                  <a:spLocks noChangeArrowheads="1"/>
                </p:cNvSpPr>
                <p:nvPr/>
              </p:nvSpPr>
              <p:spPr bwMode="auto">
                <a:xfrm>
                  <a:off x="1343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86" name="Rectangle 610"/>
                <p:cNvSpPr>
                  <a:spLocks noChangeArrowheads="1"/>
                </p:cNvSpPr>
                <p:nvPr/>
              </p:nvSpPr>
              <p:spPr bwMode="auto">
                <a:xfrm>
                  <a:off x="1260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87" name="Rectangle 611"/>
                <p:cNvSpPr>
                  <a:spLocks noChangeArrowheads="1"/>
                </p:cNvSpPr>
                <p:nvPr/>
              </p:nvSpPr>
              <p:spPr bwMode="auto">
                <a:xfrm>
                  <a:off x="1290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</p:grpSp>
          <p:grpSp>
            <p:nvGrpSpPr>
              <p:cNvPr id="19" name="Group 813"/>
              <p:cNvGrpSpPr>
                <a:grpSpLocks/>
              </p:cNvGrpSpPr>
              <p:nvPr/>
            </p:nvGrpSpPr>
            <p:grpSpPr bwMode="auto">
              <a:xfrm>
                <a:off x="936" y="1640"/>
                <a:ext cx="706" cy="380"/>
                <a:chOff x="936" y="1640"/>
                <a:chExt cx="706" cy="380"/>
              </a:xfrm>
            </p:grpSpPr>
            <p:sp>
              <p:nvSpPr>
                <p:cNvPr id="488" name="Rectangle 613"/>
                <p:cNvSpPr>
                  <a:spLocks noChangeArrowheads="1"/>
                </p:cNvSpPr>
                <p:nvPr/>
              </p:nvSpPr>
              <p:spPr bwMode="auto">
                <a:xfrm>
                  <a:off x="1318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89" name="Rectangle 614"/>
                <p:cNvSpPr>
                  <a:spLocks noChangeArrowheads="1"/>
                </p:cNvSpPr>
                <p:nvPr/>
              </p:nvSpPr>
              <p:spPr bwMode="auto">
                <a:xfrm>
                  <a:off x="1348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0" name="Rectangle 615"/>
                <p:cNvSpPr>
                  <a:spLocks noChangeArrowheads="1"/>
                </p:cNvSpPr>
                <p:nvPr/>
              </p:nvSpPr>
              <p:spPr bwMode="auto">
                <a:xfrm>
                  <a:off x="1245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1" name="Rectangle 616"/>
                <p:cNvSpPr>
                  <a:spLocks noChangeArrowheads="1"/>
                </p:cNvSpPr>
                <p:nvPr/>
              </p:nvSpPr>
              <p:spPr bwMode="auto">
                <a:xfrm>
                  <a:off x="1274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2" name="Rectangle 617"/>
                <p:cNvSpPr>
                  <a:spLocks noChangeArrowheads="1"/>
                </p:cNvSpPr>
                <p:nvPr/>
              </p:nvSpPr>
              <p:spPr bwMode="auto">
                <a:xfrm>
                  <a:off x="1266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3" name="Rectangle 618"/>
                <p:cNvSpPr>
                  <a:spLocks noChangeArrowheads="1"/>
                </p:cNvSpPr>
                <p:nvPr/>
              </p:nvSpPr>
              <p:spPr bwMode="auto">
                <a:xfrm>
                  <a:off x="1303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4" name="Rectangle 619"/>
                <p:cNvSpPr>
                  <a:spLocks noChangeArrowheads="1"/>
                </p:cNvSpPr>
                <p:nvPr/>
              </p:nvSpPr>
              <p:spPr bwMode="auto">
                <a:xfrm>
                  <a:off x="1295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5" name="Rectangle 620"/>
                <p:cNvSpPr>
                  <a:spLocks noChangeArrowheads="1"/>
                </p:cNvSpPr>
                <p:nvPr/>
              </p:nvSpPr>
              <p:spPr bwMode="auto">
                <a:xfrm>
                  <a:off x="1332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6" name="Rectangle 621"/>
                <p:cNvSpPr>
                  <a:spLocks noChangeArrowheads="1"/>
                </p:cNvSpPr>
                <p:nvPr/>
              </p:nvSpPr>
              <p:spPr bwMode="auto">
                <a:xfrm>
                  <a:off x="1324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7" name="Rectangle 622"/>
                <p:cNvSpPr>
                  <a:spLocks noChangeArrowheads="1"/>
                </p:cNvSpPr>
                <p:nvPr/>
              </p:nvSpPr>
              <p:spPr bwMode="auto">
                <a:xfrm>
                  <a:off x="1353" y="1652"/>
                  <a:ext cx="6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8" name="Rectangle 623"/>
                <p:cNvSpPr>
                  <a:spLocks noChangeArrowheads="1"/>
                </p:cNvSpPr>
                <p:nvPr/>
              </p:nvSpPr>
              <p:spPr bwMode="auto">
                <a:xfrm>
                  <a:off x="1244" y="1640"/>
                  <a:ext cx="116" cy="5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99" name="Rectangle 624"/>
                <p:cNvSpPr>
                  <a:spLocks noChangeArrowheads="1"/>
                </p:cNvSpPr>
                <p:nvPr/>
              </p:nvSpPr>
              <p:spPr bwMode="auto">
                <a:xfrm>
                  <a:off x="1360" y="1640"/>
                  <a:ext cx="117" cy="16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0" name="Rectangle 625"/>
                <p:cNvSpPr>
                  <a:spLocks noChangeArrowheads="1"/>
                </p:cNvSpPr>
                <p:nvPr/>
              </p:nvSpPr>
              <p:spPr bwMode="auto">
                <a:xfrm>
                  <a:off x="1360" y="1786"/>
                  <a:ext cx="117" cy="15"/>
                </a:xfrm>
                <a:prstGeom prst="rect">
                  <a:avLst/>
                </a:prstGeom>
                <a:solidFill>
                  <a:srgbClr val="CC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1" name="Freeform 626"/>
                <p:cNvSpPr>
                  <a:spLocks/>
                </p:cNvSpPr>
                <p:nvPr/>
              </p:nvSpPr>
              <p:spPr bwMode="auto">
                <a:xfrm>
                  <a:off x="1360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48" y="504"/>
                    </a:cxn>
                    <a:cxn ang="0">
                      <a:pos x="0" y="504"/>
                    </a:cxn>
                    <a:cxn ang="0">
                      <a:pos x="0" y="0"/>
                    </a:cxn>
                    <a:cxn ang="0">
                      <a:pos x="48" y="0"/>
                    </a:cxn>
                    <a:cxn ang="0">
                      <a:pos x="53" y="6"/>
                    </a:cxn>
                    <a:cxn ang="0">
                      <a:pos x="53" y="499"/>
                    </a:cxn>
                    <a:cxn ang="0">
                      <a:pos x="48" y="504"/>
                    </a:cxn>
                  </a:cxnLst>
                  <a:rect l="0" t="0" r="r" b="b"/>
                  <a:pathLst>
                    <a:path w="53" h="504">
                      <a:moveTo>
                        <a:pt x="48" y="504"/>
                      </a:moveTo>
                      <a:lnTo>
                        <a:pt x="0" y="504"/>
                      </a:lnTo>
                      <a:lnTo>
                        <a:pt x="0" y="0"/>
                      </a:lnTo>
                      <a:lnTo>
                        <a:pt x="48" y="0"/>
                      </a:lnTo>
                      <a:cubicBezTo>
                        <a:pt x="51" y="0"/>
                        <a:pt x="53" y="3"/>
                        <a:pt x="53" y="6"/>
                      </a:cubicBezTo>
                      <a:lnTo>
                        <a:pt x="53" y="499"/>
                      </a:lnTo>
                      <a:cubicBezTo>
                        <a:pt x="53" y="502"/>
                        <a:pt x="51" y="504"/>
                        <a:pt x="48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2" name="Freeform 627"/>
                <p:cNvSpPr>
                  <a:spLocks/>
                </p:cNvSpPr>
                <p:nvPr/>
              </p:nvSpPr>
              <p:spPr bwMode="auto">
                <a:xfrm>
                  <a:off x="1376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2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102" y="0"/>
                    </a:cxn>
                    <a:cxn ang="0">
                      <a:pos x="107" y="6"/>
                    </a:cxn>
                    <a:cxn ang="0">
                      <a:pos x="107" y="499"/>
                    </a:cxn>
                    <a:cxn ang="0">
                      <a:pos x="102" y="504"/>
                    </a:cxn>
                  </a:cxnLst>
                  <a:rect l="0" t="0" r="r" b="b"/>
                  <a:pathLst>
                    <a:path w="107" h="504">
                      <a:moveTo>
                        <a:pt x="102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102" y="0"/>
                      </a:lnTo>
                      <a:cubicBezTo>
                        <a:pt x="104" y="0"/>
                        <a:pt x="107" y="3"/>
                        <a:pt x="107" y="6"/>
                      </a:cubicBezTo>
                      <a:lnTo>
                        <a:pt x="107" y="499"/>
                      </a:lnTo>
                      <a:cubicBezTo>
                        <a:pt x="107" y="502"/>
                        <a:pt x="104" y="504"/>
                        <a:pt x="102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3" name="Freeform 628"/>
                <p:cNvSpPr>
                  <a:spLocks/>
                </p:cNvSpPr>
                <p:nvPr/>
              </p:nvSpPr>
              <p:spPr bwMode="auto">
                <a:xfrm>
                  <a:off x="1406" y="1667"/>
                  <a:ext cx="25" cy="123"/>
                </a:xfrm>
                <a:custGeom>
                  <a:avLst/>
                  <a:gdLst/>
                  <a:ahLst/>
                  <a:cxnLst>
                    <a:cxn ang="0">
                      <a:pos x="101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1" y="0"/>
                    </a:cxn>
                    <a:cxn ang="0">
                      <a:pos x="106" y="6"/>
                    </a:cxn>
                    <a:cxn ang="0">
                      <a:pos x="106" y="499"/>
                    </a:cxn>
                    <a:cxn ang="0">
                      <a:pos x="101" y="504"/>
                    </a:cxn>
                  </a:cxnLst>
                  <a:rect l="0" t="0" r="r" b="b"/>
                  <a:pathLst>
                    <a:path w="106" h="504">
                      <a:moveTo>
                        <a:pt x="101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101" y="0"/>
                      </a:lnTo>
                      <a:cubicBezTo>
                        <a:pt x="104" y="0"/>
                        <a:pt x="106" y="3"/>
                        <a:pt x="106" y="6"/>
                      </a:cubicBezTo>
                      <a:lnTo>
                        <a:pt x="106" y="499"/>
                      </a:lnTo>
                      <a:cubicBezTo>
                        <a:pt x="106" y="502"/>
                        <a:pt x="104" y="504"/>
                        <a:pt x="101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4" name="Freeform 629"/>
                <p:cNvSpPr>
                  <a:spLocks/>
                </p:cNvSpPr>
                <p:nvPr/>
              </p:nvSpPr>
              <p:spPr bwMode="auto">
                <a:xfrm>
                  <a:off x="1435" y="1667"/>
                  <a:ext cx="26" cy="123"/>
                </a:xfrm>
                <a:custGeom>
                  <a:avLst/>
                  <a:gdLst/>
                  <a:ahLst/>
                  <a:cxnLst>
                    <a:cxn ang="0">
                      <a:pos x="102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102" y="0"/>
                    </a:cxn>
                    <a:cxn ang="0">
                      <a:pos x="107" y="6"/>
                    </a:cxn>
                    <a:cxn ang="0">
                      <a:pos x="107" y="499"/>
                    </a:cxn>
                    <a:cxn ang="0">
                      <a:pos x="102" y="504"/>
                    </a:cxn>
                  </a:cxnLst>
                  <a:rect l="0" t="0" r="r" b="b"/>
                  <a:pathLst>
                    <a:path w="107" h="504">
                      <a:moveTo>
                        <a:pt x="102" y="504"/>
                      </a:moveTo>
                      <a:lnTo>
                        <a:pt x="5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5" y="0"/>
                      </a:cubicBezTo>
                      <a:lnTo>
                        <a:pt x="102" y="0"/>
                      </a:lnTo>
                      <a:cubicBezTo>
                        <a:pt x="104" y="0"/>
                        <a:pt x="107" y="3"/>
                        <a:pt x="107" y="6"/>
                      </a:cubicBezTo>
                      <a:lnTo>
                        <a:pt x="107" y="499"/>
                      </a:lnTo>
                      <a:cubicBezTo>
                        <a:pt x="107" y="502"/>
                        <a:pt x="104" y="504"/>
                        <a:pt x="102" y="504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5" name="Freeform 630"/>
                <p:cNvSpPr>
                  <a:spLocks/>
                </p:cNvSpPr>
                <p:nvPr/>
              </p:nvSpPr>
              <p:spPr bwMode="auto">
                <a:xfrm>
                  <a:off x="1464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6" name="Freeform 631"/>
                <p:cNvSpPr>
                  <a:spLocks/>
                </p:cNvSpPr>
                <p:nvPr/>
              </p:nvSpPr>
              <p:spPr bwMode="auto">
                <a:xfrm>
                  <a:off x="1376" y="1667"/>
                  <a:ext cx="14" cy="123"/>
                </a:xfrm>
                <a:custGeom>
                  <a:avLst/>
                  <a:gdLst/>
                  <a:ahLst/>
                  <a:cxnLst>
                    <a:cxn ang="0">
                      <a:pos x="54" y="504"/>
                    </a:cxn>
                    <a:cxn ang="0">
                      <a:pos x="6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6" y="0"/>
                    </a:cxn>
                    <a:cxn ang="0">
                      <a:pos x="54" y="0"/>
                    </a:cxn>
                    <a:cxn ang="0">
                      <a:pos x="54" y="504"/>
                    </a:cxn>
                  </a:cxnLst>
                  <a:rect l="0" t="0" r="r" b="b"/>
                  <a:pathLst>
                    <a:path w="54" h="504">
                      <a:moveTo>
                        <a:pt x="54" y="504"/>
                      </a:moveTo>
                      <a:lnTo>
                        <a:pt x="6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6" y="0"/>
                      </a:cubicBezTo>
                      <a:lnTo>
                        <a:pt x="54" y="0"/>
                      </a:lnTo>
                      <a:lnTo>
                        <a:pt x="54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7" name="Freeform 632"/>
                <p:cNvSpPr>
                  <a:spLocks/>
                </p:cNvSpPr>
                <p:nvPr/>
              </p:nvSpPr>
              <p:spPr bwMode="auto">
                <a:xfrm>
                  <a:off x="1406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8" name="Freeform 633"/>
                <p:cNvSpPr>
                  <a:spLocks/>
                </p:cNvSpPr>
                <p:nvPr/>
              </p:nvSpPr>
              <p:spPr bwMode="auto">
                <a:xfrm>
                  <a:off x="1435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4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4" y="0"/>
                    </a:cxn>
                    <a:cxn ang="0">
                      <a:pos x="54" y="504"/>
                    </a:cxn>
                  </a:cxnLst>
                  <a:rect l="0" t="0" r="r" b="b"/>
                  <a:pathLst>
                    <a:path w="54" h="504">
                      <a:moveTo>
                        <a:pt x="54" y="504"/>
                      </a:moveTo>
                      <a:lnTo>
                        <a:pt x="5" y="504"/>
                      </a:lnTo>
                      <a:cubicBezTo>
                        <a:pt x="3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3" y="0"/>
                        <a:pt x="5" y="0"/>
                      </a:cubicBezTo>
                      <a:lnTo>
                        <a:pt x="54" y="0"/>
                      </a:lnTo>
                      <a:lnTo>
                        <a:pt x="54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09" name="Freeform 634"/>
                <p:cNvSpPr>
                  <a:spLocks/>
                </p:cNvSpPr>
                <p:nvPr/>
              </p:nvSpPr>
              <p:spPr bwMode="auto">
                <a:xfrm>
                  <a:off x="1464" y="1667"/>
                  <a:ext cx="13" cy="123"/>
                </a:xfrm>
                <a:custGeom>
                  <a:avLst/>
                  <a:gdLst/>
                  <a:ahLst/>
                  <a:cxnLst>
                    <a:cxn ang="0">
                      <a:pos x="53" y="504"/>
                    </a:cxn>
                    <a:cxn ang="0">
                      <a:pos x="5" y="504"/>
                    </a:cxn>
                    <a:cxn ang="0">
                      <a:pos x="0" y="49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3" y="0"/>
                    </a:cxn>
                    <a:cxn ang="0">
                      <a:pos x="53" y="504"/>
                    </a:cxn>
                  </a:cxnLst>
                  <a:rect l="0" t="0" r="r" b="b"/>
                  <a:pathLst>
                    <a:path w="53" h="504">
                      <a:moveTo>
                        <a:pt x="53" y="504"/>
                      </a:moveTo>
                      <a:lnTo>
                        <a:pt x="5" y="504"/>
                      </a:lnTo>
                      <a:cubicBezTo>
                        <a:pt x="2" y="504"/>
                        <a:pt x="0" y="502"/>
                        <a:pt x="0" y="499"/>
                      </a:cubicBezTo>
                      <a:lnTo>
                        <a:pt x="0" y="6"/>
                      </a:lnTo>
                      <a:cubicBezTo>
                        <a:pt x="0" y="3"/>
                        <a:pt x="2" y="0"/>
                        <a:pt x="5" y="0"/>
                      </a:cubicBezTo>
                      <a:lnTo>
                        <a:pt x="53" y="0"/>
                      </a:lnTo>
                      <a:lnTo>
                        <a:pt x="53" y="504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0" name="Freeform 635"/>
                <p:cNvSpPr>
                  <a:spLocks noEditPoints="1"/>
                </p:cNvSpPr>
                <p:nvPr/>
              </p:nvSpPr>
              <p:spPr bwMode="auto">
                <a:xfrm>
                  <a:off x="1361" y="1705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2"/>
                    </a:cxn>
                    <a:cxn ang="0">
                      <a:pos x="14" y="12"/>
                    </a:cxn>
                    <a:cxn ang="0">
                      <a:pos x="0" y="12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2"/>
                    </a:cxn>
                    <a:cxn ang="0">
                      <a:pos x="24" y="0"/>
                    </a:cxn>
                    <a:cxn ang="0">
                      <a:pos x="30" y="0"/>
                    </a:cxn>
                    <a:cxn ang="0">
                      <a:pos x="37" y="5"/>
                    </a:cxn>
                    <a:cxn ang="0">
                      <a:pos x="39" y="11"/>
                    </a:cxn>
                    <a:cxn ang="0">
                      <a:pos x="40" y="17"/>
                    </a:cxn>
                    <a:cxn ang="0">
                      <a:pos x="27" y="17"/>
                    </a:cxn>
                    <a:cxn ang="0">
                      <a:pos x="20" y="12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0" h="17">
                      <a:moveTo>
                        <a:pt x="17" y="12"/>
                      </a:moveTo>
                      <a:lnTo>
                        <a:pt x="14" y="12"/>
                      </a:lnTo>
                      <a:lnTo>
                        <a:pt x="0" y="12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2"/>
                      </a:lnTo>
                      <a:close/>
                      <a:moveTo>
                        <a:pt x="24" y="0"/>
                      </a:moveTo>
                      <a:lnTo>
                        <a:pt x="30" y="0"/>
                      </a:lnTo>
                      <a:cubicBezTo>
                        <a:pt x="33" y="0"/>
                        <a:pt x="36" y="2"/>
                        <a:pt x="37" y="5"/>
                      </a:cubicBezTo>
                      <a:lnTo>
                        <a:pt x="39" y="11"/>
                      </a:lnTo>
                      <a:lnTo>
                        <a:pt x="40" y="17"/>
                      </a:lnTo>
                      <a:lnTo>
                        <a:pt x="27" y="17"/>
                      </a:lnTo>
                      <a:cubicBezTo>
                        <a:pt x="26" y="14"/>
                        <a:pt x="23" y="12"/>
                        <a:pt x="20" y="12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1" name="Freeform 636"/>
                <p:cNvSpPr>
                  <a:spLocks noEditPoints="1"/>
                </p:cNvSpPr>
                <p:nvPr/>
              </p:nvSpPr>
              <p:spPr bwMode="auto">
                <a:xfrm>
                  <a:off x="1379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2" name="Freeform 637"/>
                <p:cNvSpPr>
                  <a:spLocks noEditPoints="1"/>
                </p:cNvSpPr>
                <p:nvPr/>
              </p:nvSpPr>
              <p:spPr bwMode="auto">
                <a:xfrm>
                  <a:off x="1408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0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4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0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4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3" name="Freeform 638"/>
                <p:cNvSpPr>
                  <a:spLocks noEditPoints="1"/>
                </p:cNvSpPr>
                <p:nvPr/>
              </p:nvSpPr>
              <p:spPr bwMode="auto">
                <a:xfrm>
                  <a:off x="1437" y="1705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4" name="Freeform 639"/>
                <p:cNvSpPr>
                  <a:spLocks noEditPoints="1"/>
                </p:cNvSpPr>
                <p:nvPr/>
              </p:nvSpPr>
              <p:spPr bwMode="auto">
                <a:xfrm>
                  <a:off x="1466" y="1705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5" name="Freeform 640"/>
                <p:cNvSpPr>
                  <a:spLocks noEditPoints="1"/>
                </p:cNvSpPr>
                <p:nvPr/>
              </p:nvSpPr>
              <p:spPr bwMode="auto">
                <a:xfrm>
                  <a:off x="1361" y="1722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1"/>
                    </a:cxn>
                    <a:cxn ang="0">
                      <a:pos x="14" y="11"/>
                    </a:cxn>
                    <a:cxn ang="0">
                      <a:pos x="0" y="11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1"/>
                    </a:cxn>
                    <a:cxn ang="0">
                      <a:pos x="24" y="0"/>
                    </a:cxn>
                    <a:cxn ang="0">
                      <a:pos x="30" y="0"/>
                    </a:cxn>
                    <a:cxn ang="0">
                      <a:pos x="37" y="5"/>
                    </a:cxn>
                    <a:cxn ang="0">
                      <a:pos x="39" y="11"/>
                    </a:cxn>
                    <a:cxn ang="0">
                      <a:pos x="40" y="17"/>
                    </a:cxn>
                    <a:cxn ang="0">
                      <a:pos x="27" y="17"/>
                    </a:cxn>
                    <a:cxn ang="0">
                      <a:pos x="20" y="11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0" h="17">
                      <a:moveTo>
                        <a:pt x="17" y="11"/>
                      </a:moveTo>
                      <a:lnTo>
                        <a:pt x="14" y="11"/>
                      </a:lnTo>
                      <a:lnTo>
                        <a:pt x="0" y="11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1"/>
                      </a:lnTo>
                      <a:close/>
                      <a:moveTo>
                        <a:pt x="24" y="0"/>
                      </a:moveTo>
                      <a:lnTo>
                        <a:pt x="30" y="0"/>
                      </a:lnTo>
                      <a:cubicBezTo>
                        <a:pt x="33" y="0"/>
                        <a:pt x="36" y="2"/>
                        <a:pt x="37" y="5"/>
                      </a:cubicBezTo>
                      <a:lnTo>
                        <a:pt x="39" y="11"/>
                      </a:lnTo>
                      <a:lnTo>
                        <a:pt x="40" y="17"/>
                      </a:lnTo>
                      <a:lnTo>
                        <a:pt x="27" y="17"/>
                      </a:lnTo>
                      <a:cubicBezTo>
                        <a:pt x="26" y="14"/>
                        <a:pt x="23" y="11"/>
                        <a:pt x="20" y="11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6" name="Freeform 641"/>
                <p:cNvSpPr>
                  <a:spLocks noEditPoints="1"/>
                </p:cNvSpPr>
                <p:nvPr/>
              </p:nvSpPr>
              <p:spPr bwMode="auto">
                <a:xfrm>
                  <a:off x="1379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7" name="Freeform 642"/>
                <p:cNvSpPr>
                  <a:spLocks noEditPoints="1"/>
                </p:cNvSpPr>
                <p:nvPr/>
              </p:nvSpPr>
              <p:spPr bwMode="auto">
                <a:xfrm>
                  <a:off x="1408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6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  <a:cxn ang="0">
                      <a:pos x="60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1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1"/>
                    </a:cxn>
                    <a:cxn ang="0">
                      <a:pos x="84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1"/>
                      </a:moveTo>
                      <a:cubicBezTo>
                        <a:pt x="17" y="11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6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  <a:moveTo>
                        <a:pt x="60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1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1"/>
                      </a:lnTo>
                      <a:lnTo>
                        <a:pt x="84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8" name="Freeform 643"/>
                <p:cNvSpPr>
                  <a:spLocks noEditPoints="1"/>
                </p:cNvSpPr>
                <p:nvPr/>
              </p:nvSpPr>
              <p:spPr bwMode="auto">
                <a:xfrm>
                  <a:off x="1437" y="1722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1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1"/>
                    </a:cxn>
                    <a:cxn ang="0">
                      <a:pos x="41" y="11"/>
                    </a:cxn>
                    <a:cxn ang="0">
                      <a:pos x="27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1"/>
                    </a:cxn>
                    <a:cxn ang="0">
                      <a:pos x="61" y="11"/>
                    </a:cxn>
                    <a:cxn ang="0">
                      <a:pos x="58" y="11"/>
                    </a:cxn>
                    <a:cxn ang="0">
                      <a:pos x="44" y="11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1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1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1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1"/>
                      </a:moveTo>
                      <a:cubicBezTo>
                        <a:pt x="18" y="11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1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1"/>
                      </a:lnTo>
                      <a:close/>
                      <a:moveTo>
                        <a:pt x="41" y="11"/>
                      </a:moveTo>
                      <a:lnTo>
                        <a:pt x="27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1"/>
                      </a:lnTo>
                      <a:close/>
                      <a:moveTo>
                        <a:pt x="61" y="11"/>
                      </a:moveTo>
                      <a:lnTo>
                        <a:pt x="58" y="11"/>
                      </a:lnTo>
                      <a:lnTo>
                        <a:pt x="44" y="11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1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1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1"/>
                        <a:pt x="64" y="11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19" name="Freeform 644"/>
                <p:cNvSpPr>
                  <a:spLocks noEditPoints="1"/>
                </p:cNvSpPr>
                <p:nvPr/>
              </p:nvSpPr>
              <p:spPr bwMode="auto">
                <a:xfrm>
                  <a:off x="1466" y="1722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1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1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1"/>
                    </a:cxn>
                    <a:cxn ang="0">
                      <a:pos x="40" y="11"/>
                    </a:cxn>
                    <a:cxn ang="0">
                      <a:pos x="26" y="11"/>
                    </a:cxn>
                    <a:cxn ang="0">
                      <a:pos x="24" y="11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1"/>
                    </a:cxn>
                  </a:cxnLst>
                  <a:rect l="0" t="0" r="r" b="b"/>
                  <a:pathLst>
                    <a:path w="40" h="17">
                      <a:moveTo>
                        <a:pt x="20" y="11"/>
                      </a:moveTo>
                      <a:cubicBezTo>
                        <a:pt x="17" y="11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1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1"/>
                      </a:lnTo>
                      <a:close/>
                      <a:moveTo>
                        <a:pt x="40" y="11"/>
                      </a:moveTo>
                      <a:lnTo>
                        <a:pt x="26" y="11"/>
                      </a:lnTo>
                      <a:lnTo>
                        <a:pt x="24" y="11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0" name="Freeform 645"/>
                <p:cNvSpPr>
                  <a:spLocks noEditPoints="1"/>
                </p:cNvSpPr>
                <p:nvPr/>
              </p:nvSpPr>
              <p:spPr bwMode="auto">
                <a:xfrm>
                  <a:off x="1361" y="1739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2"/>
                    </a:cxn>
                    <a:cxn ang="0">
                      <a:pos x="14" y="12"/>
                    </a:cxn>
                    <a:cxn ang="0">
                      <a:pos x="0" y="12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2"/>
                    </a:cxn>
                    <a:cxn ang="0">
                      <a:pos x="24" y="0"/>
                    </a:cxn>
                    <a:cxn ang="0">
                      <a:pos x="30" y="0"/>
                    </a:cxn>
                    <a:cxn ang="0">
                      <a:pos x="37" y="6"/>
                    </a:cxn>
                    <a:cxn ang="0">
                      <a:pos x="39" y="12"/>
                    </a:cxn>
                    <a:cxn ang="0">
                      <a:pos x="40" y="17"/>
                    </a:cxn>
                    <a:cxn ang="0">
                      <a:pos x="27" y="17"/>
                    </a:cxn>
                    <a:cxn ang="0">
                      <a:pos x="20" y="12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0" h="17">
                      <a:moveTo>
                        <a:pt x="17" y="12"/>
                      </a:moveTo>
                      <a:lnTo>
                        <a:pt x="14" y="12"/>
                      </a:lnTo>
                      <a:lnTo>
                        <a:pt x="0" y="12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2"/>
                      </a:lnTo>
                      <a:close/>
                      <a:moveTo>
                        <a:pt x="24" y="0"/>
                      </a:moveTo>
                      <a:lnTo>
                        <a:pt x="30" y="0"/>
                      </a:lnTo>
                      <a:cubicBezTo>
                        <a:pt x="33" y="0"/>
                        <a:pt x="36" y="3"/>
                        <a:pt x="37" y="6"/>
                      </a:cubicBezTo>
                      <a:lnTo>
                        <a:pt x="39" y="12"/>
                      </a:lnTo>
                      <a:lnTo>
                        <a:pt x="40" y="17"/>
                      </a:lnTo>
                      <a:lnTo>
                        <a:pt x="27" y="17"/>
                      </a:lnTo>
                      <a:cubicBezTo>
                        <a:pt x="26" y="15"/>
                        <a:pt x="23" y="12"/>
                        <a:pt x="20" y="12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1" name="Freeform 646"/>
                <p:cNvSpPr>
                  <a:spLocks noEditPoints="1"/>
                </p:cNvSpPr>
                <p:nvPr/>
              </p:nvSpPr>
              <p:spPr bwMode="auto">
                <a:xfrm>
                  <a:off x="1379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2" name="Freeform 647"/>
                <p:cNvSpPr>
                  <a:spLocks noEditPoints="1"/>
                </p:cNvSpPr>
                <p:nvPr/>
              </p:nvSpPr>
              <p:spPr bwMode="auto">
                <a:xfrm>
                  <a:off x="1408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0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6"/>
                    </a:cxn>
                    <a:cxn ang="0">
                      <a:pos x="83" y="12"/>
                    </a:cxn>
                    <a:cxn ang="0">
                      <a:pos x="84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0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3"/>
                        <a:pt x="81" y="6"/>
                      </a:cubicBezTo>
                      <a:lnTo>
                        <a:pt x="83" y="12"/>
                      </a:lnTo>
                      <a:lnTo>
                        <a:pt x="84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3" name="Freeform 648"/>
                <p:cNvSpPr>
                  <a:spLocks noEditPoints="1"/>
                </p:cNvSpPr>
                <p:nvPr/>
              </p:nvSpPr>
              <p:spPr bwMode="auto">
                <a:xfrm>
                  <a:off x="1437" y="1739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6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5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3"/>
                        <a:pt x="82" y="6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5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4" name="Freeform 649"/>
                <p:cNvSpPr>
                  <a:spLocks noEditPoints="1"/>
                </p:cNvSpPr>
                <p:nvPr/>
              </p:nvSpPr>
              <p:spPr bwMode="auto">
                <a:xfrm>
                  <a:off x="1466" y="1739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6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4" y="15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6"/>
                      </a:lnTo>
                      <a:cubicBezTo>
                        <a:pt x="4" y="3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5" name="Freeform 650"/>
                <p:cNvSpPr>
                  <a:spLocks noEditPoints="1"/>
                </p:cNvSpPr>
                <p:nvPr/>
              </p:nvSpPr>
              <p:spPr bwMode="auto">
                <a:xfrm>
                  <a:off x="1361" y="1756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17" y="12"/>
                    </a:cxn>
                    <a:cxn ang="0">
                      <a:pos x="14" y="12"/>
                    </a:cxn>
                    <a:cxn ang="0">
                      <a:pos x="0" y="12"/>
                    </a:cxn>
                    <a:cxn ang="0">
                      <a:pos x="0" y="0"/>
                    </a:cxn>
                    <a:cxn ang="0">
                      <a:pos x="17" y="0"/>
                    </a:cxn>
                    <a:cxn ang="0">
                      <a:pos x="17" y="12"/>
                    </a:cxn>
                    <a:cxn ang="0">
                      <a:pos x="24" y="0"/>
                    </a:cxn>
                    <a:cxn ang="0">
                      <a:pos x="30" y="0"/>
                    </a:cxn>
                    <a:cxn ang="0">
                      <a:pos x="37" y="5"/>
                    </a:cxn>
                    <a:cxn ang="0">
                      <a:pos x="39" y="12"/>
                    </a:cxn>
                    <a:cxn ang="0">
                      <a:pos x="40" y="17"/>
                    </a:cxn>
                    <a:cxn ang="0">
                      <a:pos x="27" y="17"/>
                    </a:cxn>
                    <a:cxn ang="0">
                      <a:pos x="20" y="12"/>
                    </a:cxn>
                    <a:cxn ang="0">
                      <a:pos x="20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0" h="17">
                      <a:moveTo>
                        <a:pt x="17" y="12"/>
                      </a:moveTo>
                      <a:lnTo>
                        <a:pt x="14" y="12"/>
                      </a:lnTo>
                      <a:lnTo>
                        <a:pt x="0" y="12"/>
                      </a:lnTo>
                      <a:lnTo>
                        <a:pt x="0" y="0"/>
                      </a:lnTo>
                      <a:lnTo>
                        <a:pt x="17" y="0"/>
                      </a:lnTo>
                      <a:lnTo>
                        <a:pt x="17" y="12"/>
                      </a:lnTo>
                      <a:close/>
                      <a:moveTo>
                        <a:pt x="24" y="0"/>
                      </a:moveTo>
                      <a:lnTo>
                        <a:pt x="30" y="0"/>
                      </a:lnTo>
                      <a:cubicBezTo>
                        <a:pt x="33" y="0"/>
                        <a:pt x="36" y="2"/>
                        <a:pt x="37" y="5"/>
                      </a:cubicBezTo>
                      <a:lnTo>
                        <a:pt x="39" y="12"/>
                      </a:lnTo>
                      <a:lnTo>
                        <a:pt x="40" y="17"/>
                      </a:lnTo>
                      <a:lnTo>
                        <a:pt x="27" y="17"/>
                      </a:lnTo>
                      <a:cubicBezTo>
                        <a:pt x="26" y="14"/>
                        <a:pt x="23" y="12"/>
                        <a:pt x="20" y="12"/>
                      </a:cubicBezTo>
                      <a:lnTo>
                        <a:pt x="20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6" name="Freeform 651"/>
                <p:cNvSpPr>
                  <a:spLocks noEditPoints="1"/>
                </p:cNvSpPr>
                <p:nvPr/>
              </p:nvSpPr>
              <p:spPr bwMode="auto">
                <a:xfrm>
                  <a:off x="1379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7" name="Freeform 652"/>
                <p:cNvSpPr>
                  <a:spLocks noEditPoints="1"/>
                </p:cNvSpPr>
                <p:nvPr/>
              </p:nvSpPr>
              <p:spPr bwMode="auto">
                <a:xfrm>
                  <a:off x="1408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  <a:cxn ang="0">
                      <a:pos x="60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0" y="0"/>
                    </a:cxn>
                    <a:cxn ang="0">
                      <a:pos x="60" y="12"/>
                    </a:cxn>
                    <a:cxn ang="0">
                      <a:pos x="68" y="0"/>
                    </a:cxn>
                    <a:cxn ang="0">
                      <a:pos x="74" y="0"/>
                    </a:cxn>
                    <a:cxn ang="0">
                      <a:pos x="81" y="5"/>
                    </a:cxn>
                    <a:cxn ang="0">
                      <a:pos x="83" y="12"/>
                    </a:cxn>
                    <a:cxn ang="0">
                      <a:pos x="84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8" y="0"/>
                    </a:cxn>
                  </a:cxnLst>
                  <a:rect l="0" t="0" r="r" b="b"/>
                  <a:pathLst>
                    <a:path w="84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  <a:moveTo>
                        <a:pt x="60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0" y="0"/>
                      </a:lnTo>
                      <a:lnTo>
                        <a:pt x="60" y="12"/>
                      </a:lnTo>
                      <a:close/>
                      <a:moveTo>
                        <a:pt x="68" y="0"/>
                      </a:moveTo>
                      <a:lnTo>
                        <a:pt x="74" y="0"/>
                      </a:lnTo>
                      <a:cubicBezTo>
                        <a:pt x="77" y="0"/>
                        <a:pt x="80" y="2"/>
                        <a:pt x="81" y="5"/>
                      </a:cubicBezTo>
                      <a:lnTo>
                        <a:pt x="83" y="12"/>
                      </a:lnTo>
                      <a:lnTo>
                        <a:pt x="84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8" name="Freeform 653"/>
                <p:cNvSpPr>
                  <a:spLocks noEditPoints="1"/>
                </p:cNvSpPr>
                <p:nvPr/>
              </p:nvSpPr>
              <p:spPr bwMode="auto">
                <a:xfrm>
                  <a:off x="1437" y="1756"/>
                  <a:ext cx="21" cy="4"/>
                </a:xfrm>
                <a:custGeom>
                  <a:avLst/>
                  <a:gdLst/>
                  <a:ahLst/>
                  <a:cxnLst>
                    <a:cxn ang="0">
                      <a:pos x="21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2" y="12"/>
                    </a:cxn>
                    <a:cxn ang="0">
                      <a:pos x="4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1" y="0"/>
                    </a:cxn>
                    <a:cxn ang="0">
                      <a:pos x="21" y="12"/>
                    </a:cxn>
                    <a:cxn ang="0">
                      <a:pos x="41" y="12"/>
                    </a:cxn>
                    <a:cxn ang="0">
                      <a:pos x="27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1" y="0"/>
                    </a:cxn>
                    <a:cxn ang="0">
                      <a:pos x="41" y="12"/>
                    </a:cxn>
                    <a:cxn ang="0">
                      <a:pos x="61" y="12"/>
                    </a:cxn>
                    <a:cxn ang="0">
                      <a:pos x="58" y="12"/>
                    </a:cxn>
                    <a:cxn ang="0">
                      <a:pos x="44" y="12"/>
                    </a:cxn>
                    <a:cxn ang="0">
                      <a:pos x="44" y="0"/>
                    </a:cxn>
                    <a:cxn ang="0">
                      <a:pos x="61" y="0"/>
                    </a:cxn>
                    <a:cxn ang="0">
                      <a:pos x="61" y="12"/>
                    </a:cxn>
                    <a:cxn ang="0">
                      <a:pos x="69" y="0"/>
                    </a:cxn>
                    <a:cxn ang="0">
                      <a:pos x="75" y="0"/>
                    </a:cxn>
                    <a:cxn ang="0">
                      <a:pos x="82" y="5"/>
                    </a:cxn>
                    <a:cxn ang="0">
                      <a:pos x="83" y="12"/>
                    </a:cxn>
                    <a:cxn ang="0">
                      <a:pos x="85" y="17"/>
                    </a:cxn>
                    <a:cxn ang="0">
                      <a:pos x="71" y="17"/>
                    </a:cxn>
                    <a:cxn ang="0">
                      <a:pos x="64" y="12"/>
                    </a:cxn>
                    <a:cxn ang="0">
                      <a:pos x="64" y="0"/>
                    </a:cxn>
                    <a:cxn ang="0">
                      <a:pos x="69" y="0"/>
                    </a:cxn>
                  </a:cxnLst>
                  <a:rect l="0" t="0" r="r" b="b"/>
                  <a:pathLst>
                    <a:path w="85" h="17">
                      <a:moveTo>
                        <a:pt x="21" y="12"/>
                      </a:moveTo>
                      <a:cubicBezTo>
                        <a:pt x="18" y="12"/>
                        <a:pt x="15" y="14"/>
                        <a:pt x="14" y="17"/>
                      </a:cubicBezTo>
                      <a:lnTo>
                        <a:pt x="0" y="17"/>
                      </a:lnTo>
                      <a:lnTo>
                        <a:pt x="2" y="12"/>
                      </a:lnTo>
                      <a:lnTo>
                        <a:pt x="4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21" y="12"/>
                      </a:lnTo>
                      <a:close/>
                      <a:moveTo>
                        <a:pt x="41" y="12"/>
                      </a:moveTo>
                      <a:lnTo>
                        <a:pt x="27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1" y="0"/>
                      </a:lnTo>
                      <a:lnTo>
                        <a:pt x="41" y="12"/>
                      </a:lnTo>
                      <a:close/>
                      <a:moveTo>
                        <a:pt x="61" y="12"/>
                      </a:moveTo>
                      <a:lnTo>
                        <a:pt x="58" y="12"/>
                      </a:lnTo>
                      <a:lnTo>
                        <a:pt x="44" y="12"/>
                      </a:lnTo>
                      <a:lnTo>
                        <a:pt x="44" y="0"/>
                      </a:lnTo>
                      <a:lnTo>
                        <a:pt x="61" y="0"/>
                      </a:lnTo>
                      <a:lnTo>
                        <a:pt x="61" y="12"/>
                      </a:lnTo>
                      <a:close/>
                      <a:moveTo>
                        <a:pt x="69" y="0"/>
                      </a:moveTo>
                      <a:lnTo>
                        <a:pt x="75" y="0"/>
                      </a:lnTo>
                      <a:cubicBezTo>
                        <a:pt x="78" y="0"/>
                        <a:pt x="81" y="2"/>
                        <a:pt x="82" y="5"/>
                      </a:cubicBezTo>
                      <a:lnTo>
                        <a:pt x="83" y="12"/>
                      </a:lnTo>
                      <a:lnTo>
                        <a:pt x="85" y="17"/>
                      </a:lnTo>
                      <a:lnTo>
                        <a:pt x="71" y="17"/>
                      </a:lnTo>
                      <a:cubicBezTo>
                        <a:pt x="70" y="14"/>
                        <a:pt x="67" y="12"/>
                        <a:pt x="64" y="12"/>
                      </a:cubicBezTo>
                      <a:lnTo>
                        <a:pt x="64" y="0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29" name="Freeform 654"/>
                <p:cNvSpPr>
                  <a:spLocks noEditPoints="1"/>
                </p:cNvSpPr>
                <p:nvPr/>
              </p:nvSpPr>
              <p:spPr bwMode="auto">
                <a:xfrm>
                  <a:off x="1466" y="1756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20" y="12"/>
                    </a:cxn>
                    <a:cxn ang="0">
                      <a:pos x="14" y="17"/>
                    </a:cxn>
                    <a:cxn ang="0">
                      <a:pos x="0" y="17"/>
                    </a:cxn>
                    <a:cxn ang="0">
                      <a:pos x="1" y="12"/>
                    </a:cxn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6" y="0"/>
                    </a:cxn>
                    <a:cxn ang="0">
                      <a:pos x="20" y="0"/>
                    </a:cxn>
                    <a:cxn ang="0">
                      <a:pos x="20" y="12"/>
                    </a:cxn>
                    <a:cxn ang="0">
                      <a:pos x="40" y="12"/>
                    </a:cxn>
                    <a:cxn ang="0">
                      <a:pos x="26" y="12"/>
                    </a:cxn>
                    <a:cxn ang="0">
                      <a:pos x="24" y="12"/>
                    </a:cxn>
                    <a:cxn ang="0">
                      <a:pos x="24" y="0"/>
                    </a:cxn>
                    <a:cxn ang="0">
                      <a:pos x="40" y="0"/>
                    </a:cxn>
                    <a:cxn ang="0">
                      <a:pos x="40" y="12"/>
                    </a:cxn>
                  </a:cxnLst>
                  <a:rect l="0" t="0" r="r" b="b"/>
                  <a:pathLst>
                    <a:path w="40" h="17">
                      <a:moveTo>
                        <a:pt x="20" y="12"/>
                      </a:moveTo>
                      <a:cubicBezTo>
                        <a:pt x="17" y="12"/>
                        <a:pt x="14" y="14"/>
                        <a:pt x="14" y="17"/>
                      </a:cubicBezTo>
                      <a:lnTo>
                        <a:pt x="0" y="17"/>
                      </a:lnTo>
                      <a:lnTo>
                        <a:pt x="1" y="12"/>
                      </a:lnTo>
                      <a:lnTo>
                        <a:pt x="3" y="5"/>
                      </a:lnTo>
                      <a:cubicBezTo>
                        <a:pt x="4" y="2"/>
                        <a:pt x="7" y="0"/>
                        <a:pt x="10" y="0"/>
                      </a:cubicBezTo>
                      <a:lnTo>
                        <a:pt x="16" y="0"/>
                      </a:lnTo>
                      <a:lnTo>
                        <a:pt x="20" y="0"/>
                      </a:lnTo>
                      <a:lnTo>
                        <a:pt x="20" y="12"/>
                      </a:lnTo>
                      <a:close/>
                      <a:moveTo>
                        <a:pt x="40" y="12"/>
                      </a:moveTo>
                      <a:lnTo>
                        <a:pt x="26" y="12"/>
                      </a:lnTo>
                      <a:lnTo>
                        <a:pt x="24" y="12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0" name="Freeform 655"/>
                <p:cNvSpPr>
                  <a:spLocks/>
                </p:cNvSpPr>
                <p:nvPr/>
              </p:nvSpPr>
              <p:spPr bwMode="auto">
                <a:xfrm>
                  <a:off x="1360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0" y="55"/>
                    </a:cxn>
                    <a:cxn ang="0">
                      <a:pos x="8" y="55"/>
                    </a:cxn>
                    <a:cxn ang="0">
                      <a:pos x="14" y="51"/>
                    </a:cxn>
                    <a:cxn ang="0">
                      <a:pos x="31" y="25"/>
                    </a:cxn>
                    <a:cxn ang="0">
                      <a:pos x="31" y="18"/>
                    </a:cxn>
                    <a:cxn ang="0">
                      <a:pos x="23" y="4"/>
                    </a:cxn>
                    <a:cxn ang="0">
                      <a:pos x="17" y="0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55"/>
                    </a:cxn>
                  </a:cxnLst>
                  <a:rect l="0" t="0" r="r" b="b"/>
                  <a:pathLst>
                    <a:path w="32" h="55">
                      <a:moveTo>
                        <a:pt x="0" y="55"/>
                      </a:moveTo>
                      <a:lnTo>
                        <a:pt x="8" y="55"/>
                      </a:lnTo>
                      <a:cubicBezTo>
                        <a:pt x="10" y="55"/>
                        <a:pt x="12" y="53"/>
                        <a:pt x="14" y="51"/>
                      </a:cubicBezTo>
                      <a:lnTo>
                        <a:pt x="31" y="25"/>
                      </a:lnTo>
                      <a:cubicBezTo>
                        <a:pt x="32" y="23"/>
                        <a:pt x="32" y="20"/>
                        <a:pt x="31" y="18"/>
                      </a:cubicBezTo>
                      <a:lnTo>
                        <a:pt x="23" y="4"/>
                      </a:lnTo>
                      <a:cubicBezTo>
                        <a:pt x="22" y="1"/>
                        <a:pt x="20" y="0"/>
                        <a:pt x="17" y="0"/>
                      </a:cubicBez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55"/>
                      </a:ln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1" name="Freeform 656"/>
                <p:cNvSpPr>
                  <a:spLocks/>
                </p:cNvSpPr>
                <p:nvPr/>
              </p:nvSpPr>
              <p:spPr bwMode="auto">
                <a:xfrm>
                  <a:off x="1382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2" name="Freeform 657"/>
                <p:cNvSpPr>
                  <a:spLocks/>
                </p:cNvSpPr>
                <p:nvPr/>
              </p:nvSpPr>
              <p:spPr bwMode="auto">
                <a:xfrm>
                  <a:off x="1411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4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3" name="Freeform 658"/>
                <p:cNvSpPr>
                  <a:spLocks/>
                </p:cNvSpPr>
                <p:nvPr/>
              </p:nvSpPr>
              <p:spPr bwMode="auto">
                <a:xfrm>
                  <a:off x="1440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4" name="Freeform 659"/>
                <p:cNvSpPr>
                  <a:spLocks/>
                </p:cNvSpPr>
                <p:nvPr/>
              </p:nvSpPr>
              <p:spPr bwMode="auto">
                <a:xfrm>
                  <a:off x="1469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5" name="Freeform 660"/>
                <p:cNvSpPr>
                  <a:spLocks/>
                </p:cNvSpPr>
                <p:nvPr/>
              </p:nvSpPr>
              <p:spPr bwMode="auto">
                <a:xfrm>
                  <a:off x="1382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6" name="Freeform 661"/>
                <p:cNvSpPr>
                  <a:spLocks/>
                </p:cNvSpPr>
                <p:nvPr/>
              </p:nvSpPr>
              <p:spPr bwMode="auto">
                <a:xfrm>
                  <a:off x="1411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7" name="Freeform 662"/>
                <p:cNvSpPr>
                  <a:spLocks/>
                </p:cNvSpPr>
                <p:nvPr/>
              </p:nvSpPr>
              <p:spPr bwMode="auto">
                <a:xfrm>
                  <a:off x="1440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8" name="Freeform 663"/>
                <p:cNvSpPr>
                  <a:spLocks/>
                </p:cNvSpPr>
                <p:nvPr/>
              </p:nvSpPr>
              <p:spPr bwMode="auto">
                <a:xfrm>
                  <a:off x="1469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39" name="Freeform 664"/>
                <p:cNvSpPr>
                  <a:spLocks/>
                </p:cNvSpPr>
                <p:nvPr/>
              </p:nvSpPr>
              <p:spPr bwMode="auto">
                <a:xfrm>
                  <a:off x="1360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0" y="55"/>
                    </a:cxn>
                    <a:cxn ang="0">
                      <a:pos x="8" y="55"/>
                    </a:cxn>
                    <a:cxn ang="0">
                      <a:pos x="14" y="51"/>
                    </a:cxn>
                    <a:cxn ang="0">
                      <a:pos x="31" y="25"/>
                    </a:cxn>
                    <a:cxn ang="0">
                      <a:pos x="31" y="18"/>
                    </a:cxn>
                    <a:cxn ang="0">
                      <a:pos x="23" y="4"/>
                    </a:cxn>
                    <a:cxn ang="0">
                      <a:pos x="17" y="0"/>
                    </a:cxn>
                    <a:cxn ang="0">
                      <a:pos x="17" y="0"/>
                    </a:cxn>
                    <a:cxn ang="0">
                      <a:pos x="0" y="0"/>
                    </a:cxn>
                    <a:cxn ang="0">
                      <a:pos x="0" y="9"/>
                    </a:cxn>
                    <a:cxn ang="0">
                      <a:pos x="16" y="9"/>
                    </a:cxn>
                    <a:cxn ang="0">
                      <a:pos x="23" y="21"/>
                    </a:cxn>
                    <a:cxn ang="0">
                      <a:pos x="7" y="46"/>
                    </a:cxn>
                    <a:cxn ang="0">
                      <a:pos x="0" y="46"/>
                    </a:cxn>
                    <a:cxn ang="0">
                      <a:pos x="0" y="55"/>
                    </a:cxn>
                  </a:cxnLst>
                  <a:rect l="0" t="0" r="r" b="b"/>
                  <a:pathLst>
                    <a:path w="32" h="55">
                      <a:moveTo>
                        <a:pt x="0" y="55"/>
                      </a:moveTo>
                      <a:lnTo>
                        <a:pt x="8" y="55"/>
                      </a:lnTo>
                      <a:cubicBezTo>
                        <a:pt x="10" y="55"/>
                        <a:pt x="12" y="53"/>
                        <a:pt x="14" y="51"/>
                      </a:cubicBezTo>
                      <a:lnTo>
                        <a:pt x="31" y="25"/>
                      </a:lnTo>
                      <a:cubicBezTo>
                        <a:pt x="32" y="23"/>
                        <a:pt x="32" y="20"/>
                        <a:pt x="31" y="18"/>
                      </a:cubicBezTo>
                      <a:lnTo>
                        <a:pt x="23" y="4"/>
                      </a:lnTo>
                      <a:cubicBezTo>
                        <a:pt x="22" y="1"/>
                        <a:pt x="20" y="0"/>
                        <a:pt x="17" y="0"/>
                      </a:cubicBezTo>
                      <a:lnTo>
                        <a:pt x="17" y="0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6" y="9"/>
                      </a:lnTo>
                      <a:lnTo>
                        <a:pt x="23" y="21"/>
                      </a:lnTo>
                      <a:lnTo>
                        <a:pt x="7" y="46"/>
                      </a:lnTo>
                      <a:lnTo>
                        <a:pt x="0" y="46"/>
                      </a:lnTo>
                      <a:lnTo>
                        <a:pt x="0" y="55"/>
                      </a:ln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0" name="Freeform 665"/>
                <p:cNvSpPr>
                  <a:spLocks noEditPoints="1"/>
                </p:cNvSpPr>
                <p:nvPr/>
              </p:nvSpPr>
              <p:spPr bwMode="auto">
                <a:xfrm>
                  <a:off x="1382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1" name="Freeform 666"/>
                <p:cNvSpPr>
                  <a:spLocks noEditPoints="1"/>
                </p:cNvSpPr>
                <p:nvPr/>
              </p:nvSpPr>
              <p:spPr bwMode="auto">
                <a:xfrm>
                  <a:off x="1411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9" y="21"/>
                    </a:cxn>
                    <a:cxn ang="0">
                      <a:pos x="16" y="9"/>
                    </a:cxn>
                    <a:cxn ang="0">
                      <a:pos x="48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5" y="46"/>
                    </a:cxn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5" y="4"/>
                    </a:cxn>
                    <a:cxn ang="0">
                      <a:pos x="49" y="0"/>
                    </a:cxn>
                    <a:cxn ang="0">
                      <a:pos x="49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64" h="55">
                      <a:moveTo>
                        <a:pt x="25" y="46"/>
                      </a:moveTo>
                      <a:lnTo>
                        <a:pt x="10" y="23"/>
                      </a:lnTo>
                      <a:lnTo>
                        <a:pt x="9" y="21"/>
                      </a:lnTo>
                      <a:lnTo>
                        <a:pt x="16" y="9"/>
                      </a:lnTo>
                      <a:lnTo>
                        <a:pt x="48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5" y="46"/>
                      </a:lnTo>
                      <a:close/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40" y="55"/>
                      </a:lnTo>
                      <a:cubicBezTo>
                        <a:pt x="42" y="55"/>
                        <a:pt x="44" y="53"/>
                        <a:pt x="46" y="51"/>
                      </a:cubicBezTo>
                      <a:lnTo>
                        <a:pt x="63" y="25"/>
                      </a:lnTo>
                      <a:cubicBezTo>
                        <a:pt x="64" y="23"/>
                        <a:pt x="64" y="20"/>
                        <a:pt x="63" y="18"/>
                      </a:cubicBezTo>
                      <a:lnTo>
                        <a:pt x="55" y="4"/>
                      </a:lnTo>
                      <a:cubicBezTo>
                        <a:pt x="54" y="1"/>
                        <a:pt x="52" y="0"/>
                        <a:pt x="49" y="0"/>
                      </a:cubicBezTo>
                      <a:lnTo>
                        <a:pt x="49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2" name="Freeform 667"/>
                <p:cNvSpPr>
                  <a:spLocks noEditPoints="1"/>
                </p:cNvSpPr>
                <p:nvPr/>
              </p:nvSpPr>
              <p:spPr bwMode="auto">
                <a:xfrm>
                  <a:off x="1440" y="1682"/>
                  <a:ext cx="15" cy="14"/>
                </a:xfrm>
                <a:custGeom>
                  <a:avLst/>
                  <a:gdLst/>
                  <a:ahLst/>
                  <a:cxnLst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49" y="9"/>
                    </a:cxn>
                    <a:cxn ang="0">
                      <a:pos x="55" y="21"/>
                    </a:cxn>
                    <a:cxn ang="0">
                      <a:pos x="39" y="46"/>
                    </a:cxn>
                    <a:cxn ang="0">
                      <a:pos x="26" y="46"/>
                    </a:cxn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40" y="55"/>
                    </a:cxn>
                    <a:cxn ang="0">
                      <a:pos x="46" y="51"/>
                    </a:cxn>
                    <a:cxn ang="0">
                      <a:pos x="63" y="25"/>
                    </a:cxn>
                    <a:cxn ang="0">
                      <a:pos x="63" y="18"/>
                    </a:cxn>
                    <a:cxn ang="0">
                      <a:pos x="56" y="4"/>
                    </a:cxn>
                    <a:cxn ang="0">
                      <a:pos x="50" y="0"/>
                    </a:cxn>
                    <a:cxn ang="0">
                      <a:pos x="50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65" h="55">
                      <a:moveTo>
                        <a:pt x="26" y="46"/>
                      </a:move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49" y="9"/>
                      </a:lnTo>
                      <a:lnTo>
                        <a:pt x="55" y="21"/>
                      </a:lnTo>
                      <a:lnTo>
                        <a:pt x="39" y="46"/>
                      </a:lnTo>
                      <a:lnTo>
                        <a:pt x="26" y="46"/>
                      </a:lnTo>
                      <a:close/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40" y="55"/>
                      </a:lnTo>
                      <a:cubicBezTo>
                        <a:pt x="43" y="55"/>
                        <a:pt x="45" y="53"/>
                        <a:pt x="46" y="51"/>
                      </a:cubicBezTo>
                      <a:lnTo>
                        <a:pt x="63" y="25"/>
                      </a:lnTo>
                      <a:cubicBezTo>
                        <a:pt x="65" y="23"/>
                        <a:pt x="65" y="20"/>
                        <a:pt x="63" y="18"/>
                      </a:cubicBezTo>
                      <a:lnTo>
                        <a:pt x="56" y="4"/>
                      </a:lnTo>
                      <a:cubicBezTo>
                        <a:pt x="55" y="1"/>
                        <a:pt x="52" y="0"/>
                        <a:pt x="50" y="0"/>
                      </a:cubicBezTo>
                      <a:lnTo>
                        <a:pt x="50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3" name="Freeform 668"/>
                <p:cNvSpPr>
                  <a:spLocks/>
                </p:cNvSpPr>
                <p:nvPr/>
              </p:nvSpPr>
              <p:spPr bwMode="auto">
                <a:xfrm>
                  <a:off x="1469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9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5" y="46"/>
                      </a:lnTo>
                      <a:lnTo>
                        <a:pt x="10" y="23"/>
                      </a:lnTo>
                      <a:lnTo>
                        <a:pt x="9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4" name="Freeform 669"/>
                <p:cNvSpPr>
                  <a:spLocks/>
                </p:cNvSpPr>
                <p:nvPr/>
              </p:nvSpPr>
              <p:spPr bwMode="auto">
                <a:xfrm>
                  <a:off x="1382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7" y="9"/>
                    </a:cxn>
                    <a:cxn ang="0">
                      <a:pos x="33" y="9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2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7" y="9"/>
                      </a:lnTo>
                      <a:lnTo>
                        <a:pt x="33" y="9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2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5" name="Freeform 670"/>
                <p:cNvSpPr>
                  <a:spLocks/>
                </p:cNvSpPr>
                <p:nvPr/>
              </p:nvSpPr>
              <p:spPr bwMode="auto">
                <a:xfrm>
                  <a:off x="1411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9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5" y="46"/>
                      </a:lnTo>
                      <a:lnTo>
                        <a:pt x="10" y="23"/>
                      </a:lnTo>
                      <a:lnTo>
                        <a:pt x="9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6" name="Freeform 671"/>
                <p:cNvSpPr>
                  <a:spLocks/>
                </p:cNvSpPr>
                <p:nvPr/>
              </p:nvSpPr>
              <p:spPr bwMode="auto">
                <a:xfrm>
                  <a:off x="1440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2" y="25"/>
                    </a:cxn>
                    <a:cxn ang="0">
                      <a:pos x="19" y="51"/>
                    </a:cxn>
                    <a:cxn ang="0">
                      <a:pos x="25" y="54"/>
                    </a:cxn>
                    <a:cxn ang="0">
                      <a:pos x="25" y="55"/>
                    </a:cxn>
                    <a:cxn ang="0">
                      <a:pos x="33" y="55"/>
                    </a:cxn>
                    <a:cxn ang="0">
                      <a:pos x="33" y="46"/>
                    </a:cxn>
                    <a:cxn ang="0">
                      <a:pos x="26" y="46"/>
                    </a:cxn>
                    <a:cxn ang="0">
                      <a:pos x="11" y="23"/>
                    </a:cxn>
                    <a:cxn ang="0">
                      <a:pos x="10" y="21"/>
                    </a:cxn>
                    <a:cxn ang="0">
                      <a:pos x="16" y="9"/>
                    </a:cxn>
                    <a:cxn ang="0">
                      <a:pos x="33" y="9"/>
                    </a:cxn>
                    <a:cxn ang="0">
                      <a:pos x="33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2" y="25"/>
                    </a:cxn>
                  </a:cxnLst>
                  <a:rect l="0" t="0" r="r" b="b"/>
                  <a:pathLst>
                    <a:path w="33" h="55">
                      <a:moveTo>
                        <a:pt x="2" y="25"/>
                      </a:moveTo>
                      <a:lnTo>
                        <a:pt x="19" y="51"/>
                      </a:lnTo>
                      <a:cubicBezTo>
                        <a:pt x="20" y="53"/>
                        <a:pt x="23" y="54"/>
                        <a:pt x="25" y="54"/>
                      </a:cubicBezTo>
                      <a:lnTo>
                        <a:pt x="25" y="55"/>
                      </a:lnTo>
                      <a:lnTo>
                        <a:pt x="33" y="55"/>
                      </a:lnTo>
                      <a:lnTo>
                        <a:pt x="33" y="46"/>
                      </a:lnTo>
                      <a:lnTo>
                        <a:pt x="26" y="46"/>
                      </a:lnTo>
                      <a:lnTo>
                        <a:pt x="11" y="23"/>
                      </a:lnTo>
                      <a:lnTo>
                        <a:pt x="10" y="21"/>
                      </a:lnTo>
                      <a:lnTo>
                        <a:pt x="16" y="9"/>
                      </a:lnTo>
                      <a:lnTo>
                        <a:pt x="33" y="9"/>
                      </a:lnTo>
                      <a:lnTo>
                        <a:pt x="33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2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7" name="Freeform 672"/>
                <p:cNvSpPr>
                  <a:spLocks/>
                </p:cNvSpPr>
                <p:nvPr/>
              </p:nvSpPr>
              <p:spPr bwMode="auto">
                <a:xfrm>
                  <a:off x="1469" y="1682"/>
                  <a:ext cx="8" cy="14"/>
                </a:xfrm>
                <a:custGeom>
                  <a:avLst/>
                  <a:gdLst/>
                  <a:ahLst/>
                  <a:cxnLst>
                    <a:cxn ang="0">
                      <a:pos x="1" y="25"/>
                    </a:cxn>
                    <a:cxn ang="0">
                      <a:pos x="19" y="51"/>
                    </a:cxn>
                    <a:cxn ang="0">
                      <a:pos x="24" y="54"/>
                    </a:cxn>
                    <a:cxn ang="0">
                      <a:pos x="24" y="55"/>
                    </a:cxn>
                    <a:cxn ang="0">
                      <a:pos x="32" y="55"/>
                    </a:cxn>
                    <a:cxn ang="0">
                      <a:pos x="32" y="46"/>
                    </a:cxn>
                    <a:cxn ang="0">
                      <a:pos x="25" y="46"/>
                    </a:cxn>
                    <a:cxn ang="0">
                      <a:pos x="10" y="23"/>
                    </a:cxn>
                    <a:cxn ang="0">
                      <a:pos x="9" y="21"/>
                    </a:cxn>
                    <a:cxn ang="0">
                      <a:pos x="16" y="9"/>
                    </a:cxn>
                    <a:cxn ang="0">
                      <a:pos x="32" y="9"/>
                    </a:cxn>
                    <a:cxn ang="0">
                      <a:pos x="32" y="0"/>
                    </a:cxn>
                    <a:cxn ang="0">
                      <a:pos x="15" y="0"/>
                    </a:cxn>
                    <a:cxn ang="0">
                      <a:pos x="9" y="4"/>
                    </a:cxn>
                    <a:cxn ang="0">
                      <a:pos x="1" y="18"/>
                    </a:cxn>
                    <a:cxn ang="0">
                      <a:pos x="1" y="25"/>
                    </a:cxn>
                  </a:cxnLst>
                  <a:rect l="0" t="0" r="r" b="b"/>
                  <a:pathLst>
                    <a:path w="32" h="55">
                      <a:moveTo>
                        <a:pt x="1" y="25"/>
                      </a:moveTo>
                      <a:lnTo>
                        <a:pt x="19" y="51"/>
                      </a:lnTo>
                      <a:cubicBezTo>
                        <a:pt x="20" y="53"/>
                        <a:pt x="22" y="54"/>
                        <a:pt x="24" y="54"/>
                      </a:cubicBezTo>
                      <a:lnTo>
                        <a:pt x="24" y="55"/>
                      </a:lnTo>
                      <a:lnTo>
                        <a:pt x="32" y="55"/>
                      </a:lnTo>
                      <a:lnTo>
                        <a:pt x="32" y="46"/>
                      </a:lnTo>
                      <a:lnTo>
                        <a:pt x="25" y="46"/>
                      </a:lnTo>
                      <a:lnTo>
                        <a:pt x="10" y="23"/>
                      </a:lnTo>
                      <a:lnTo>
                        <a:pt x="9" y="21"/>
                      </a:lnTo>
                      <a:lnTo>
                        <a:pt x="16" y="9"/>
                      </a:lnTo>
                      <a:lnTo>
                        <a:pt x="32" y="9"/>
                      </a:lnTo>
                      <a:lnTo>
                        <a:pt x="32" y="0"/>
                      </a:lnTo>
                      <a:lnTo>
                        <a:pt x="15" y="0"/>
                      </a:lnTo>
                      <a:cubicBezTo>
                        <a:pt x="12" y="0"/>
                        <a:pt x="10" y="2"/>
                        <a:pt x="9" y="4"/>
                      </a:cubicBezTo>
                      <a:lnTo>
                        <a:pt x="1" y="18"/>
                      </a:lnTo>
                      <a:cubicBezTo>
                        <a:pt x="0" y="20"/>
                        <a:pt x="0" y="23"/>
                        <a:pt x="1" y="25"/>
                      </a:cubicBez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8" name="Freeform 673"/>
                <p:cNvSpPr>
                  <a:spLocks/>
                </p:cNvSpPr>
                <p:nvPr/>
              </p:nvSpPr>
              <p:spPr bwMode="auto">
                <a:xfrm>
                  <a:off x="1360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40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29" y="34"/>
                    </a:cxn>
                    <a:cxn ang="0">
                      <a:pos x="30" y="28"/>
                    </a:cxn>
                    <a:cxn ang="0">
                      <a:pos x="32" y="23"/>
                    </a:cxn>
                    <a:cxn ang="0">
                      <a:pos x="39" y="17"/>
                    </a:cxn>
                    <a:cxn ang="0">
                      <a:pos x="0" y="0"/>
                    </a:cxn>
                    <a:cxn ang="0">
                      <a:pos x="0" y="40"/>
                    </a:cxn>
                  </a:cxnLst>
                  <a:rect l="0" t="0" r="r" b="b"/>
                  <a:pathLst>
                    <a:path w="39" h="40">
                      <a:moveTo>
                        <a:pt x="0" y="40"/>
                      </a:moveTo>
                      <a:lnTo>
                        <a:pt x="16" y="40"/>
                      </a:lnTo>
                      <a:lnTo>
                        <a:pt x="22" y="40"/>
                      </a:lnTo>
                      <a:cubicBezTo>
                        <a:pt x="25" y="40"/>
                        <a:pt x="28" y="37"/>
                        <a:pt x="29" y="34"/>
                      </a:cubicBezTo>
                      <a:lnTo>
                        <a:pt x="30" y="28"/>
                      </a:lnTo>
                      <a:lnTo>
                        <a:pt x="32" y="23"/>
                      </a:lnTo>
                      <a:cubicBezTo>
                        <a:pt x="33" y="20"/>
                        <a:pt x="36" y="17"/>
                        <a:pt x="39" y="17"/>
                      </a:cubicBezTo>
                      <a:cubicBezTo>
                        <a:pt x="28" y="6"/>
                        <a:pt x="15" y="0"/>
                        <a:pt x="0" y="0"/>
                      </a:cubicBezTo>
                      <a:lnTo>
                        <a:pt x="0" y="40"/>
                      </a:ln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49" name="Freeform 674"/>
                <p:cNvSpPr>
                  <a:spLocks/>
                </p:cNvSpPr>
                <p:nvPr/>
              </p:nvSpPr>
              <p:spPr bwMode="auto">
                <a:xfrm>
                  <a:off x="1380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0" name="Freeform 675"/>
                <p:cNvSpPr>
                  <a:spLocks/>
                </p:cNvSpPr>
                <p:nvPr/>
              </p:nvSpPr>
              <p:spPr bwMode="auto">
                <a:xfrm>
                  <a:off x="1409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8" y="28"/>
                    </a:cxn>
                    <a:cxn ang="0">
                      <a:pos x="70" y="23"/>
                    </a:cxn>
                    <a:cxn ang="0">
                      <a:pos x="76" y="17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6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8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6" y="17"/>
                      </a:cubicBez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1" name="Freeform 676"/>
                <p:cNvSpPr>
                  <a:spLocks/>
                </p:cNvSpPr>
                <p:nvPr/>
              </p:nvSpPr>
              <p:spPr bwMode="auto">
                <a:xfrm>
                  <a:off x="1438" y="1663"/>
                  <a:ext cx="19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54" y="40"/>
                    </a:cxn>
                    <a:cxn ang="0">
                      <a:pos x="60" y="40"/>
                    </a:cxn>
                    <a:cxn ang="0">
                      <a:pos x="67" y="34"/>
                    </a:cxn>
                    <a:cxn ang="0">
                      <a:pos x="69" y="28"/>
                    </a:cxn>
                    <a:cxn ang="0">
                      <a:pos x="70" y="23"/>
                    </a:cxn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77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54" y="40"/>
                      </a:lnTo>
                      <a:lnTo>
                        <a:pt x="60" y="40"/>
                      </a:lnTo>
                      <a:cubicBezTo>
                        <a:pt x="63" y="40"/>
                        <a:pt x="66" y="37"/>
                        <a:pt x="67" y="34"/>
                      </a:cubicBezTo>
                      <a:lnTo>
                        <a:pt x="69" y="28"/>
                      </a:lnTo>
                      <a:lnTo>
                        <a:pt x="70" y="23"/>
                      </a:lnTo>
                      <a:cubicBezTo>
                        <a:pt x="71" y="20"/>
                        <a:pt x="74" y="17"/>
                        <a:pt x="77" y="17"/>
                      </a:cubicBez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2" name="Freeform 677"/>
                <p:cNvSpPr>
                  <a:spLocks/>
                </p:cNvSpPr>
                <p:nvPr/>
              </p:nvSpPr>
              <p:spPr bwMode="auto">
                <a:xfrm>
                  <a:off x="1467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3" name="Freeform 678"/>
                <p:cNvSpPr>
                  <a:spLocks/>
                </p:cNvSpPr>
                <p:nvPr/>
              </p:nvSpPr>
              <p:spPr bwMode="auto">
                <a:xfrm>
                  <a:off x="1380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4" name="Freeform 679"/>
                <p:cNvSpPr>
                  <a:spLocks/>
                </p:cNvSpPr>
                <p:nvPr/>
              </p:nvSpPr>
              <p:spPr bwMode="auto">
                <a:xfrm>
                  <a:off x="1409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5" name="Freeform 680"/>
                <p:cNvSpPr>
                  <a:spLocks/>
                </p:cNvSpPr>
                <p:nvPr/>
              </p:nvSpPr>
              <p:spPr bwMode="auto">
                <a:xfrm>
                  <a:off x="1438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7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7" y="40"/>
                    </a:cxn>
                    <a:cxn ang="0">
                      <a:pos x="23" y="40"/>
                    </a:cxn>
                    <a:cxn ang="0">
                      <a:pos x="39" y="40"/>
                    </a:cxn>
                    <a:cxn ang="0">
                      <a:pos x="39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9" h="40">
                      <a:moveTo>
                        <a:pt x="0" y="17"/>
                      </a:moveTo>
                      <a:cubicBezTo>
                        <a:pt x="3" y="17"/>
                        <a:pt x="6" y="20"/>
                        <a:pt x="7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1" y="37"/>
                        <a:pt x="14" y="40"/>
                        <a:pt x="17" y="40"/>
                      </a:cubicBezTo>
                      <a:lnTo>
                        <a:pt x="23" y="40"/>
                      </a:lnTo>
                      <a:lnTo>
                        <a:pt x="39" y="40"/>
                      </a:lnTo>
                      <a:lnTo>
                        <a:pt x="39" y="0"/>
                      </a:lnTo>
                      <a:cubicBezTo>
                        <a:pt x="24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6" name="Freeform 681"/>
                <p:cNvSpPr>
                  <a:spLocks/>
                </p:cNvSpPr>
                <p:nvPr/>
              </p:nvSpPr>
              <p:spPr bwMode="auto">
                <a:xfrm>
                  <a:off x="1467" y="1663"/>
                  <a:ext cx="10" cy="9"/>
                </a:xfrm>
                <a:custGeom>
                  <a:avLst/>
                  <a:gdLst/>
                  <a:ahLst/>
                  <a:cxnLst>
                    <a:cxn ang="0">
                      <a:pos x="0" y="17"/>
                    </a:cxn>
                    <a:cxn ang="0">
                      <a:pos x="6" y="23"/>
                    </a:cxn>
                    <a:cxn ang="0">
                      <a:pos x="8" y="28"/>
                    </a:cxn>
                    <a:cxn ang="0">
                      <a:pos x="10" y="34"/>
                    </a:cxn>
                    <a:cxn ang="0">
                      <a:pos x="16" y="40"/>
                    </a:cxn>
                    <a:cxn ang="0">
                      <a:pos x="22" y="40"/>
                    </a:cxn>
                    <a:cxn ang="0">
                      <a:pos x="38" y="40"/>
                    </a:cxn>
                    <a:cxn ang="0">
                      <a:pos x="38" y="0"/>
                    </a:cxn>
                    <a:cxn ang="0">
                      <a:pos x="0" y="17"/>
                    </a:cxn>
                  </a:cxnLst>
                  <a:rect l="0" t="0" r="r" b="b"/>
                  <a:pathLst>
                    <a:path w="38" h="40">
                      <a:moveTo>
                        <a:pt x="0" y="17"/>
                      </a:moveTo>
                      <a:cubicBezTo>
                        <a:pt x="2" y="17"/>
                        <a:pt x="5" y="20"/>
                        <a:pt x="6" y="23"/>
                      </a:cubicBezTo>
                      <a:lnTo>
                        <a:pt x="8" y="28"/>
                      </a:lnTo>
                      <a:lnTo>
                        <a:pt x="10" y="34"/>
                      </a:lnTo>
                      <a:cubicBezTo>
                        <a:pt x="10" y="37"/>
                        <a:pt x="13" y="40"/>
                        <a:pt x="16" y="40"/>
                      </a:cubicBezTo>
                      <a:lnTo>
                        <a:pt x="22" y="40"/>
                      </a:lnTo>
                      <a:lnTo>
                        <a:pt x="38" y="40"/>
                      </a:lnTo>
                      <a:lnTo>
                        <a:pt x="38" y="0"/>
                      </a:lnTo>
                      <a:cubicBezTo>
                        <a:pt x="23" y="0"/>
                        <a:pt x="10" y="6"/>
                        <a:pt x="0" y="17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7" name="Freeform 682"/>
                <p:cNvSpPr>
                  <a:spLocks/>
                </p:cNvSpPr>
                <p:nvPr/>
              </p:nvSpPr>
              <p:spPr bwMode="auto">
                <a:xfrm>
                  <a:off x="1360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9" y="17"/>
                    </a:cxn>
                    <a:cxn ang="0">
                      <a:pos x="0" y="0"/>
                    </a:cxn>
                    <a:cxn ang="0">
                      <a:pos x="0" y="17"/>
                    </a:cxn>
                    <a:cxn ang="0">
                      <a:pos x="39" y="17"/>
                    </a:cxn>
                  </a:cxnLst>
                  <a:rect l="0" t="0" r="r" b="b"/>
                  <a:pathLst>
                    <a:path w="39" h="17">
                      <a:moveTo>
                        <a:pt x="39" y="17"/>
                      </a:moveTo>
                      <a:cubicBezTo>
                        <a:pt x="28" y="6"/>
                        <a:pt x="15" y="0"/>
                        <a:pt x="0" y="0"/>
                      </a:cubicBezTo>
                      <a:lnTo>
                        <a:pt x="0" y="17"/>
                      </a:lnTo>
                      <a:lnTo>
                        <a:pt x="39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8" name="Freeform 683"/>
                <p:cNvSpPr>
                  <a:spLocks/>
                </p:cNvSpPr>
                <p:nvPr/>
              </p:nvSpPr>
              <p:spPr bwMode="auto">
                <a:xfrm>
                  <a:off x="1380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59" name="Freeform 684"/>
                <p:cNvSpPr>
                  <a:spLocks/>
                </p:cNvSpPr>
                <p:nvPr/>
              </p:nvSpPr>
              <p:spPr bwMode="auto">
                <a:xfrm>
                  <a:off x="1409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6" y="17"/>
                    </a:cxn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76" y="17"/>
                    </a:cxn>
                  </a:cxnLst>
                  <a:rect l="0" t="0" r="r" b="b"/>
                  <a:pathLst>
                    <a:path w="76" h="17">
                      <a:moveTo>
                        <a:pt x="76" y="17"/>
                      </a:moveTo>
                      <a:cubicBezTo>
                        <a:pt x="66" y="6"/>
                        <a:pt x="53" y="0"/>
                        <a:pt x="38" y="0"/>
                      </a:cubicBezTo>
                      <a:cubicBezTo>
                        <a:pt x="23" y="0"/>
                        <a:pt x="10" y="6"/>
                        <a:pt x="0" y="17"/>
                      </a:cubicBezTo>
                      <a:lnTo>
                        <a:pt x="76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0" name="Freeform 685"/>
                <p:cNvSpPr>
                  <a:spLocks/>
                </p:cNvSpPr>
                <p:nvPr/>
              </p:nvSpPr>
              <p:spPr bwMode="auto">
                <a:xfrm>
                  <a:off x="1438" y="1663"/>
                  <a:ext cx="19" cy="4"/>
                </a:xfrm>
                <a:custGeom>
                  <a:avLst/>
                  <a:gdLst/>
                  <a:ahLst/>
                  <a:cxnLst>
                    <a:cxn ang="0">
                      <a:pos x="77" y="17"/>
                    </a:cxn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77" y="17"/>
                    </a:cxn>
                  </a:cxnLst>
                  <a:rect l="0" t="0" r="r" b="b"/>
                  <a:pathLst>
                    <a:path w="77" h="17">
                      <a:moveTo>
                        <a:pt x="77" y="17"/>
                      </a:moveTo>
                      <a:cubicBezTo>
                        <a:pt x="67" y="6"/>
                        <a:pt x="53" y="0"/>
                        <a:pt x="39" y="0"/>
                      </a:cubicBezTo>
                      <a:cubicBezTo>
                        <a:pt x="24" y="0"/>
                        <a:pt x="10" y="6"/>
                        <a:pt x="0" y="17"/>
                      </a:cubicBezTo>
                      <a:lnTo>
                        <a:pt x="77" y="17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1" name="Freeform 686"/>
                <p:cNvSpPr>
                  <a:spLocks/>
                </p:cNvSpPr>
                <p:nvPr/>
              </p:nvSpPr>
              <p:spPr bwMode="auto">
                <a:xfrm>
                  <a:off x="1467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A6ED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2" name="Freeform 687"/>
                <p:cNvSpPr>
                  <a:spLocks/>
                </p:cNvSpPr>
                <p:nvPr/>
              </p:nvSpPr>
              <p:spPr bwMode="auto">
                <a:xfrm>
                  <a:off x="1380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3" name="Freeform 688"/>
                <p:cNvSpPr>
                  <a:spLocks/>
                </p:cNvSpPr>
                <p:nvPr/>
              </p:nvSpPr>
              <p:spPr bwMode="auto">
                <a:xfrm>
                  <a:off x="1409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4" name="Freeform 689"/>
                <p:cNvSpPr>
                  <a:spLocks/>
                </p:cNvSpPr>
                <p:nvPr/>
              </p:nvSpPr>
              <p:spPr bwMode="auto">
                <a:xfrm>
                  <a:off x="1438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7"/>
                    </a:cxn>
                    <a:cxn ang="0">
                      <a:pos x="39" y="17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7">
                      <a:moveTo>
                        <a:pt x="39" y="0"/>
                      </a:moveTo>
                      <a:cubicBezTo>
                        <a:pt x="24" y="0"/>
                        <a:pt x="10" y="6"/>
                        <a:pt x="0" y="17"/>
                      </a:cubicBezTo>
                      <a:lnTo>
                        <a:pt x="39" y="17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5" name="Freeform 690"/>
                <p:cNvSpPr>
                  <a:spLocks/>
                </p:cNvSpPr>
                <p:nvPr/>
              </p:nvSpPr>
              <p:spPr bwMode="auto">
                <a:xfrm>
                  <a:off x="1467" y="1663"/>
                  <a:ext cx="10" cy="4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7"/>
                    </a:cxn>
                    <a:cxn ang="0">
                      <a:pos x="38" y="17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7">
                      <a:moveTo>
                        <a:pt x="38" y="0"/>
                      </a:moveTo>
                      <a:cubicBezTo>
                        <a:pt x="23" y="0"/>
                        <a:pt x="10" y="6"/>
                        <a:pt x="0" y="17"/>
                      </a:cubicBezTo>
                      <a:lnTo>
                        <a:pt x="38" y="17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75CEE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6" name="Freeform 691"/>
                <p:cNvSpPr>
                  <a:spLocks/>
                </p:cNvSpPr>
                <p:nvPr/>
              </p:nvSpPr>
              <p:spPr bwMode="auto">
                <a:xfrm>
                  <a:off x="1360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0" y="0"/>
                    </a:cxn>
                    <a:cxn ang="0">
                      <a:pos x="0" y="12"/>
                    </a:cxn>
                  </a:cxnLst>
                  <a:rect l="0" t="0" r="r" b="b"/>
                  <a:pathLst>
                    <a:path w="39" h="12">
                      <a:moveTo>
                        <a:pt x="0" y="12"/>
                      </a:moveTo>
                      <a:lnTo>
                        <a:pt x="39" y="12"/>
                      </a:lnTo>
                      <a:cubicBezTo>
                        <a:pt x="28" y="4"/>
                        <a:pt x="15" y="0"/>
                        <a:pt x="0" y="0"/>
                      </a:cubicBez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7" name="Freeform 692"/>
                <p:cNvSpPr>
                  <a:spLocks/>
                </p:cNvSpPr>
                <p:nvPr/>
              </p:nvSpPr>
              <p:spPr bwMode="auto">
                <a:xfrm>
                  <a:off x="1380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8" name="Freeform 693"/>
                <p:cNvSpPr>
                  <a:spLocks/>
                </p:cNvSpPr>
                <p:nvPr/>
              </p:nvSpPr>
              <p:spPr bwMode="auto">
                <a:xfrm>
                  <a:off x="1409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76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76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76" y="12"/>
                      </a:lnTo>
                      <a:cubicBezTo>
                        <a:pt x="66" y="4"/>
                        <a:pt x="53" y="0"/>
                        <a:pt x="38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69" name="Freeform 694"/>
                <p:cNvSpPr>
                  <a:spLocks/>
                </p:cNvSpPr>
                <p:nvPr/>
              </p:nvSpPr>
              <p:spPr bwMode="auto">
                <a:xfrm>
                  <a:off x="1438" y="1664"/>
                  <a:ext cx="19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77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77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77" y="12"/>
                      </a:lnTo>
                      <a:cubicBezTo>
                        <a:pt x="67" y="4"/>
                        <a:pt x="53" y="0"/>
                        <a:pt x="39" y="0"/>
                      </a:cubicBez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0" name="Freeform 695"/>
                <p:cNvSpPr>
                  <a:spLocks/>
                </p:cNvSpPr>
                <p:nvPr/>
              </p:nvSpPr>
              <p:spPr bwMode="auto">
                <a:xfrm>
                  <a:off x="1467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3394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1" name="Freeform 696"/>
                <p:cNvSpPr>
                  <a:spLocks/>
                </p:cNvSpPr>
                <p:nvPr/>
              </p:nvSpPr>
              <p:spPr bwMode="auto">
                <a:xfrm>
                  <a:off x="1380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2" name="Freeform 697"/>
                <p:cNvSpPr>
                  <a:spLocks/>
                </p:cNvSpPr>
                <p:nvPr/>
              </p:nvSpPr>
              <p:spPr bwMode="auto">
                <a:xfrm>
                  <a:off x="1409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3" name="Freeform 698"/>
                <p:cNvSpPr>
                  <a:spLocks/>
                </p:cNvSpPr>
                <p:nvPr/>
              </p:nvSpPr>
              <p:spPr bwMode="auto">
                <a:xfrm>
                  <a:off x="1438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0" y="12"/>
                    </a:cxn>
                    <a:cxn ang="0">
                      <a:pos x="39" y="12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2">
                      <a:moveTo>
                        <a:pt x="39" y="0"/>
                      </a:moveTo>
                      <a:cubicBezTo>
                        <a:pt x="24" y="0"/>
                        <a:pt x="10" y="4"/>
                        <a:pt x="0" y="12"/>
                      </a:cubicBezTo>
                      <a:lnTo>
                        <a:pt x="39" y="12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4" name="Freeform 699"/>
                <p:cNvSpPr>
                  <a:spLocks/>
                </p:cNvSpPr>
                <p:nvPr/>
              </p:nvSpPr>
              <p:spPr bwMode="auto">
                <a:xfrm>
                  <a:off x="1467" y="1664"/>
                  <a:ext cx="10" cy="3"/>
                </a:xfrm>
                <a:custGeom>
                  <a:avLst/>
                  <a:gdLst/>
                  <a:ahLst/>
                  <a:cxnLst>
                    <a:cxn ang="0">
                      <a:pos x="38" y="0"/>
                    </a:cxn>
                    <a:cxn ang="0">
                      <a:pos x="0" y="12"/>
                    </a:cxn>
                    <a:cxn ang="0">
                      <a:pos x="38" y="12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8" h="12">
                      <a:moveTo>
                        <a:pt x="38" y="0"/>
                      </a:moveTo>
                      <a:cubicBezTo>
                        <a:pt x="23" y="0"/>
                        <a:pt x="10" y="4"/>
                        <a:pt x="0" y="12"/>
                      </a:cubicBezTo>
                      <a:lnTo>
                        <a:pt x="38" y="12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2B849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5" name="Rectangle 700"/>
                <p:cNvSpPr>
                  <a:spLocks noChangeArrowheads="1"/>
                </p:cNvSpPr>
                <p:nvPr/>
              </p:nvSpPr>
              <p:spPr bwMode="auto">
                <a:xfrm>
                  <a:off x="1405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6" name="Rectangle 701"/>
                <p:cNvSpPr>
                  <a:spLocks noChangeArrowheads="1"/>
                </p:cNvSpPr>
                <p:nvPr/>
              </p:nvSpPr>
              <p:spPr bwMode="auto">
                <a:xfrm>
                  <a:off x="1415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7" name="Rectangle 702"/>
                <p:cNvSpPr>
                  <a:spLocks noChangeArrowheads="1"/>
                </p:cNvSpPr>
                <p:nvPr/>
              </p:nvSpPr>
              <p:spPr bwMode="auto">
                <a:xfrm>
                  <a:off x="1425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8" name="Rectangle 703"/>
                <p:cNvSpPr>
                  <a:spLocks noChangeArrowheads="1"/>
                </p:cNvSpPr>
                <p:nvPr/>
              </p:nvSpPr>
              <p:spPr bwMode="auto">
                <a:xfrm>
                  <a:off x="1435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79" name="Rectangle 704"/>
                <p:cNvSpPr>
                  <a:spLocks noChangeArrowheads="1"/>
                </p:cNvSpPr>
                <p:nvPr/>
              </p:nvSpPr>
              <p:spPr bwMode="auto">
                <a:xfrm>
                  <a:off x="1360" y="1791"/>
                  <a:ext cx="4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0" name="Rectangle 705"/>
                <p:cNvSpPr>
                  <a:spLocks noChangeArrowheads="1"/>
                </p:cNvSpPr>
                <p:nvPr/>
              </p:nvSpPr>
              <p:spPr bwMode="auto">
                <a:xfrm>
                  <a:off x="1444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1" name="Rectangle 706"/>
                <p:cNvSpPr>
                  <a:spLocks noChangeArrowheads="1"/>
                </p:cNvSpPr>
                <p:nvPr/>
              </p:nvSpPr>
              <p:spPr bwMode="auto">
                <a:xfrm>
                  <a:off x="1367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2" name="Rectangle 707"/>
                <p:cNvSpPr>
                  <a:spLocks noChangeArrowheads="1"/>
                </p:cNvSpPr>
                <p:nvPr/>
              </p:nvSpPr>
              <p:spPr bwMode="auto">
                <a:xfrm>
                  <a:off x="1454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3" name="Rectangle 708"/>
                <p:cNvSpPr>
                  <a:spLocks noChangeArrowheads="1"/>
                </p:cNvSpPr>
                <p:nvPr/>
              </p:nvSpPr>
              <p:spPr bwMode="auto">
                <a:xfrm>
                  <a:off x="1376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4" name="Rectangle 709"/>
                <p:cNvSpPr>
                  <a:spLocks noChangeArrowheads="1"/>
                </p:cNvSpPr>
                <p:nvPr/>
              </p:nvSpPr>
              <p:spPr bwMode="auto">
                <a:xfrm>
                  <a:off x="1463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5" name="Rectangle 710"/>
                <p:cNvSpPr>
                  <a:spLocks noChangeArrowheads="1"/>
                </p:cNvSpPr>
                <p:nvPr/>
              </p:nvSpPr>
              <p:spPr bwMode="auto">
                <a:xfrm>
                  <a:off x="1386" y="1791"/>
                  <a:ext cx="7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6" name="Rectangle 711"/>
                <p:cNvSpPr>
                  <a:spLocks noChangeArrowheads="1"/>
                </p:cNvSpPr>
                <p:nvPr/>
              </p:nvSpPr>
              <p:spPr bwMode="auto">
                <a:xfrm>
                  <a:off x="1473" y="1791"/>
                  <a:ext cx="4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7" name="Rectangle 712"/>
                <p:cNvSpPr>
                  <a:spLocks noChangeArrowheads="1"/>
                </p:cNvSpPr>
                <p:nvPr/>
              </p:nvSpPr>
              <p:spPr bwMode="auto">
                <a:xfrm>
                  <a:off x="1396" y="1791"/>
                  <a:ext cx="6" cy="7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8" name="Rectangle 713"/>
                <p:cNvSpPr>
                  <a:spLocks noChangeArrowheads="1"/>
                </p:cNvSpPr>
                <p:nvPr/>
              </p:nvSpPr>
              <p:spPr bwMode="auto">
                <a:xfrm>
                  <a:off x="1360" y="1650"/>
                  <a:ext cx="12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89" name="Rectangle 714"/>
                <p:cNvSpPr>
                  <a:spLocks noChangeArrowheads="1"/>
                </p:cNvSpPr>
                <p:nvPr/>
              </p:nvSpPr>
              <p:spPr bwMode="auto">
                <a:xfrm>
                  <a:off x="1390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0" name="Rectangle 715"/>
                <p:cNvSpPr>
                  <a:spLocks noChangeArrowheads="1"/>
                </p:cNvSpPr>
                <p:nvPr/>
              </p:nvSpPr>
              <p:spPr bwMode="auto">
                <a:xfrm>
                  <a:off x="1419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1" name="Rectangle 716"/>
                <p:cNvSpPr>
                  <a:spLocks noChangeArrowheads="1"/>
                </p:cNvSpPr>
                <p:nvPr/>
              </p:nvSpPr>
              <p:spPr bwMode="auto">
                <a:xfrm>
                  <a:off x="1448" y="1650"/>
                  <a:ext cx="11" cy="7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2" name="Rectangle 717"/>
                <p:cNvSpPr>
                  <a:spLocks noChangeArrowheads="1"/>
                </p:cNvSpPr>
                <p:nvPr/>
              </p:nvSpPr>
              <p:spPr bwMode="auto">
                <a:xfrm>
                  <a:off x="1378" y="1650"/>
                  <a:ext cx="1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3" name="Rectangle 718"/>
                <p:cNvSpPr>
                  <a:spLocks noChangeArrowheads="1"/>
                </p:cNvSpPr>
                <p:nvPr/>
              </p:nvSpPr>
              <p:spPr bwMode="auto">
                <a:xfrm>
                  <a:off x="1407" y="1650"/>
                  <a:ext cx="1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4" name="Rectangle 719"/>
                <p:cNvSpPr>
                  <a:spLocks noChangeArrowheads="1"/>
                </p:cNvSpPr>
                <p:nvPr/>
              </p:nvSpPr>
              <p:spPr bwMode="auto">
                <a:xfrm>
                  <a:off x="1436" y="1650"/>
                  <a:ext cx="1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5" name="Rectangle 720"/>
                <p:cNvSpPr>
                  <a:spLocks noChangeArrowheads="1"/>
                </p:cNvSpPr>
                <p:nvPr/>
              </p:nvSpPr>
              <p:spPr bwMode="auto">
                <a:xfrm>
                  <a:off x="1465" y="1650"/>
                  <a:ext cx="1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6" name="Rectangle 721"/>
                <p:cNvSpPr>
                  <a:spLocks noChangeArrowheads="1"/>
                </p:cNvSpPr>
                <p:nvPr/>
              </p:nvSpPr>
              <p:spPr bwMode="auto">
                <a:xfrm>
                  <a:off x="1372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7" name="Rectangle 722"/>
                <p:cNvSpPr>
                  <a:spLocks noChangeArrowheads="1"/>
                </p:cNvSpPr>
                <p:nvPr/>
              </p:nvSpPr>
              <p:spPr bwMode="auto">
                <a:xfrm>
                  <a:off x="1401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8" name="Rectangle 723"/>
                <p:cNvSpPr>
                  <a:spLocks noChangeArrowheads="1"/>
                </p:cNvSpPr>
                <p:nvPr/>
              </p:nvSpPr>
              <p:spPr bwMode="auto">
                <a:xfrm>
                  <a:off x="1430" y="1650"/>
                  <a:ext cx="1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599" name="Rectangle 724"/>
                <p:cNvSpPr>
                  <a:spLocks noChangeArrowheads="1"/>
                </p:cNvSpPr>
                <p:nvPr/>
              </p:nvSpPr>
              <p:spPr bwMode="auto">
                <a:xfrm>
                  <a:off x="1459" y="1650"/>
                  <a:ext cx="2" cy="7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0" name="Rectangle 725"/>
                <p:cNvSpPr>
                  <a:spLocks noChangeArrowheads="1"/>
                </p:cNvSpPr>
                <p:nvPr/>
              </p:nvSpPr>
              <p:spPr bwMode="auto">
                <a:xfrm>
                  <a:off x="1376" y="1650"/>
                  <a:ext cx="2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1" name="Rectangle 726"/>
                <p:cNvSpPr>
                  <a:spLocks noChangeArrowheads="1"/>
                </p:cNvSpPr>
                <p:nvPr/>
              </p:nvSpPr>
              <p:spPr bwMode="auto">
                <a:xfrm>
                  <a:off x="1406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2" name="Rectangle 727"/>
                <p:cNvSpPr>
                  <a:spLocks noChangeArrowheads="1"/>
                </p:cNvSpPr>
                <p:nvPr/>
              </p:nvSpPr>
              <p:spPr bwMode="auto">
                <a:xfrm>
                  <a:off x="1435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3" name="Rectangle 728"/>
                <p:cNvSpPr>
                  <a:spLocks noChangeArrowheads="1"/>
                </p:cNvSpPr>
                <p:nvPr/>
              </p:nvSpPr>
              <p:spPr bwMode="auto">
                <a:xfrm>
                  <a:off x="1464" y="1650"/>
                  <a:ext cx="1" cy="7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4" name="Rectangle 729"/>
                <p:cNvSpPr>
                  <a:spLocks noChangeArrowheads="1"/>
                </p:cNvSpPr>
                <p:nvPr/>
              </p:nvSpPr>
              <p:spPr bwMode="auto">
                <a:xfrm>
                  <a:off x="1361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5" name="Rectangle 730"/>
                <p:cNvSpPr>
                  <a:spLocks noChangeArrowheads="1"/>
                </p:cNvSpPr>
                <p:nvPr/>
              </p:nvSpPr>
              <p:spPr bwMode="auto">
                <a:xfrm>
                  <a:off x="1390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6" name="Rectangle 731"/>
                <p:cNvSpPr>
                  <a:spLocks noChangeArrowheads="1"/>
                </p:cNvSpPr>
                <p:nvPr/>
              </p:nvSpPr>
              <p:spPr bwMode="auto">
                <a:xfrm>
                  <a:off x="1382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7" name="Rectangle 732"/>
                <p:cNvSpPr>
                  <a:spLocks noChangeArrowheads="1"/>
                </p:cNvSpPr>
                <p:nvPr/>
              </p:nvSpPr>
              <p:spPr bwMode="auto">
                <a:xfrm>
                  <a:off x="1419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8" name="Rectangle 733"/>
                <p:cNvSpPr>
                  <a:spLocks noChangeArrowheads="1"/>
                </p:cNvSpPr>
                <p:nvPr/>
              </p:nvSpPr>
              <p:spPr bwMode="auto">
                <a:xfrm>
                  <a:off x="1411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09" name="Rectangle 734"/>
                <p:cNvSpPr>
                  <a:spLocks noChangeArrowheads="1"/>
                </p:cNvSpPr>
                <p:nvPr/>
              </p:nvSpPr>
              <p:spPr bwMode="auto">
                <a:xfrm>
                  <a:off x="1448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0" name="Rectangle 735"/>
                <p:cNvSpPr>
                  <a:spLocks noChangeArrowheads="1"/>
                </p:cNvSpPr>
                <p:nvPr/>
              </p:nvSpPr>
              <p:spPr bwMode="auto">
                <a:xfrm>
                  <a:off x="1440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1" name="Rectangle 736"/>
                <p:cNvSpPr>
                  <a:spLocks noChangeArrowheads="1"/>
                </p:cNvSpPr>
                <p:nvPr/>
              </p:nvSpPr>
              <p:spPr bwMode="auto">
                <a:xfrm>
                  <a:off x="1469" y="1652"/>
                  <a:ext cx="7" cy="3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2" name="Rectangle 737"/>
                <p:cNvSpPr>
                  <a:spLocks noChangeArrowheads="1"/>
                </p:cNvSpPr>
                <p:nvPr/>
              </p:nvSpPr>
              <p:spPr bwMode="auto">
                <a:xfrm>
                  <a:off x="1360" y="1640"/>
                  <a:ext cx="117" cy="5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3" name="Freeform 738"/>
                <p:cNvSpPr>
                  <a:spLocks/>
                </p:cNvSpPr>
                <p:nvPr/>
              </p:nvSpPr>
              <p:spPr bwMode="auto">
                <a:xfrm>
                  <a:off x="937" y="1674"/>
                  <a:ext cx="21" cy="94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3" y="0"/>
                    </a:cxn>
                    <a:cxn ang="0">
                      <a:pos x="86" y="43"/>
                    </a:cxn>
                    <a:cxn ang="0">
                      <a:pos x="86" y="343"/>
                    </a:cxn>
                    <a:cxn ang="0">
                      <a:pos x="43" y="386"/>
                    </a:cxn>
                    <a:cxn ang="0">
                      <a:pos x="43" y="386"/>
                    </a:cxn>
                    <a:cxn ang="0">
                      <a:pos x="0" y="343"/>
                    </a:cxn>
                    <a:cxn ang="0">
                      <a:pos x="0" y="43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86" h="386">
                      <a:moveTo>
                        <a:pt x="43" y="0"/>
                      </a:moveTo>
                      <a:lnTo>
                        <a:pt x="43" y="0"/>
                      </a:lnTo>
                      <a:cubicBezTo>
                        <a:pt x="67" y="0"/>
                        <a:pt x="86" y="19"/>
                        <a:pt x="86" y="43"/>
                      </a:cubicBezTo>
                      <a:lnTo>
                        <a:pt x="86" y="343"/>
                      </a:lnTo>
                      <a:cubicBezTo>
                        <a:pt x="86" y="366"/>
                        <a:pt x="67" y="386"/>
                        <a:pt x="43" y="386"/>
                      </a:cubicBezTo>
                      <a:lnTo>
                        <a:pt x="43" y="386"/>
                      </a:lnTo>
                      <a:cubicBezTo>
                        <a:pt x="20" y="386"/>
                        <a:pt x="0" y="366"/>
                        <a:pt x="0" y="343"/>
                      </a:cubicBezTo>
                      <a:lnTo>
                        <a:pt x="0" y="43"/>
                      </a:lnTo>
                      <a:cubicBezTo>
                        <a:pt x="0" y="19"/>
                        <a:pt x="20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4" name="Freeform 739"/>
                <p:cNvSpPr>
                  <a:spLocks noEditPoints="1"/>
                </p:cNvSpPr>
                <p:nvPr/>
              </p:nvSpPr>
              <p:spPr bwMode="auto">
                <a:xfrm>
                  <a:off x="936" y="1672"/>
                  <a:ext cx="24" cy="97"/>
                </a:xfrm>
                <a:custGeom>
                  <a:avLst/>
                  <a:gdLst/>
                  <a:ahLst/>
                  <a:cxnLst>
                    <a:cxn ang="0">
                      <a:pos x="75" y="24"/>
                    </a:cxn>
                    <a:cxn ang="0">
                      <a:pos x="49" y="14"/>
                    </a:cxn>
                    <a:cxn ang="0">
                      <a:pos x="24" y="24"/>
                    </a:cxn>
                    <a:cxn ang="0">
                      <a:pos x="13" y="50"/>
                    </a:cxn>
                    <a:cxn ang="0">
                      <a:pos x="13" y="350"/>
                    </a:cxn>
                    <a:cxn ang="0">
                      <a:pos x="24" y="375"/>
                    </a:cxn>
                    <a:cxn ang="0">
                      <a:pos x="49" y="386"/>
                    </a:cxn>
                    <a:cxn ang="0">
                      <a:pos x="75" y="375"/>
                    </a:cxn>
                    <a:cxn ang="0">
                      <a:pos x="85" y="350"/>
                    </a:cxn>
                    <a:cxn ang="0">
                      <a:pos x="85" y="50"/>
                    </a:cxn>
                    <a:cxn ang="0">
                      <a:pos x="75" y="24"/>
                    </a:cxn>
                    <a:cxn ang="0">
                      <a:pos x="49" y="0"/>
                    </a:cxn>
                    <a:cxn ang="0">
                      <a:pos x="84" y="15"/>
                    </a:cxn>
                    <a:cxn ang="0">
                      <a:pos x="99" y="50"/>
                    </a:cxn>
                    <a:cxn ang="0">
                      <a:pos x="99" y="350"/>
                    </a:cxn>
                    <a:cxn ang="0">
                      <a:pos x="84" y="385"/>
                    </a:cxn>
                    <a:cxn ang="0">
                      <a:pos x="49" y="399"/>
                    </a:cxn>
                    <a:cxn ang="0">
                      <a:pos x="14" y="385"/>
                    </a:cxn>
                    <a:cxn ang="0">
                      <a:pos x="0" y="350"/>
                    </a:cxn>
                    <a:cxn ang="0">
                      <a:pos x="0" y="50"/>
                    </a:cxn>
                    <a:cxn ang="0">
                      <a:pos x="14" y="15"/>
                    </a:cxn>
                    <a:cxn ang="0">
                      <a:pos x="49" y="0"/>
                    </a:cxn>
                  </a:cxnLst>
                  <a:rect l="0" t="0" r="r" b="b"/>
                  <a:pathLst>
                    <a:path w="99" h="399">
                      <a:moveTo>
                        <a:pt x="75" y="24"/>
                      </a:moveTo>
                      <a:cubicBezTo>
                        <a:pt x="68" y="18"/>
                        <a:pt x="59" y="14"/>
                        <a:pt x="49" y="14"/>
                      </a:cubicBezTo>
                      <a:cubicBezTo>
                        <a:pt x="39" y="14"/>
                        <a:pt x="30" y="18"/>
                        <a:pt x="24" y="24"/>
                      </a:cubicBezTo>
                      <a:cubicBezTo>
                        <a:pt x="17" y="31"/>
                        <a:pt x="13" y="40"/>
                        <a:pt x="13" y="50"/>
                      </a:cubicBezTo>
                      <a:lnTo>
                        <a:pt x="13" y="350"/>
                      </a:lnTo>
                      <a:cubicBezTo>
                        <a:pt x="13" y="360"/>
                        <a:pt x="17" y="369"/>
                        <a:pt x="24" y="375"/>
                      </a:cubicBezTo>
                      <a:cubicBezTo>
                        <a:pt x="30" y="382"/>
                        <a:pt x="39" y="386"/>
                        <a:pt x="49" y="386"/>
                      </a:cubicBezTo>
                      <a:cubicBezTo>
                        <a:pt x="59" y="386"/>
                        <a:pt x="68" y="382"/>
                        <a:pt x="75" y="375"/>
                      </a:cubicBezTo>
                      <a:cubicBezTo>
                        <a:pt x="81" y="369"/>
                        <a:pt x="85" y="360"/>
                        <a:pt x="85" y="350"/>
                      </a:cubicBezTo>
                      <a:lnTo>
                        <a:pt x="85" y="50"/>
                      </a:lnTo>
                      <a:cubicBezTo>
                        <a:pt x="85" y="40"/>
                        <a:pt x="81" y="31"/>
                        <a:pt x="75" y="24"/>
                      </a:cubicBezTo>
                      <a:close/>
                      <a:moveTo>
                        <a:pt x="49" y="0"/>
                      </a:moveTo>
                      <a:cubicBezTo>
                        <a:pt x="63" y="0"/>
                        <a:pt x="75" y="6"/>
                        <a:pt x="84" y="15"/>
                      </a:cubicBezTo>
                      <a:cubicBezTo>
                        <a:pt x="93" y="24"/>
                        <a:pt x="99" y="36"/>
                        <a:pt x="99" y="50"/>
                      </a:cubicBezTo>
                      <a:lnTo>
                        <a:pt x="99" y="350"/>
                      </a:lnTo>
                      <a:cubicBezTo>
                        <a:pt x="99" y="363"/>
                        <a:pt x="93" y="376"/>
                        <a:pt x="84" y="385"/>
                      </a:cubicBezTo>
                      <a:cubicBezTo>
                        <a:pt x="75" y="394"/>
                        <a:pt x="63" y="399"/>
                        <a:pt x="49" y="399"/>
                      </a:cubicBezTo>
                      <a:cubicBezTo>
                        <a:pt x="36" y="399"/>
                        <a:pt x="23" y="394"/>
                        <a:pt x="14" y="385"/>
                      </a:cubicBezTo>
                      <a:cubicBezTo>
                        <a:pt x="5" y="376"/>
                        <a:pt x="0" y="363"/>
                        <a:pt x="0" y="350"/>
                      </a:cubicBezTo>
                      <a:lnTo>
                        <a:pt x="0" y="50"/>
                      </a:lnTo>
                      <a:cubicBezTo>
                        <a:pt x="0" y="36"/>
                        <a:pt x="5" y="24"/>
                        <a:pt x="14" y="15"/>
                      </a:cubicBezTo>
                      <a:cubicBezTo>
                        <a:pt x="23" y="6"/>
                        <a:pt x="36" y="0"/>
                        <a:pt x="49" y="0"/>
                      </a:cubicBez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5" name="Freeform 740"/>
                <p:cNvSpPr>
                  <a:spLocks/>
                </p:cNvSpPr>
                <p:nvPr/>
              </p:nvSpPr>
              <p:spPr bwMode="auto">
                <a:xfrm>
                  <a:off x="937" y="1674"/>
                  <a:ext cx="21" cy="94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3" y="0"/>
                    </a:cxn>
                    <a:cxn ang="0">
                      <a:pos x="86" y="43"/>
                    </a:cxn>
                    <a:cxn ang="0">
                      <a:pos x="86" y="343"/>
                    </a:cxn>
                    <a:cxn ang="0">
                      <a:pos x="43" y="386"/>
                    </a:cxn>
                    <a:cxn ang="0">
                      <a:pos x="43" y="386"/>
                    </a:cxn>
                    <a:cxn ang="0">
                      <a:pos x="0" y="343"/>
                    </a:cxn>
                    <a:cxn ang="0">
                      <a:pos x="0" y="43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86" h="386">
                      <a:moveTo>
                        <a:pt x="43" y="0"/>
                      </a:moveTo>
                      <a:lnTo>
                        <a:pt x="43" y="0"/>
                      </a:lnTo>
                      <a:cubicBezTo>
                        <a:pt x="67" y="0"/>
                        <a:pt x="86" y="19"/>
                        <a:pt x="86" y="43"/>
                      </a:cubicBezTo>
                      <a:lnTo>
                        <a:pt x="86" y="343"/>
                      </a:lnTo>
                      <a:cubicBezTo>
                        <a:pt x="86" y="366"/>
                        <a:pt x="67" y="386"/>
                        <a:pt x="43" y="386"/>
                      </a:cubicBezTo>
                      <a:lnTo>
                        <a:pt x="43" y="386"/>
                      </a:lnTo>
                      <a:cubicBezTo>
                        <a:pt x="20" y="386"/>
                        <a:pt x="0" y="366"/>
                        <a:pt x="0" y="343"/>
                      </a:cubicBezTo>
                      <a:lnTo>
                        <a:pt x="0" y="43"/>
                      </a:lnTo>
                      <a:cubicBezTo>
                        <a:pt x="0" y="19"/>
                        <a:pt x="20" y="0"/>
                        <a:pt x="43" y="0"/>
                      </a:cubicBezTo>
                      <a:close/>
                    </a:path>
                  </a:pathLst>
                </a:cu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6" name="Oval 741"/>
                <p:cNvSpPr>
                  <a:spLocks noChangeArrowheads="1"/>
                </p:cNvSpPr>
                <p:nvPr/>
              </p:nvSpPr>
              <p:spPr bwMode="auto">
                <a:xfrm>
                  <a:off x="940" y="1677"/>
                  <a:ext cx="15" cy="15"/>
                </a:xfrm>
                <a:prstGeom prst="ellipse">
                  <a:avLst/>
                </a:pr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7" name="Oval 742"/>
                <p:cNvSpPr>
                  <a:spLocks noChangeArrowheads="1"/>
                </p:cNvSpPr>
                <p:nvPr/>
              </p:nvSpPr>
              <p:spPr bwMode="auto">
                <a:xfrm>
                  <a:off x="940" y="1749"/>
                  <a:ext cx="15" cy="16"/>
                </a:xfrm>
                <a:prstGeom prst="ellipse">
                  <a:avLst/>
                </a:pr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8" name="Oval 743"/>
                <p:cNvSpPr>
                  <a:spLocks noChangeArrowheads="1"/>
                </p:cNvSpPr>
                <p:nvPr/>
              </p:nvSpPr>
              <p:spPr bwMode="auto">
                <a:xfrm>
                  <a:off x="943" y="1697"/>
                  <a:ext cx="9" cy="9"/>
                </a:xfrm>
                <a:prstGeom prst="ellipse">
                  <a:avLst/>
                </a:pr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19" name="Oval 744"/>
                <p:cNvSpPr>
                  <a:spLocks noChangeArrowheads="1"/>
                </p:cNvSpPr>
                <p:nvPr/>
              </p:nvSpPr>
              <p:spPr bwMode="auto">
                <a:xfrm>
                  <a:off x="944" y="1698"/>
                  <a:ext cx="7" cy="7"/>
                </a:xfrm>
                <a:prstGeom prst="ellipse">
                  <a:avLst/>
                </a:pr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0" name="Oval 745"/>
                <p:cNvSpPr>
                  <a:spLocks noChangeArrowheads="1"/>
                </p:cNvSpPr>
                <p:nvPr/>
              </p:nvSpPr>
              <p:spPr bwMode="auto">
                <a:xfrm>
                  <a:off x="941" y="1751"/>
                  <a:ext cx="13" cy="12"/>
                </a:xfrm>
                <a:prstGeom prst="ellipse">
                  <a:avLst/>
                </a:pr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1" name="Oval 746"/>
                <p:cNvSpPr>
                  <a:spLocks noChangeArrowheads="1"/>
                </p:cNvSpPr>
                <p:nvPr/>
              </p:nvSpPr>
              <p:spPr bwMode="auto">
                <a:xfrm>
                  <a:off x="941" y="1678"/>
                  <a:ext cx="13" cy="13"/>
                </a:xfrm>
                <a:prstGeom prst="ellipse">
                  <a:avLst/>
                </a:pr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2" name="Oval 747"/>
                <p:cNvSpPr>
                  <a:spLocks noChangeArrowheads="1"/>
                </p:cNvSpPr>
                <p:nvPr/>
              </p:nvSpPr>
              <p:spPr bwMode="auto">
                <a:xfrm>
                  <a:off x="943" y="1735"/>
                  <a:ext cx="9" cy="10"/>
                </a:xfrm>
                <a:prstGeom prst="ellipse">
                  <a:avLst/>
                </a:pr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3" name="Oval 748"/>
                <p:cNvSpPr>
                  <a:spLocks noChangeArrowheads="1"/>
                </p:cNvSpPr>
                <p:nvPr/>
              </p:nvSpPr>
              <p:spPr bwMode="auto">
                <a:xfrm>
                  <a:off x="943" y="1710"/>
                  <a:ext cx="9" cy="9"/>
                </a:xfrm>
                <a:prstGeom prst="ellipse">
                  <a:avLst/>
                </a:pr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4" name="Oval 749"/>
                <p:cNvSpPr>
                  <a:spLocks noChangeArrowheads="1"/>
                </p:cNvSpPr>
                <p:nvPr/>
              </p:nvSpPr>
              <p:spPr bwMode="auto">
                <a:xfrm>
                  <a:off x="943" y="1723"/>
                  <a:ext cx="9" cy="9"/>
                </a:xfrm>
                <a:prstGeom prst="ellipse">
                  <a:avLst/>
                </a:pr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5" name="Freeform 750"/>
                <p:cNvSpPr>
                  <a:spLocks/>
                </p:cNvSpPr>
                <p:nvPr/>
              </p:nvSpPr>
              <p:spPr bwMode="auto">
                <a:xfrm>
                  <a:off x="947" y="1674"/>
                  <a:ext cx="11" cy="9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386"/>
                    </a:cxn>
                    <a:cxn ang="0">
                      <a:pos x="43" y="343"/>
                    </a:cxn>
                    <a:cxn ang="0">
                      <a:pos x="43" y="4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3" h="38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386"/>
                      </a:lnTo>
                      <a:cubicBezTo>
                        <a:pt x="24" y="386"/>
                        <a:pt x="43" y="366"/>
                        <a:pt x="43" y="343"/>
                      </a:cubicBezTo>
                      <a:lnTo>
                        <a:pt x="43" y="43"/>
                      </a:lnTo>
                      <a:cubicBezTo>
                        <a:pt x="43" y="19"/>
                        <a:pt x="24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404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6" name="Freeform 751"/>
                <p:cNvSpPr>
                  <a:spLocks/>
                </p:cNvSpPr>
                <p:nvPr/>
              </p:nvSpPr>
              <p:spPr bwMode="auto">
                <a:xfrm>
                  <a:off x="947" y="1677"/>
                  <a:ext cx="8" cy="1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3" y="32"/>
                    </a:cxn>
                    <a:cxn ang="0">
                      <a:pos x="0" y="6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3" h="64">
                      <a:moveTo>
                        <a:pt x="0" y="0"/>
                      </a:moveTo>
                      <a:cubicBezTo>
                        <a:pt x="18" y="0"/>
                        <a:pt x="33" y="14"/>
                        <a:pt x="33" y="32"/>
                      </a:cubicBezTo>
                      <a:cubicBezTo>
                        <a:pt x="33" y="50"/>
                        <a:pt x="18" y="64"/>
                        <a:pt x="0" y="6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62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7" name="Freeform 752"/>
                <p:cNvSpPr>
                  <a:spLocks/>
                </p:cNvSpPr>
                <p:nvPr/>
              </p:nvSpPr>
              <p:spPr bwMode="auto">
                <a:xfrm>
                  <a:off x="947" y="1749"/>
                  <a:ext cx="8" cy="16"/>
                </a:xfrm>
                <a:custGeom>
                  <a:avLst/>
                  <a:gdLst/>
                  <a:ahLst/>
                  <a:cxnLst>
                    <a:cxn ang="0">
                      <a:pos x="0" y="64"/>
                    </a:cxn>
                    <a:cxn ang="0">
                      <a:pos x="33" y="32"/>
                    </a:cxn>
                    <a:cxn ang="0">
                      <a:pos x="0" y="0"/>
                    </a:cxn>
                    <a:cxn ang="0">
                      <a:pos x="0" y="64"/>
                    </a:cxn>
                  </a:cxnLst>
                  <a:rect l="0" t="0" r="r" b="b"/>
                  <a:pathLst>
                    <a:path w="33" h="64">
                      <a:moveTo>
                        <a:pt x="0" y="64"/>
                      </a:moveTo>
                      <a:cubicBezTo>
                        <a:pt x="18" y="64"/>
                        <a:pt x="33" y="50"/>
                        <a:pt x="33" y="32"/>
                      </a:cubicBezTo>
                      <a:cubicBezTo>
                        <a:pt x="33" y="14"/>
                        <a:pt x="18" y="0"/>
                        <a:pt x="0" y="0"/>
                      </a:cubicBezTo>
                      <a:lnTo>
                        <a:pt x="0" y="64"/>
                      </a:lnTo>
                      <a:close/>
                    </a:path>
                  </a:pathLst>
                </a:custGeom>
                <a:solidFill>
                  <a:srgbClr val="26262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8" name="Freeform 753"/>
                <p:cNvSpPr>
                  <a:spLocks/>
                </p:cNvSpPr>
                <p:nvPr/>
              </p:nvSpPr>
              <p:spPr bwMode="auto">
                <a:xfrm>
                  <a:off x="947" y="1697"/>
                  <a:ext cx="5" cy="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9" y="18"/>
                    </a:cxn>
                    <a:cxn ang="0">
                      <a:pos x="0" y="3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" h="36">
                      <a:moveTo>
                        <a:pt x="0" y="0"/>
                      </a:moveTo>
                      <a:cubicBezTo>
                        <a:pt x="10" y="0"/>
                        <a:pt x="19" y="8"/>
                        <a:pt x="19" y="18"/>
                      </a:cubicBezTo>
                      <a:cubicBezTo>
                        <a:pt x="19" y="28"/>
                        <a:pt x="10" y="36"/>
                        <a:pt x="0" y="3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62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29" name="Freeform 754"/>
                <p:cNvSpPr>
                  <a:spLocks/>
                </p:cNvSpPr>
                <p:nvPr/>
              </p:nvSpPr>
              <p:spPr bwMode="auto">
                <a:xfrm>
                  <a:off x="947" y="1698"/>
                  <a:ext cx="4" cy="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4" y="14"/>
                    </a:cxn>
                    <a:cxn ang="0">
                      <a:pos x="0" y="2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" h="28">
                      <a:moveTo>
                        <a:pt x="0" y="0"/>
                      </a:moveTo>
                      <a:cubicBezTo>
                        <a:pt x="8" y="0"/>
                        <a:pt x="14" y="6"/>
                        <a:pt x="14" y="14"/>
                      </a:cubicBezTo>
                      <a:cubicBezTo>
                        <a:pt x="14" y="22"/>
                        <a:pt x="8" y="28"/>
                        <a:pt x="0" y="2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0" name="Freeform 755"/>
                <p:cNvSpPr>
                  <a:spLocks/>
                </p:cNvSpPr>
                <p:nvPr/>
              </p:nvSpPr>
              <p:spPr bwMode="auto">
                <a:xfrm>
                  <a:off x="947" y="1751"/>
                  <a:ext cx="7" cy="1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6" y="26"/>
                    </a:cxn>
                    <a:cxn ang="0">
                      <a:pos x="0" y="5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6" h="52">
                      <a:moveTo>
                        <a:pt x="0" y="0"/>
                      </a:moveTo>
                      <a:cubicBezTo>
                        <a:pt x="15" y="0"/>
                        <a:pt x="26" y="12"/>
                        <a:pt x="26" y="26"/>
                      </a:cubicBezTo>
                      <a:cubicBezTo>
                        <a:pt x="26" y="40"/>
                        <a:pt x="15" y="52"/>
                        <a:pt x="0" y="5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1" name="Freeform 756"/>
                <p:cNvSpPr>
                  <a:spLocks/>
                </p:cNvSpPr>
                <p:nvPr/>
              </p:nvSpPr>
              <p:spPr bwMode="auto">
                <a:xfrm>
                  <a:off x="947" y="1678"/>
                  <a:ext cx="7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6" y="26"/>
                    </a:cxn>
                    <a:cxn ang="0">
                      <a:pos x="0" y="5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6" h="52">
                      <a:moveTo>
                        <a:pt x="0" y="0"/>
                      </a:moveTo>
                      <a:cubicBezTo>
                        <a:pt x="15" y="0"/>
                        <a:pt x="26" y="12"/>
                        <a:pt x="26" y="26"/>
                      </a:cubicBezTo>
                      <a:cubicBezTo>
                        <a:pt x="26" y="40"/>
                        <a:pt x="15" y="52"/>
                        <a:pt x="0" y="5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2" name="Freeform 757"/>
                <p:cNvSpPr>
                  <a:spLocks/>
                </p:cNvSpPr>
                <p:nvPr/>
              </p:nvSpPr>
              <p:spPr bwMode="auto">
                <a:xfrm>
                  <a:off x="947" y="1735"/>
                  <a:ext cx="5" cy="10"/>
                </a:xfrm>
                <a:custGeom>
                  <a:avLst/>
                  <a:gdLst/>
                  <a:ahLst/>
                  <a:cxnLst>
                    <a:cxn ang="0">
                      <a:pos x="0" y="37"/>
                    </a:cxn>
                    <a:cxn ang="0">
                      <a:pos x="19" y="18"/>
                    </a:cxn>
                    <a:cxn ang="0">
                      <a:pos x="0" y="0"/>
                    </a:cxn>
                    <a:cxn ang="0">
                      <a:pos x="0" y="37"/>
                    </a:cxn>
                  </a:cxnLst>
                  <a:rect l="0" t="0" r="r" b="b"/>
                  <a:pathLst>
                    <a:path w="19" h="37">
                      <a:moveTo>
                        <a:pt x="0" y="37"/>
                      </a:moveTo>
                      <a:cubicBezTo>
                        <a:pt x="10" y="37"/>
                        <a:pt x="19" y="28"/>
                        <a:pt x="19" y="18"/>
                      </a:cubicBezTo>
                      <a:cubicBezTo>
                        <a:pt x="19" y="8"/>
                        <a:pt x="10" y="0"/>
                        <a:pt x="0" y="0"/>
                      </a:cubicBezTo>
                      <a:lnTo>
                        <a:pt x="0" y="37"/>
                      </a:lnTo>
                      <a:close/>
                    </a:path>
                  </a:pathLst>
                </a:custGeom>
                <a:solidFill>
                  <a:srgbClr val="26262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3" name="Freeform 758"/>
                <p:cNvSpPr>
                  <a:spLocks/>
                </p:cNvSpPr>
                <p:nvPr/>
              </p:nvSpPr>
              <p:spPr bwMode="auto">
                <a:xfrm>
                  <a:off x="947" y="1710"/>
                  <a:ext cx="5" cy="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9" y="19"/>
                    </a:cxn>
                    <a:cxn ang="0">
                      <a:pos x="0" y="3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" h="37">
                      <a:moveTo>
                        <a:pt x="0" y="0"/>
                      </a:moveTo>
                      <a:cubicBezTo>
                        <a:pt x="10" y="0"/>
                        <a:pt x="19" y="9"/>
                        <a:pt x="19" y="19"/>
                      </a:cubicBezTo>
                      <a:cubicBezTo>
                        <a:pt x="19" y="29"/>
                        <a:pt x="10" y="37"/>
                        <a:pt x="0" y="3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62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4" name="Freeform 759"/>
                <p:cNvSpPr>
                  <a:spLocks/>
                </p:cNvSpPr>
                <p:nvPr/>
              </p:nvSpPr>
              <p:spPr bwMode="auto">
                <a:xfrm>
                  <a:off x="947" y="1723"/>
                  <a:ext cx="5" cy="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9" y="18"/>
                    </a:cxn>
                    <a:cxn ang="0">
                      <a:pos x="0" y="3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" h="37">
                      <a:moveTo>
                        <a:pt x="0" y="0"/>
                      </a:moveTo>
                      <a:cubicBezTo>
                        <a:pt x="10" y="0"/>
                        <a:pt x="19" y="8"/>
                        <a:pt x="19" y="18"/>
                      </a:cubicBezTo>
                      <a:cubicBezTo>
                        <a:pt x="19" y="29"/>
                        <a:pt x="10" y="37"/>
                        <a:pt x="0" y="3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6262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5" name="Freeform 760"/>
                <p:cNvSpPr>
                  <a:spLocks noEditPoints="1"/>
                </p:cNvSpPr>
                <p:nvPr/>
              </p:nvSpPr>
              <p:spPr bwMode="auto">
                <a:xfrm>
                  <a:off x="943" y="1680"/>
                  <a:ext cx="9" cy="9"/>
                </a:xfrm>
                <a:custGeom>
                  <a:avLst/>
                  <a:gdLst/>
                  <a:ahLst/>
                  <a:cxnLst>
                    <a:cxn ang="0">
                      <a:pos x="24" y="19"/>
                    </a:cxn>
                    <a:cxn ang="0">
                      <a:pos x="20" y="22"/>
                    </a:cxn>
                    <a:cxn ang="0">
                      <a:pos x="17" y="19"/>
                    </a:cxn>
                    <a:cxn ang="0">
                      <a:pos x="17" y="3"/>
                    </a:cxn>
                    <a:cxn ang="0">
                      <a:pos x="20" y="0"/>
                    </a:cxn>
                    <a:cxn ang="0">
                      <a:pos x="24" y="3"/>
                    </a:cxn>
                    <a:cxn ang="0">
                      <a:pos x="24" y="19"/>
                    </a:cxn>
                    <a:cxn ang="0">
                      <a:pos x="29" y="9"/>
                    </a:cxn>
                    <a:cxn ang="0">
                      <a:pos x="29" y="4"/>
                    </a:cxn>
                    <a:cxn ang="0">
                      <a:pos x="34" y="4"/>
                    </a:cxn>
                    <a:cxn ang="0">
                      <a:pos x="38" y="10"/>
                    </a:cxn>
                    <a:cxn ang="0">
                      <a:pos x="38" y="10"/>
                    </a:cxn>
                    <a:cxn ang="0">
                      <a:pos x="40" y="19"/>
                    </a:cxn>
                    <a:cxn ang="0">
                      <a:pos x="34" y="33"/>
                    </a:cxn>
                    <a:cxn ang="0">
                      <a:pos x="34" y="33"/>
                    </a:cxn>
                    <a:cxn ang="0">
                      <a:pos x="34" y="33"/>
                    </a:cxn>
                    <a:cxn ang="0">
                      <a:pos x="34" y="33"/>
                    </a:cxn>
                    <a:cxn ang="0">
                      <a:pos x="20" y="38"/>
                    </a:cxn>
                    <a:cxn ang="0">
                      <a:pos x="6" y="33"/>
                    </a:cxn>
                    <a:cxn ang="0">
                      <a:pos x="6" y="33"/>
                    </a:cxn>
                    <a:cxn ang="0">
                      <a:pos x="6" y="33"/>
                    </a:cxn>
                    <a:cxn ang="0">
                      <a:pos x="6" y="33"/>
                    </a:cxn>
                    <a:cxn ang="0">
                      <a:pos x="0" y="19"/>
                    </a:cxn>
                    <a:cxn ang="0">
                      <a:pos x="2" y="10"/>
                    </a:cxn>
                    <a:cxn ang="0">
                      <a:pos x="2" y="10"/>
                    </a:cxn>
                    <a:cxn ang="0">
                      <a:pos x="7" y="4"/>
                    </a:cxn>
                    <a:cxn ang="0">
                      <a:pos x="12" y="4"/>
                    </a:cxn>
                    <a:cxn ang="0">
                      <a:pos x="12" y="9"/>
                    </a:cxn>
                    <a:cxn ang="0">
                      <a:pos x="9" y="13"/>
                    </a:cxn>
                    <a:cxn ang="0">
                      <a:pos x="9" y="13"/>
                    </a:cxn>
                    <a:cxn ang="0">
                      <a:pos x="8" y="19"/>
                    </a:cxn>
                    <a:cxn ang="0">
                      <a:pos x="11" y="27"/>
                    </a:cxn>
                    <a:cxn ang="0">
                      <a:pos x="11" y="27"/>
                    </a:cxn>
                    <a:cxn ang="0">
                      <a:pos x="20" y="31"/>
                    </a:cxn>
                    <a:cxn ang="0">
                      <a:pos x="29" y="27"/>
                    </a:cxn>
                    <a:cxn ang="0">
                      <a:pos x="29" y="27"/>
                    </a:cxn>
                    <a:cxn ang="0">
                      <a:pos x="33" y="19"/>
                    </a:cxn>
                    <a:cxn ang="0">
                      <a:pos x="32" y="13"/>
                    </a:cxn>
                    <a:cxn ang="0">
                      <a:pos x="32" y="13"/>
                    </a:cxn>
                    <a:cxn ang="0">
                      <a:pos x="32" y="13"/>
                    </a:cxn>
                    <a:cxn ang="0">
                      <a:pos x="29" y="9"/>
                    </a:cxn>
                  </a:cxnLst>
                  <a:rect l="0" t="0" r="r" b="b"/>
                  <a:pathLst>
                    <a:path w="40" h="38">
                      <a:moveTo>
                        <a:pt x="24" y="19"/>
                      </a:moveTo>
                      <a:cubicBezTo>
                        <a:pt x="24" y="20"/>
                        <a:pt x="22" y="22"/>
                        <a:pt x="20" y="22"/>
                      </a:cubicBezTo>
                      <a:cubicBezTo>
                        <a:pt x="18" y="22"/>
                        <a:pt x="17" y="20"/>
                        <a:pt x="17" y="19"/>
                      </a:cubicBezTo>
                      <a:lnTo>
                        <a:pt x="17" y="3"/>
                      </a:lnTo>
                      <a:cubicBezTo>
                        <a:pt x="17" y="1"/>
                        <a:pt x="18" y="0"/>
                        <a:pt x="20" y="0"/>
                      </a:cubicBezTo>
                      <a:cubicBezTo>
                        <a:pt x="22" y="0"/>
                        <a:pt x="24" y="1"/>
                        <a:pt x="24" y="3"/>
                      </a:cubicBezTo>
                      <a:lnTo>
                        <a:pt x="24" y="19"/>
                      </a:lnTo>
                      <a:close/>
                      <a:moveTo>
                        <a:pt x="29" y="9"/>
                      </a:moveTo>
                      <a:cubicBezTo>
                        <a:pt x="27" y="8"/>
                        <a:pt x="27" y="5"/>
                        <a:pt x="29" y="4"/>
                      </a:cubicBezTo>
                      <a:cubicBezTo>
                        <a:pt x="30" y="3"/>
                        <a:pt x="32" y="2"/>
                        <a:pt x="34" y="4"/>
                      </a:cubicBezTo>
                      <a:cubicBezTo>
                        <a:pt x="36" y="6"/>
                        <a:pt x="37" y="8"/>
                        <a:pt x="38" y="10"/>
                      </a:cubicBezTo>
                      <a:lnTo>
                        <a:pt x="38" y="10"/>
                      </a:lnTo>
                      <a:cubicBezTo>
                        <a:pt x="40" y="13"/>
                        <a:pt x="40" y="16"/>
                        <a:pt x="40" y="19"/>
                      </a:cubicBezTo>
                      <a:cubicBezTo>
                        <a:pt x="40" y="24"/>
                        <a:pt x="38" y="29"/>
                        <a:pt x="34" y="33"/>
                      </a:cubicBezTo>
                      <a:lnTo>
                        <a:pt x="34" y="33"/>
                      </a:lnTo>
                      <a:lnTo>
                        <a:pt x="34" y="33"/>
                      </a:lnTo>
                      <a:lnTo>
                        <a:pt x="34" y="33"/>
                      </a:lnTo>
                      <a:cubicBezTo>
                        <a:pt x="31" y="36"/>
                        <a:pt x="26" y="38"/>
                        <a:pt x="20" y="38"/>
                      </a:cubicBezTo>
                      <a:cubicBezTo>
                        <a:pt x="15" y="38"/>
                        <a:pt x="10" y="36"/>
                        <a:pt x="6" y="33"/>
                      </a:cubicBezTo>
                      <a:lnTo>
                        <a:pt x="6" y="33"/>
                      </a:lnTo>
                      <a:lnTo>
                        <a:pt x="6" y="33"/>
                      </a:lnTo>
                      <a:lnTo>
                        <a:pt x="6" y="33"/>
                      </a:lnTo>
                      <a:cubicBezTo>
                        <a:pt x="3" y="29"/>
                        <a:pt x="0" y="24"/>
                        <a:pt x="0" y="19"/>
                      </a:cubicBezTo>
                      <a:cubicBezTo>
                        <a:pt x="0" y="16"/>
                        <a:pt x="1" y="13"/>
                        <a:pt x="2" y="10"/>
                      </a:cubicBezTo>
                      <a:cubicBezTo>
                        <a:pt x="2" y="10"/>
                        <a:pt x="2" y="10"/>
                        <a:pt x="2" y="10"/>
                      </a:cubicBezTo>
                      <a:cubicBezTo>
                        <a:pt x="3" y="8"/>
                        <a:pt x="5" y="6"/>
                        <a:pt x="7" y="4"/>
                      </a:cubicBezTo>
                      <a:cubicBezTo>
                        <a:pt x="8" y="2"/>
                        <a:pt x="11" y="3"/>
                        <a:pt x="12" y="4"/>
                      </a:cubicBezTo>
                      <a:cubicBezTo>
                        <a:pt x="13" y="5"/>
                        <a:pt x="13" y="8"/>
                        <a:pt x="12" y="9"/>
                      </a:cubicBezTo>
                      <a:cubicBezTo>
                        <a:pt x="10" y="10"/>
                        <a:pt x="9" y="12"/>
                        <a:pt x="9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8" y="15"/>
                        <a:pt x="8" y="17"/>
                        <a:pt x="8" y="19"/>
                      </a:cubicBezTo>
                      <a:cubicBezTo>
                        <a:pt x="8" y="22"/>
                        <a:pt x="9" y="25"/>
                        <a:pt x="11" y="27"/>
                      </a:cubicBezTo>
                      <a:lnTo>
                        <a:pt x="11" y="27"/>
                      </a:lnTo>
                      <a:cubicBezTo>
                        <a:pt x="14" y="30"/>
                        <a:pt x="17" y="31"/>
                        <a:pt x="20" y="31"/>
                      </a:cubicBezTo>
                      <a:cubicBezTo>
                        <a:pt x="24" y="31"/>
                        <a:pt x="27" y="30"/>
                        <a:pt x="29" y="27"/>
                      </a:cubicBezTo>
                      <a:lnTo>
                        <a:pt x="29" y="27"/>
                      </a:lnTo>
                      <a:cubicBezTo>
                        <a:pt x="32" y="25"/>
                        <a:pt x="33" y="22"/>
                        <a:pt x="33" y="19"/>
                      </a:cubicBezTo>
                      <a:cubicBezTo>
                        <a:pt x="33" y="17"/>
                        <a:pt x="33" y="15"/>
                        <a:pt x="32" y="13"/>
                      </a:cubicBezTo>
                      <a:lnTo>
                        <a:pt x="32" y="13"/>
                      </a:lnTo>
                      <a:lnTo>
                        <a:pt x="32" y="13"/>
                      </a:lnTo>
                      <a:cubicBezTo>
                        <a:pt x="31" y="12"/>
                        <a:pt x="30" y="10"/>
                        <a:pt x="29" y="9"/>
                      </a:cubicBezTo>
                      <a:close/>
                    </a:path>
                  </a:pathLst>
                </a:custGeom>
                <a:solidFill>
                  <a:srgbClr val="4DADC7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6" name="Freeform 761"/>
                <p:cNvSpPr>
                  <a:spLocks noEditPoints="1"/>
                </p:cNvSpPr>
                <p:nvPr/>
              </p:nvSpPr>
              <p:spPr bwMode="auto">
                <a:xfrm>
                  <a:off x="947" y="1680"/>
                  <a:ext cx="5" cy="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22"/>
                    </a:cxn>
                    <a:cxn ang="0">
                      <a:pos x="4" y="19"/>
                    </a:cxn>
                    <a:cxn ang="0">
                      <a:pos x="4" y="3"/>
                    </a:cxn>
                    <a:cxn ang="0">
                      <a:pos x="0" y="0"/>
                    </a:cxn>
                    <a:cxn ang="0">
                      <a:pos x="9" y="9"/>
                    </a:cxn>
                    <a:cxn ang="0">
                      <a:pos x="9" y="4"/>
                    </a:cxn>
                    <a:cxn ang="0">
                      <a:pos x="14" y="4"/>
                    </a:cxn>
                    <a:cxn ang="0">
                      <a:pos x="18" y="10"/>
                    </a:cxn>
                    <a:cxn ang="0">
                      <a:pos x="18" y="10"/>
                    </a:cxn>
                    <a:cxn ang="0">
                      <a:pos x="20" y="19"/>
                    </a:cxn>
                    <a:cxn ang="0">
                      <a:pos x="14" y="33"/>
                    </a:cxn>
                    <a:cxn ang="0">
                      <a:pos x="14" y="33"/>
                    </a:cxn>
                    <a:cxn ang="0">
                      <a:pos x="14" y="33"/>
                    </a:cxn>
                    <a:cxn ang="0">
                      <a:pos x="14" y="33"/>
                    </a:cxn>
                    <a:cxn ang="0">
                      <a:pos x="0" y="38"/>
                    </a:cxn>
                    <a:cxn ang="0">
                      <a:pos x="0" y="31"/>
                    </a:cxn>
                    <a:cxn ang="0">
                      <a:pos x="9" y="27"/>
                    </a:cxn>
                    <a:cxn ang="0">
                      <a:pos x="9" y="27"/>
                    </a:cxn>
                    <a:cxn ang="0">
                      <a:pos x="13" y="19"/>
                    </a:cxn>
                    <a:cxn ang="0">
                      <a:pos x="12" y="13"/>
                    </a:cxn>
                    <a:cxn ang="0">
                      <a:pos x="12" y="13"/>
                    </a:cxn>
                    <a:cxn ang="0">
                      <a:pos x="12" y="13"/>
                    </a:cxn>
                    <a:cxn ang="0">
                      <a:pos x="9" y="9"/>
                    </a:cxn>
                  </a:cxnLst>
                  <a:rect l="0" t="0" r="r" b="b"/>
                  <a:pathLst>
                    <a:path w="20" h="38">
                      <a:moveTo>
                        <a:pt x="0" y="0"/>
                      </a:moveTo>
                      <a:lnTo>
                        <a:pt x="0" y="22"/>
                      </a:lnTo>
                      <a:cubicBezTo>
                        <a:pt x="2" y="22"/>
                        <a:pt x="4" y="20"/>
                        <a:pt x="4" y="19"/>
                      </a:cubicBezTo>
                      <a:lnTo>
                        <a:pt x="4" y="3"/>
                      </a:lnTo>
                      <a:cubicBezTo>
                        <a:pt x="4" y="1"/>
                        <a:pt x="2" y="0"/>
                        <a:pt x="0" y="0"/>
                      </a:cubicBezTo>
                      <a:close/>
                      <a:moveTo>
                        <a:pt x="9" y="9"/>
                      </a:moveTo>
                      <a:cubicBezTo>
                        <a:pt x="7" y="8"/>
                        <a:pt x="7" y="5"/>
                        <a:pt x="9" y="4"/>
                      </a:cubicBezTo>
                      <a:cubicBezTo>
                        <a:pt x="10" y="3"/>
                        <a:pt x="12" y="2"/>
                        <a:pt x="14" y="4"/>
                      </a:cubicBezTo>
                      <a:cubicBezTo>
                        <a:pt x="16" y="6"/>
                        <a:pt x="17" y="8"/>
                        <a:pt x="18" y="10"/>
                      </a:cubicBezTo>
                      <a:lnTo>
                        <a:pt x="18" y="10"/>
                      </a:lnTo>
                      <a:cubicBezTo>
                        <a:pt x="20" y="13"/>
                        <a:pt x="20" y="16"/>
                        <a:pt x="20" y="19"/>
                      </a:cubicBezTo>
                      <a:cubicBezTo>
                        <a:pt x="20" y="24"/>
                        <a:pt x="18" y="29"/>
                        <a:pt x="14" y="33"/>
                      </a:cubicBezTo>
                      <a:lnTo>
                        <a:pt x="14" y="33"/>
                      </a:lnTo>
                      <a:lnTo>
                        <a:pt x="14" y="33"/>
                      </a:lnTo>
                      <a:lnTo>
                        <a:pt x="14" y="33"/>
                      </a:lnTo>
                      <a:cubicBezTo>
                        <a:pt x="11" y="36"/>
                        <a:pt x="6" y="38"/>
                        <a:pt x="0" y="38"/>
                      </a:cubicBezTo>
                      <a:lnTo>
                        <a:pt x="0" y="31"/>
                      </a:lnTo>
                      <a:cubicBezTo>
                        <a:pt x="4" y="31"/>
                        <a:pt x="7" y="30"/>
                        <a:pt x="9" y="27"/>
                      </a:cubicBezTo>
                      <a:lnTo>
                        <a:pt x="9" y="27"/>
                      </a:lnTo>
                      <a:cubicBezTo>
                        <a:pt x="12" y="25"/>
                        <a:pt x="13" y="22"/>
                        <a:pt x="13" y="19"/>
                      </a:cubicBezTo>
                      <a:cubicBezTo>
                        <a:pt x="13" y="17"/>
                        <a:pt x="13" y="15"/>
                        <a:pt x="12" y="13"/>
                      </a:cubicBezTo>
                      <a:lnTo>
                        <a:pt x="12" y="13"/>
                      </a:lnTo>
                      <a:lnTo>
                        <a:pt x="12" y="13"/>
                      </a:lnTo>
                      <a:cubicBezTo>
                        <a:pt x="11" y="12"/>
                        <a:pt x="10" y="10"/>
                        <a:pt x="9" y="9"/>
                      </a:cubicBezTo>
                      <a:close/>
                    </a:path>
                  </a:pathLst>
                </a:custGeom>
                <a:solidFill>
                  <a:srgbClr val="3B9CB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7" name="Oval 762"/>
                <p:cNvSpPr>
                  <a:spLocks noChangeArrowheads="1"/>
                </p:cNvSpPr>
                <p:nvPr/>
              </p:nvSpPr>
              <p:spPr bwMode="auto">
                <a:xfrm>
                  <a:off x="944" y="1711"/>
                  <a:ext cx="7" cy="7"/>
                </a:xfrm>
                <a:prstGeom prst="ellipse">
                  <a:avLst/>
                </a:pr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8" name="Oval 763"/>
                <p:cNvSpPr>
                  <a:spLocks noChangeArrowheads="1"/>
                </p:cNvSpPr>
                <p:nvPr/>
              </p:nvSpPr>
              <p:spPr bwMode="auto">
                <a:xfrm>
                  <a:off x="944" y="1724"/>
                  <a:ext cx="7" cy="6"/>
                </a:xfrm>
                <a:prstGeom prst="ellipse">
                  <a:avLst/>
                </a:pr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39" name="Oval 764"/>
                <p:cNvSpPr>
                  <a:spLocks noChangeArrowheads="1"/>
                </p:cNvSpPr>
                <p:nvPr/>
              </p:nvSpPr>
              <p:spPr bwMode="auto">
                <a:xfrm>
                  <a:off x="944" y="1736"/>
                  <a:ext cx="7" cy="7"/>
                </a:xfrm>
                <a:prstGeom prst="ellipse">
                  <a:avLst/>
                </a:prstGeom>
                <a:solidFill>
                  <a:srgbClr val="4C4C4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0" name="Freeform 765"/>
                <p:cNvSpPr>
                  <a:spLocks/>
                </p:cNvSpPr>
                <p:nvPr/>
              </p:nvSpPr>
              <p:spPr bwMode="auto">
                <a:xfrm>
                  <a:off x="947" y="1711"/>
                  <a:ext cx="4" cy="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4" y="14"/>
                    </a:cxn>
                    <a:cxn ang="0">
                      <a:pos x="0" y="2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" h="28">
                      <a:moveTo>
                        <a:pt x="0" y="0"/>
                      </a:moveTo>
                      <a:cubicBezTo>
                        <a:pt x="8" y="0"/>
                        <a:pt x="14" y="6"/>
                        <a:pt x="14" y="14"/>
                      </a:cubicBezTo>
                      <a:cubicBezTo>
                        <a:pt x="14" y="21"/>
                        <a:pt x="8" y="28"/>
                        <a:pt x="0" y="2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1" name="Freeform 766"/>
                <p:cNvSpPr>
                  <a:spLocks/>
                </p:cNvSpPr>
                <p:nvPr/>
              </p:nvSpPr>
              <p:spPr bwMode="auto">
                <a:xfrm>
                  <a:off x="947" y="1724"/>
                  <a:ext cx="4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4" y="13"/>
                    </a:cxn>
                    <a:cxn ang="0">
                      <a:pos x="0" y="2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" h="27">
                      <a:moveTo>
                        <a:pt x="0" y="0"/>
                      </a:moveTo>
                      <a:cubicBezTo>
                        <a:pt x="8" y="0"/>
                        <a:pt x="14" y="6"/>
                        <a:pt x="14" y="13"/>
                      </a:cubicBezTo>
                      <a:cubicBezTo>
                        <a:pt x="14" y="21"/>
                        <a:pt x="8" y="27"/>
                        <a:pt x="0" y="2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2" name="Freeform 767"/>
                <p:cNvSpPr>
                  <a:spLocks/>
                </p:cNvSpPr>
                <p:nvPr/>
              </p:nvSpPr>
              <p:spPr bwMode="auto">
                <a:xfrm>
                  <a:off x="947" y="1736"/>
                  <a:ext cx="4" cy="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4" y="14"/>
                    </a:cxn>
                    <a:cxn ang="0">
                      <a:pos x="0" y="2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" h="28">
                      <a:moveTo>
                        <a:pt x="0" y="0"/>
                      </a:moveTo>
                      <a:cubicBezTo>
                        <a:pt x="8" y="0"/>
                        <a:pt x="14" y="7"/>
                        <a:pt x="14" y="14"/>
                      </a:cubicBezTo>
                      <a:cubicBezTo>
                        <a:pt x="14" y="22"/>
                        <a:pt x="8" y="28"/>
                        <a:pt x="0" y="2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3" name="Rectangle 768"/>
                <p:cNvSpPr>
                  <a:spLocks noChangeArrowheads="1"/>
                </p:cNvSpPr>
                <p:nvPr/>
              </p:nvSpPr>
              <p:spPr bwMode="auto">
                <a:xfrm>
                  <a:off x="1052" y="1914"/>
                  <a:ext cx="293" cy="5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4" name="Freeform 769"/>
                <p:cNvSpPr>
                  <a:spLocks noEditPoints="1"/>
                </p:cNvSpPr>
                <p:nvPr/>
              </p:nvSpPr>
              <p:spPr bwMode="auto">
                <a:xfrm>
                  <a:off x="1050" y="1912"/>
                  <a:ext cx="297" cy="55"/>
                </a:xfrm>
                <a:custGeom>
                  <a:avLst/>
                  <a:gdLst/>
                  <a:ahLst/>
                  <a:cxnLst>
                    <a:cxn ang="0">
                      <a:pos x="1206" y="17"/>
                    </a:cxn>
                    <a:cxn ang="0">
                      <a:pos x="16" y="17"/>
                    </a:cxn>
                    <a:cxn ang="0">
                      <a:pos x="16" y="208"/>
                    </a:cxn>
                    <a:cxn ang="0">
                      <a:pos x="1206" y="208"/>
                    </a:cxn>
                    <a:cxn ang="0">
                      <a:pos x="1206" y="17"/>
                    </a:cxn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2" y="0"/>
                    </a:cxn>
                    <a:cxn ang="0">
                      <a:pos x="1222" y="9"/>
                    </a:cxn>
                    <a:cxn ang="0">
                      <a:pos x="1222" y="217"/>
                    </a:cxn>
                    <a:cxn ang="0">
                      <a:pos x="1222" y="225"/>
                    </a:cxn>
                    <a:cxn ang="0">
                      <a:pos x="1214" y="225"/>
                    </a:cxn>
                    <a:cxn ang="0">
                      <a:pos x="8" y="225"/>
                    </a:cxn>
                    <a:cxn ang="0">
                      <a:pos x="0" y="225"/>
                    </a:cxn>
                    <a:cxn ang="0">
                      <a:pos x="0" y="217"/>
                    </a:cxn>
                    <a:cxn ang="0">
                      <a:pos x="0" y="9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2" h="225">
                      <a:moveTo>
                        <a:pt x="1206" y="17"/>
                      </a:moveTo>
                      <a:lnTo>
                        <a:pt x="16" y="17"/>
                      </a:lnTo>
                      <a:lnTo>
                        <a:pt x="16" y="208"/>
                      </a:lnTo>
                      <a:lnTo>
                        <a:pt x="1206" y="208"/>
                      </a:lnTo>
                      <a:lnTo>
                        <a:pt x="1206" y="17"/>
                      </a:lnTo>
                      <a:close/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2" y="0"/>
                      </a:lnTo>
                      <a:lnTo>
                        <a:pt x="1222" y="9"/>
                      </a:lnTo>
                      <a:lnTo>
                        <a:pt x="1222" y="217"/>
                      </a:lnTo>
                      <a:lnTo>
                        <a:pt x="1222" y="225"/>
                      </a:lnTo>
                      <a:lnTo>
                        <a:pt x="1214" y="225"/>
                      </a:lnTo>
                      <a:lnTo>
                        <a:pt x="8" y="225"/>
                      </a:lnTo>
                      <a:lnTo>
                        <a:pt x="0" y="225"/>
                      </a:lnTo>
                      <a:lnTo>
                        <a:pt x="0" y="217"/>
                      </a:lnTo>
                      <a:lnTo>
                        <a:pt x="0" y="9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5" name="Freeform 770"/>
                <p:cNvSpPr>
                  <a:spLocks/>
                </p:cNvSpPr>
                <p:nvPr/>
              </p:nvSpPr>
              <p:spPr bwMode="auto">
                <a:xfrm>
                  <a:off x="1050" y="1912"/>
                  <a:ext cx="297" cy="28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2" y="0"/>
                    </a:cxn>
                    <a:cxn ang="0">
                      <a:pos x="1222" y="9"/>
                    </a:cxn>
                    <a:cxn ang="0">
                      <a:pos x="1222" y="113"/>
                    </a:cxn>
                    <a:cxn ang="0">
                      <a:pos x="1206" y="113"/>
                    </a:cxn>
                    <a:cxn ang="0">
                      <a:pos x="1206" y="17"/>
                    </a:cxn>
                    <a:cxn ang="0">
                      <a:pos x="16" y="17"/>
                    </a:cxn>
                    <a:cxn ang="0">
                      <a:pos x="16" y="113"/>
                    </a:cxn>
                    <a:cxn ang="0">
                      <a:pos x="0" y="113"/>
                    </a:cxn>
                    <a:cxn ang="0">
                      <a:pos x="0" y="9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2" h="113"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2" y="0"/>
                      </a:lnTo>
                      <a:lnTo>
                        <a:pt x="1222" y="9"/>
                      </a:lnTo>
                      <a:lnTo>
                        <a:pt x="1222" y="113"/>
                      </a:lnTo>
                      <a:lnTo>
                        <a:pt x="1206" y="113"/>
                      </a:lnTo>
                      <a:lnTo>
                        <a:pt x="1206" y="17"/>
                      </a:lnTo>
                      <a:lnTo>
                        <a:pt x="16" y="17"/>
                      </a:lnTo>
                      <a:lnTo>
                        <a:pt x="16" y="113"/>
                      </a:lnTo>
                      <a:lnTo>
                        <a:pt x="0" y="113"/>
                      </a:lnTo>
                      <a:lnTo>
                        <a:pt x="0" y="9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6" name="Freeform 771"/>
                <p:cNvSpPr>
                  <a:spLocks noEditPoints="1"/>
                </p:cNvSpPr>
                <p:nvPr/>
              </p:nvSpPr>
              <p:spPr bwMode="auto">
                <a:xfrm>
                  <a:off x="1052" y="1914"/>
                  <a:ext cx="250" cy="51"/>
                </a:xfrm>
                <a:custGeom>
                  <a:avLst/>
                  <a:gdLst/>
                  <a:ahLst/>
                  <a:cxnLst>
                    <a:cxn ang="0">
                      <a:pos x="776" y="180"/>
                    </a:cxn>
                    <a:cxn ang="0">
                      <a:pos x="765" y="191"/>
                    </a:cxn>
                    <a:cxn ang="0">
                      <a:pos x="776" y="136"/>
                    </a:cxn>
                    <a:cxn ang="0">
                      <a:pos x="743" y="191"/>
                    </a:cxn>
                    <a:cxn ang="0">
                      <a:pos x="678" y="191"/>
                    </a:cxn>
                    <a:cxn ang="0">
                      <a:pos x="776" y="114"/>
                    </a:cxn>
                    <a:cxn ang="0">
                      <a:pos x="678" y="191"/>
                    </a:cxn>
                    <a:cxn ang="0">
                      <a:pos x="776" y="49"/>
                    </a:cxn>
                    <a:cxn ang="0">
                      <a:pos x="656" y="191"/>
                    </a:cxn>
                    <a:cxn ang="0">
                      <a:pos x="591" y="191"/>
                    </a:cxn>
                    <a:cxn ang="0">
                      <a:pos x="776" y="16"/>
                    </a:cxn>
                    <a:cxn ang="0">
                      <a:pos x="613" y="191"/>
                    </a:cxn>
                    <a:cxn ang="0">
                      <a:pos x="547" y="191"/>
                    </a:cxn>
                    <a:cxn ang="0">
                      <a:pos x="745" y="16"/>
                    </a:cxn>
                    <a:cxn ang="0">
                      <a:pos x="547" y="191"/>
                    </a:cxn>
                    <a:cxn ang="0">
                      <a:pos x="679" y="16"/>
                    </a:cxn>
                    <a:cxn ang="0">
                      <a:pos x="526" y="191"/>
                    </a:cxn>
                    <a:cxn ang="0">
                      <a:pos x="461" y="191"/>
                    </a:cxn>
                    <a:cxn ang="0">
                      <a:pos x="658" y="16"/>
                    </a:cxn>
                    <a:cxn ang="0">
                      <a:pos x="461" y="191"/>
                    </a:cxn>
                    <a:cxn ang="0">
                      <a:pos x="593" y="16"/>
                    </a:cxn>
                    <a:cxn ang="0">
                      <a:pos x="439" y="191"/>
                    </a:cxn>
                    <a:cxn ang="0">
                      <a:pos x="374" y="191"/>
                    </a:cxn>
                    <a:cxn ang="0">
                      <a:pos x="571" y="16"/>
                    </a:cxn>
                    <a:cxn ang="0">
                      <a:pos x="374" y="191"/>
                    </a:cxn>
                    <a:cxn ang="0">
                      <a:pos x="506" y="16"/>
                    </a:cxn>
                    <a:cxn ang="0">
                      <a:pos x="352" y="191"/>
                    </a:cxn>
                    <a:cxn ang="0">
                      <a:pos x="287" y="191"/>
                    </a:cxn>
                    <a:cxn ang="0">
                      <a:pos x="484" y="16"/>
                    </a:cxn>
                    <a:cxn ang="0">
                      <a:pos x="287" y="191"/>
                    </a:cxn>
                    <a:cxn ang="0">
                      <a:pos x="419" y="16"/>
                    </a:cxn>
                    <a:cxn ang="0">
                      <a:pos x="265" y="191"/>
                    </a:cxn>
                    <a:cxn ang="0">
                      <a:pos x="200" y="191"/>
                    </a:cxn>
                    <a:cxn ang="0">
                      <a:pos x="397" y="16"/>
                    </a:cxn>
                    <a:cxn ang="0">
                      <a:pos x="200" y="191"/>
                    </a:cxn>
                    <a:cxn ang="0">
                      <a:pos x="332" y="16"/>
                    </a:cxn>
                    <a:cxn ang="0">
                      <a:pos x="178" y="191"/>
                    </a:cxn>
                    <a:cxn ang="0">
                      <a:pos x="113" y="191"/>
                    </a:cxn>
                    <a:cxn ang="0">
                      <a:pos x="310" y="16"/>
                    </a:cxn>
                    <a:cxn ang="0">
                      <a:pos x="113" y="191"/>
                    </a:cxn>
                    <a:cxn ang="0">
                      <a:pos x="245" y="16"/>
                    </a:cxn>
                    <a:cxn ang="0">
                      <a:pos x="91" y="191"/>
                    </a:cxn>
                    <a:cxn ang="0">
                      <a:pos x="26" y="191"/>
                    </a:cxn>
                    <a:cxn ang="0">
                      <a:pos x="223" y="16"/>
                    </a:cxn>
                    <a:cxn ang="0">
                      <a:pos x="26" y="191"/>
                    </a:cxn>
                    <a:cxn ang="0">
                      <a:pos x="158" y="16"/>
                    </a:cxn>
                    <a:cxn ang="0">
                      <a:pos x="17" y="179"/>
                    </a:cxn>
                    <a:cxn ang="0">
                      <a:pos x="17" y="114"/>
                    </a:cxn>
                    <a:cxn ang="0">
                      <a:pos x="136" y="16"/>
                    </a:cxn>
                    <a:cxn ang="0">
                      <a:pos x="17" y="114"/>
                    </a:cxn>
                    <a:cxn ang="0">
                      <a:pos x="71" y="16"/>
                    </a:cxn>
                    <a:cxn ang="0">
                      <a:pos x="17" y="92"/>
                    </a:cxn>
                    <a:cxn ang="0">
                      <a:pos x="17" y="27"/>
                    </a:cxn>
                    <a:cxn ang="0">
                      <a:pos x="50" y="16"/>
                    </a:cxn>
                    <a:cxn ang="0">
                      <a:pos x="17" y="27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208"/>
                    </a:cxn>
                    <a:cxn ang="0">
                      <a:pos x="784" y="208"/>
                    </a:cxn>
                    <a:cxn ang="0">
                      <a:pos x="8" y="208"/>
                    </a:cxn>
                    <a:cxn ang="0">
                      <a:pos x="0" y="199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27" h="208">
                      <a:moveTo>
                        <a:pt x="765" y="191"/>
                      </a:moveTo>
                      <a:lnTo>
                        <a:pt x="776" y="180"/>
                      </a:lnTo>
                      <a:lnTo>
                        <a:pt x="776" y="191"/>
                      </a:lnTo>
                      <a:lnTo>
                        <a:pt x="765" y="191"/>
                      </a:lnTo>
                      <a:close/>
                      <a:moveTo>
                        <a:pt x="721" y="191"/>
                      </a:moveTo>
                      <a:lnTo>
                        <a:pt x="776" y="136"/>
                      </a:lnTo>
                      <a:lnTo>
                        <a:pt x="776" y="158"/>
                      </a:lnTo>
                      <a:lnTo>
                        <a:pt x="743" y="191"/>
                      </a:lnTo>
                      <a:lnTo>
                        <a:pt x="721" y="191"/>
                      </a:lnTo>
                      <a:close/>
                      <a:moveTo>
                        <a:pt x="678" y="191"/>
                      </a:moveTo>
                      <a:lnTo>
                        <a:pt x="776" y="93"/>
                      </a:lnTo>
                      <a:lnTo>
                        <a:pt x="776" y="114"/>
                      </a:lnTo>
                      <a:lnTo>
                        <a:pt x="700" y="191"/>
                      </a:lnTo>
                      <a:lnTo>
                        <a:pt x="678" y="191"/>
                      </a:lnTo>
                      <a:close/>
                      <a:moveTo>
                        <a:pt x="634" y="191"/>
                      </a:moveTo>
                      <a:lnTo>
                        <a:pt x="776" y="49"/>
                      </a:lnTo>
                      <a:lnTo>
                        <a:pt x="776" y="71"/>
                      </a:lnTo>
                      <a:lnTo>
                        <a:pt x="656" y="191"/>
                      </a:lnTo>
                      <a:lnTo>
                        <a:pt x="634" y="191"/>
                      </a:lnTo>
                      <a:close/>
                      <a:moveTo>
                        <a:pt x="591" y="191"/>
                      </a:moveTo>
                      <a:lnTo>
                        <a:pt x="766" y="16"/>
                      </a:lnTo>
                      <a:lnTo>
                        <a:pt x="776" y="16"/>
                      </a:lnTo>
                      <a:lnTo>
                        <a:pt x="776" y="28"/>
                      </a:lnTo>
                      <a:lnTo>
                        <a:pt x="613" y="191"/>
                      </a:lnTo>
                      <a:lnTo>
                        <a:pt x="591" y="191"/>
                      </a:lnTo>
                      <a:close/>
                      <a:moveTo>
                        <a:pt x="547" y="191"/>
                      </a:moveTo>
                      <a:lnTo>
                        <a:pt x="723" y="16"/>
                      </a:lnTo>
                      <a:lnTo>
                        <a:pt x="745" y="16"/>
                      </a:lnTo>
                      <a:lnTo>
                        <a:pt x="569" y="191"/>
                      </a:lnTo>
                      <a:lnTo>
                        <a:pt x="547" y="191"/>
                      </a:lnTo>
                      <a:close/>
                      <a:moveTo>
                        <a:pt x="504" y="191"/>
                      </a:moveTo>
                      <a:lnTo>
                        <a:pt x="679" y="16"/>
                      </a:lnTo>
                      <a:lnTo>
                        <a:pt x="701" y="16"/>
                      </a:lnTo>
                      <a:lnTo>
                        <a:pt x="526" y="191"/>
                      </a:lnTo>
                      <a:lnTo>
                        <a:pt x="504" y="191"/>
                      </a:lnTo>
                      <a:close/>
                      <a:moveTo>
                        <a:pt x="461" y="191"/>
                      </a:moveTo>
                      <a:lnTo>
                        <a:pt x="636" y="16"/>
                      </a:lnTo>
                      <a:lnTo>
                        <a:pt x="658" y="16"/>
                      </a:lnTo>
                      <a:lnTo>
                        <a:pt x="482" y="191"/>
                      </a:lnTo>
                      <a:lnTo>
                        <a:pt x="461" y="191"/>
                      </a:lnTo>
                      <a:close/>
                      <a:moveTo>
                        <a:pt x="417" y="191"/>
                      </a:moveTo>
                      <a:lnTo>
                        <a:pt x="593" y="16"/>
                      </a:lnTo>
                      <a:lnTo>
                        <a:pt x="614" y="16"/>
                      </a:lnTo>
                      <a:lnTo>
                        <a:pt x="439" y="191"/>
                      </a:lnTo>
                      <a:lnTo>
                        <a:pt x="417" y="191"/>
                      </a:lnTo>
                      <a:close/>
                      <a:moveTo>
                        <a:pt x="374" y="191"/>
                      </a:moveTo>
                      <a:lnTo>
                        <a:pt x="549" y="16"/>
                      </a:lnTo>
                      <a:lnTo>
                        <a:pt x="571" y="16"/>
                      </a:lnTo>
                      <a:lnTo>
                        <a:pt x="395" y="191"/>
                      </a:lnTo>
                      <a:lnTo>
                        <a:pt x="374" y="191"/>
                      </a:lnTo>
                      <a:close/>
                      <a:moveTo>
                        <a:pt x="330" y="191"/>
                      </a:moveTo>
                      <a:lnTo>
                        <a:pt x="506" y="16"/>
                      </a:lnTo>
                      <a:lnTo>
                        <a:pt x="527" y="16"/>
                      </a:lnTo>
                      <a:lnTo>
                        <a:pt x="352" y="191"/>
                      </a:lnTo>
                      <a:lnTo>
                        <a:pt x="330" y="191"/>
                      </a:lnTo>
                      <a:close/>
                      <a:moveTo>
                        <a:pt x="287" y="191"/>
                      </a:moveTo>
                      <a:lnTo>
                        <a:pt x="462" y="16"/>
                      </a:lnTo>
                      <a:lnTo>
                        <a:pt x="484" y="16"/>
                      </a:lnTo>
                      <a:lnTo>
                        <a:pt x="309" y="191"/>
                      </a:lnTo>
                      <a:lnTo>
                        <a:pt x="287" y="191"/>
                      </a:lnTo>
                      <a:close/>
                      <a:moveTo>
                        <a:pt x="243" y="191"/>
                      </a:moveTo>
                      <a:lnTo>
                        <a:pt x="419" y="16"/>
                      </a:lnTo>
                      <a:lnTo>
                        <a:pt x="440" y="16"/>
                      </a:lnTo>
                      <a:lnTo>
                        <a:pt x="265" y="191"/>
                      </a:lnTo>
                      <a:lnTo>
                        <a:pt x="243" y="191"/>
                      </a:lnTo>
                      <a:close/>
                      <a:moveTo>
                        <a:pt x="200" y="191"/>
                      </a:moveTo>
                      <a:lnTo>
                        <a:pt x="375" y="16"/>
                      </a:lnTo>
                      <a:lnTo>
                        <a:pt x="397" y="16"/>
                      </a:lnTo>
                      <a:lnTo>
                        <a:pt x="222" y="191"/>
                      </a:lnTo>
                      <a:lnTo>
                        <a:pt x="200" y="191"/>
                      </a:lnTo>
                      <a:close/>
                      <a:moveTo>
                        <a:pt x="157" y="191"/>
                      </a:moveTo>
                      <a:lnTo>
                        <a:pt x="332" y="16"/>
                      </a:lnTo>
                      <a:lnTo>
                        <a:pt x="354" y="16"/>
                      </a:lnTo>
                      <a:lnTo>
                        <a:pt x="178" y="191"/>
                      </a:lnTo>
                      <a:lnTo>
                        <a:pt x="157" y="191"/>
                      </a:lnTo>
                      <a:close/>
                      <a:moveTo>
                        <a:pt x="113" y="191"/>
                      </a:moveTo>
                      <a:lnTo>
                        <a:pt x="288" y="16"/>
                      </a:lnTo>
                      <a:lnTo>
                        <a:pt x="310" y="16"/>
                      </a:lnTo>
                      <a:lnTo>
                        <a:pt x="135" y="191"/>
                      </a:lnTo>
                      <a:lnTo>
                        <a:pt x="113" y="191"/>
                      </a:lnTo>
                      <a:close/>
                      <a:moveTo>
                        <a:pt x="70" y="191"/>
                      </a:moveTo>
                      <a:lnTo>
                        <a:pt x="245" y="16"/>
                      </a:lnTo>
                      <a:lnTo>
                        <a:pt x="267" y="16"/>
                      </a:lnTo>
                      <a:lnTo>
                        <a:pt x="91" y="191"/>
                      </a:lnTo>
                      <a:lnTo>
                        <a:pt x="70" y="191"/>
                      </a:lnTo>
                      <a:close/>
                      <a:moveTo>
                        <a:pt x="26" y="191"/>
                      </a:moveTo>
                      <a:lnTo>
                        <a:pt x="202" y="16"/>
                      </a:lnTo>
                      <a:lnTo>
                        <a:pt x="223" y="16"/>
                      </a:lnTo>
                      <a:lnTo>
                        <a:pt x="48" y="191"/>
                      </a:lnTo>
                      <a:lnTo>
                        <a:pt x="26" y="191"/>
                      </a:lnTo>
                      <a:close/>
                      <a:moveTo>
                        <a:pt x="17" y="158"/>
                      </a:moveTo>
                      <a:lnTo>
                        <a:pt x="158" y="16"/>
                      </a:lnTo>
                      <a:lnTo>
                        <a:pt x="180" y="16"/>
                      </a:lnTo>
                      <a:lnTo>
                        <a:pt x="17" y="179"/>
                      </a:lnTo>
                      <a:lnTo>
                        <a:pt x="17" y="158"/>
                      </a:lnTo>
                      <a:close/>
                      <a:moveTo>
                        <a:pt x="17" y="114"/>
                      </a:moveTo>
                      <a:lnTo>
                        <a:pt x="115" y="16"/>
                      </a:lnTo>
                      <a:lnTo>
                        <a:pt x="136" y="16"/>
                      </a:lnTo>
                      <a:lnTo>
                        <a:pt x="17" y="136"/>
                      </a:lnTo>
                      <a:lnTo>
                        <a:pt x="17" y="114"/>
                      </a:lnTo>
                      <a:close/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2"/>
                      </a:lnTo>
                      <a:lnTo>
                        <a:pt x="17" y="71"/>
                      </a:lnTo>
                      <a:close/>
                      <a:moveTo>
                        <a:pt x="17" y="27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7"/>
                      </a:lnTo>
                      <a:close/>
                      <a:moveTo>
                        <a:pt x="8" y="0"/>
                      </a:move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208"/>
                      </a:lnTo>
                      <a:lnTo>
                        <a:pt x="793" y="208"/>
                      </a:lnTo>
                      <a:lnTo>
                        <a:pt x="784" y="208"/>
                      </a:lnTo>
                      <a:lnTo>
                        <a:pt x="776" y="208"/>
                      </a:lnTo>
                      <a:lnTo>
                        <a:pt x="8" y="208"/>
                      </a:lnTo>
                      <a:lnTo>
                        <a:pt x="0" y="208"/>
                      </a:lnTo>
                      <a:lnTo>
                        <a:pt x="0" y="199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7" name="Freeform 772"/>
                <p:cNvSpPr>
                  <a:spLocks noEditPoints="1"/>
                </p:cNvSpPr>
                <p:nvPr/>
              </p:nvSpPr>
              <p:spPr bwMode="auto">
                <a:xfrm>
                  <a:off x="1052" y="1914"/>
                  <a:ext cx="250" cy="26"/>
                </a:xfrm>
                <a:custGeom>
                  <a:avLst/>
                  <a:gdLst/>
                  <a:ahLst/>
                  <a:cxnLst>
                    <a:cxn ang="0">
                      <a:pos x="71" y="16"/>
                    </a:cxn>
                    <a:cxn ang="0">
                      <a:pos x="17" y="92"/>
                    </a:cxn>
                    <a:cxn ang="0">
                      <a:pos x="17" y="27"/>
                    </a:cxn>
                    <a:cxn ang="0">
                      <a:pos x="50" y="16"/>
                    </a:cxn>
                    <a:cxn ang="0">
                      <a:pos x="17" y="27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104"/>
                    </a:cxn>
                    <a:cxn ang="0">
                      <a:pos x="776" y="93"/>
                    </a:cxn>
                    <a:cxn ang="0">
                      <a:pos x="744" y="104"/>
                    </a:cxn>
                    <a:cxn ang="0">
                      <a:pos x="776" y="49"/>
                    </a:cxn>
                    <a:cxn ang="0">
                      <a:pos x="700" y="104"/>
                    </a:cxn>
                    <a:cxn ang="0">
                      <a:pos x="776" y="16"/>
                    </a:cxn>
                    <a:cxn ang="0">
                      <a:pos x="679" y="104"/>
                    </a:cxn>
                    <a:cxn ang="0">
                      <a:pos x="745" y="16"/>
                    </a:cxn>
                    <a:cxn ang="0">
                      <a:pos x="635" y="104"/>
                    </a:cxn>
                    <a:cxn ang="0">
                      <a:pos x="701" y="16"/>
                    </a:cxn>
                    <a:cxn ang="0">
                      <a:pos x="592" y="104"/>
                    </a:cxn>
                    <a:cxn ang="0">
                      <a:pos x="658" y="16"/>
                    </a:cxn>
                    <a:cxn ang="0">
                      <a:pos x="548" y="104"/>
                    </a:cxn>
                    <a:cxn ang="0">
                      <a:pos x="614" y="16"/>
                    </a:cxn>
                    <a:cxn ang="0">
                      <a:pos x="505" y="104"/>
                    </a:cxn>
                    <a:cxn ang="0">
                      <a:pos x="571" y="16"/>
                    </a:cxn>
                    <a:cxn ang="0">
                      <a:pos x="461" y="104"/>
                    </a:cxn>
                    <a:cxn ang="0">
                      <a:pos x="527" y="16"/>
                    </a:cxn>
                    <a:cxn ang="0">
                      <a:pos x="418" y="104"/>
                    </a:cxn>
                    <a:cxn ang="0">
                      <a:pos x="484" y="16"/>
                    </a:cxn>
                    <a:cxn ang="0">
                      <a:pos x="375" y="104"/>
                    </a:cxn>
                    <a:cxn ang="0">
                      <a:pos x="440" y="16"/>
                    </a:cxn>
                    <a:cxn ang="0">
                      <a:pos x="331" y="104"/>
                    </a:cxn>
                    <a:cxn ang="0">
                      <a:pos x="397" y="16"/>
                    </a:cxn>
                    <a:cxn ang="0">
                      <a:pos x="288" y="104"/>
                    </a:cxn>
                    <a:cxn ang="0">
                      <a:pos x="354" y="16"/>
                    </a:cxn>
                    <a:cxn ang="0">
                      <a:pos x="244" y="104"/>
                    </a:cxn>
                    <a:cxn ang="0">
                      <a:pos x="310" y="16"/>
                    </a:cxn>
                    <a:cxn ang="0">
                      <a:pos x="201" y="104"/>
                    </a:cxn>
                    <a:cxn ang="0">
                      <a:pos x="267" y="16"/>
                    </a:cxn>
                    <a:cxn ang="0">
                      <a:pos x="157" y="104"/>
                    </a:cxn>
                    <a:cxn ang="0">
                      <a:pos x="223" y="16"/>
                    </a:cxn>
                    <a:cxn ang="0">
                      <a:pos x="114" y="104"/>
                    </a:cxn>
                    <a:cxn ang="0">
                      <a:pos x="180" y="16"/>
                    </a:cxn>
                    <a:cxn ang="0">
                      <a:pos x="71" y="104"/>
                    </a:cxn>
                    <a:cxn ang="0">
                      <a:pos x="136" y="16"/>
                    </a:cxn>
                    <a:cxn ang="0">
                      <a:pos x="27" y="104"/>
                    </a:cxn>
                    <a:cxn ang="0">
                      <a:pos x="0" y="8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027" h="104"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2"/>
                      </a:lnTo>
                      <a:lnTo>
                        <a:pt x="17" y="71"/>
                      </a:lnTo>
                      <a:close/>
                      <a:moveTo>
                        <a:pt x="17" y="27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7"/>
                      </a:lnTo>
                      <a:close/>
                      <a:moveTo>
                        <a:pt x="8" y="0"/>
                      </a:move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104"/>
                      </a:lnTo>
                      <a:lnTo>
                        <a:pt x="776" y="104"/>
                      </a:lnTo>
                      <a:lnTo>
                        <a:pt x="776" y="93"/>
                      </a:lnTo>
                      <a:lnTo>
                        <a:pt x="765" y="104"/>
                      </a:lnTo>
                      <a:lnTo>
                        <a:pt x="744" y="104"/>
                      </a:lnTo>
                      <a:lnTo>
                        <a:pt x="776" y="71"/>
                      </a:lnTo>
                      <a:lnTo>
                        <a:pt x="776" y="49"/>
                      </a:lnTo>
                      <a:lnTo>
                        <a:pt x="722" y="104"/>
                      </a:lnTo>
                      <a:lnTo>
                        <a:pt x="700" y="104"/>
                      </a:lnTo>
                      <a:lnTo>
                        <a:pt x="776" y="28"/>
                      </a:lnTo>
                      <a:lnTo>
                        <a:pt x="776" y="16"/>
                      </a:lnTo>
                      <a:lnTo>
                        <a:pt x="766" y="16"/>
                      </a:lnTo>
                      <a:lnTo>
                        <a:pt x="679" y="104"/>
                      </a:lnTo>
                      <a:lnTo>
                        <a:pt x="657" y="104"/>
                      </a:lnTo>
                      <a:lnTo>
                        <a:pt x="745" y="16"/>
                      </a:lnTo>
                      <a:lnTo>
                        <a:pt x="723" y="16"/>
                      </a:lnTo>
                      <a:lnTo>
                        <a:pt x="635" y="104"/>
                      </a:lnTo>
                      <a:lnTo>
                        <a:pt x="613" y="104"/>
                      </a:lnTo>
                      <a:lnTo>
                        <a:pt x="701" y="16"/>
                      </a:lnTo>
                      <a:lnTo>
                        <a:pt x="679" y="16"/>
                      </a:lnTo>
                      <a:lnTo>
                        <a:pt x="592" y="104"/>
                      </a:lnTo>
                      <a:lnTo>
                        <a:pt x="570" y="104"/>
                      </a:lnTo>
                      <a:lnTo>
                        <a:pt x="658" y="16"/>
                      </a:lnTo>
                      <a:lnTo>
                        <a:pt x="636" y="16"/>
                      </a:lnTo>
                      <a:lnTo>
                        <a:pt x="548" y="104"/>
                      </a:lnTo>
                      <a:lnTo>
                        <a:pt x="527" y="104"/>
                      </a:lnTo>
                      <a:lnTo>
                        <a:pt x="614" y="16"/>
                      </a:lnTo>
                      <a:lnTo>
                        <a:pt x="593" y="16"/>
                      </a:lnTo>
                      <a:lnTo>
                        <a:pt x="505" y="104"/>
                      </a:lnTo>
                      <a:lnTo>
                        <a:pt x="483" y="104"/>
                      </a:lnTo>
                      <a:lnTo>
                        <a:pt x="571" y="16"/>
                      </a:lnTo>
                      <a:lnTo>
                        <a:pt x="549" y="16"/>
                      </a:lnTo>
                      <a:lnTo>
                        <a:pt x="461" y="104"/>
                      </a:lnTo>
                      <a:lnTo>
                        <a:pt x="440" y="104"/>
                      </a:lnTo>
                      <a:lnTo>
                        <a:pt x="527" y="16"/>
                      </a:lnTo>
                      <a:lnTo>
                        <a:pt x="506" y="16"/>
                      </a:lnTo>
                      <a:lnTo>
                        <a:pt x="418" y="104"/>
                      </a:lnTo>
                      <a:lnTo>
                        <a:pt x="396" y="104"/>
                      </a:lnTo>
                      <a:lnTo>
                        <a:pt x="484" y="16"/>
                      </a:lnTo>
                      <a:lnTo>
                        <a:pt x="462" y="16"/>
                      </a:lnTo>
                      <a:lnTo>
                        <a:pt x="375" y="104"/>
                      </a:lnTo>
                      <a:lnTo>
                        <a:pt x="353" y="104"/>
                      </a:lnTo>
                      <a:lnTo>
                        <a:pt x="440" y="16"/>
                      </a:lnTo>
                      <a:lnTo>
                        <a:pt x="419" y="16"/>
                      </a:lnTo>
                      <a:lnTo>
                        <a:pt x="331" y="104"/>
                      </a:lnTo>
                      <a:lnTo>
                        <a:pt x="309" y="104"/>
                      </a:lnTo>
                      <a:lnTo>
                        <a:pt x="397" y="16"/>
                      </a:lnTo>
                      <a:lnTo>
                        <a:pt x="375" y="16"/>
                      </a:lnTo>
                      <a:lnTo>
                        <a:pt x="288" y="104"/>
                      </a:lnTo>
                      <a:lnTo>
                        <a:pt x="266" y="104"/>
                      </a:lnTo>
                      <a:lnTo>
                        <a:pt x="354" y="16"/>
                      </a:lnTo>
                      <a:lnTo>
                        <a:pt x="332" y="16"/>
                      </a:lnTo>
                      <a:lnTo>
                        <a:pt x="244" y="104"/>
                      </a:lnTo>
                      <a:lnTo>
                        <a:pt x="223" y="104"/>
                      </a:lnTo>
                      <a:lnTo>
                        <a:pt x="310" y="16"/>
                      </a:lnTo>
                      <a:lnTo>
                        <a:pt x="288" y="16"/>
                      </a:lnTo>
                      <a:lnTo>
                        <a:pt x="201" y="104"/>
                      </a:lnTo>
                      <a:lnTo>
                        <a:pt x="179" y="104"/>
                      </a:lnTo>
                      <a:lnTo>
                        <a:pt x="267" y="16"/>
                      </a:lnTo>
                      <a:lnTo>
                        <a:pt x="245" y="16"/>
                      </a:lnTo>
                      <a:lnTo>
                        <a:pt x="157" y="104"/>
                      </a:lnTo>
                      <a:lnTo>
                        <a:pt x="136" y="104"/>
                      </a:lnTo>
                      <a:lnTo>
                        <a:pt x="223" y="16"/>
                      </a:lnTo>
                      <a:lnTo>
                        <a:pt x="202" y="16"/>
                      </a:lnTo>
                      <a:lnTo>
                        <a:pt x="114" y="104"/>
                      </a:lnTo>
                      <a:lnTo>
                        <a:pt x="92" y="104"/>
                      </a:lnTo>
                      <a:lnTo>
                        <a:pt x="180" y="16"/>
                      </a:lnTo>
                      <a:lnTo>
                        <a:pt x="158" y="16"/>
                      </a:lnTo>
                      <a:lnTo>
                        <a:pt x="71" y="104"/>
                      </a:lnTo>
                      <a:lnTo>
                        <a:pt x="49" y="104"/>
                      </a:lnTo>
                      <a:lnTo>
                        <a:pt x="136" y="16"/>
                      </a:lnTo>
                      <a:lnTo>
                        <a:pt x="115" y="16"/>
                      </a:lnTo>
                      <a:lnTo>
                        <a:pt x="27" y="104"/>
                      </a:lnTo>
                      <a:lnTo>
                        <a:pt x="0" y="10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8" name="Rectangle 773"/>
                <p:cNvSpPr>
                  <a:spLocks noChangeArrowheads="1"/>
                </p:cNvSpPr>
                <p:nvPr/>
              </p:nvSpPr>
              <p:spPr bwMode="auto">
                <a:xfrm>
                  <a:off x="1302" y="1914"/>
                  <a:ext cx="43" cy="51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49" name="Rectangle 774"/>
                <p:cNvSpPr>
                  <a:spLocks noChangeArrowheads="1"/>
                </p:cNvSpPr>
                <p:nvPr/>
              </p:nvSpPr>
              <p:spPr bwMode="auto">
                <a:xfrm>
                  <a:off x="1302" y="1914"/>
                  <a:ext cx="43" cy="26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0" name="Freeform 775"/>
                <p:cNvSpPr>
                  <a:spLocks/>
                </p:cNvSpPr>
                <p:nvPr/>
              </p:nvSpPr>
              <p:spPr bwMode="auto">
                <a:xfrm>
                  <a:off x="1309" y="1952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7"/>
                    </a:cxn>
                    <a:cxn ang="0">
                      <a:pos x="34" y="27"/>
                    </a:cxn>
                    <a:cxn ang="0">
                      <a:pos x="34" y="19"/>
                    </a:cxn>
                    <a:cxn ang="0">
                      <a:pos x="13" y="19"/>
                    </a:cxn>
                    <a:cxn ang="0">
                      <a:pos x="13" y="27"/>
                    </a:cxn>
                    <a:cxn ang="0">
                      <a:pos x="0" y="2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7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7"/>
                      </a:lnTo>
                      <a:lnTo>
                        <a:pt x="34" y="27"/>
                      </a:lnTo>
                      <a:lnTo>
                        <a:pt x="34" y="19"/>
                      </a:lnTo>
                      <a:lnTo>
                        <a:pt x="13" y="19"/>
                      </a:lnTo>
                      <a:lnTo>
                        <a:pt x="13" y="27"/>
                      </a:lnTo>
                      <a:lnTo>
                        <a:pt x="0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1" name="Freeform 776"/>
                <p:cNvSpPr>
                  <a:spLocks/>
                </p:cNvSpPr>
                <p:nvPr/>
              </p:nvSpPr>
              <p:spPr bwMode="auto">
                <a:xfrm>
                  <a:off x="1327" y="1952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7"/>
                    </a:cxn>
                    <a:cxn ang="0">
                      <a:pos x="33" y="27"/>
                    </a:cxn>
                    <a:cxn ang="0">
                      <a:pos x="33" y="19"/>
                    </a:cxn>
                    <a:cxn ang="0">
                      <a:pos x="12" y="19"/>
                    </a:cxn>
                    <a:cxn ang="0">
                      <a:pos x="12" y="27"/>
                    </a:cxn>
                    <a:cxn ang="0">
                      <a:pos x="0" y="2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7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7"/>
                      </a:lnTo>
                      <a:lnTo>
                        <a:pt x="33" y="27"/>
                      </a:lnTo>
                      <a:lnTo>
                        <a:pt x="33" y="19"/>
                      </a:lnTo>
                      <a:lnTo>
                        <a:pt x="12" y="19"/>
                      </a:lnTo>
                      <a:lnTo>
                        <a:pt x="12" y="27"/>
                      </a:lnTo>
                      <a:lnTo>
                        <a:pt x="0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2" name="Rectangle 777"/>
                <p:cNvSpPr>
                  <a:spLocks noChangeArrowheads="1"/>
                </p:cNvSpPr>
                <p:nvPr/>
              </p:nvSpPr>
              <p:spPr bwMode="auto">
                <a:xfrm>
                  <a:off x="1309" y="1938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3" name="Rectangle 778"/>
                <p:cNvSpPr>
                  <a:spLocks noChangeArrowheads="1"/>
                </p:cNvSpPr>
                <p:nvPr/>
              </p:nvSpPr>
              <p:spPr bwMode="auto">
                <a:xfrm>
                  <a:off x="1309" y="1938"/>
                  <a:ext cx="29" cy="2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4" name="Rectangle 779"/>
                <p:cNvSpPr>
                  <a:spLocks noChangeArrowheads="1"/>
                </p:cNvSpPr>
                <p:nvPr/>
              </p:nvSpPr>
              <p:spPr bwMode="auto">
                <a:xfrm>
                  <a:off x="1309" y="1920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5" name="Rectangle 780"/>
                <p:cNvSpPr>
                  <a:spLocks noChangeArrowheads="1"/>
                </p:cNvSpPr>
                <p:nvPr/>
              </p:nvSpPr>
              <p:spPr bwMode="auto">
                <a:xfrm>
                  <a:off x="1309" y="1929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6" name="Rectangle 781"/>
                <p:cNvSpPr>
                  <a:spLocks noChangeArrowheads="1"/>
                </p:cNvSpPr>
                <p:nvPr/>
              </p:nvSpPr>
              <p:spPr bwMode="auto">
                <a:xfrm>
                  <a:off x="1309" y="1934"/>
                  <a:ext cx="29" cy="2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7" name="Rectangle 782"/>
                <p:cNvSpPr>
                  <a:spLocks noChangeArrowheads="1"/>
                </p:cNvSpPr>
                <p:nvPr/>
              </p:nvSpPr>
              <p:spPr bwMode="auto">
                <a:xfrm>
                  <a:off x="1309" y="1925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8" name="Rectangle 783"/>
                <p:cNvSpPr>
                  <a:spLocks noChangeArrowheads="1"/>
                </p:cNvSpPr>
                <p:nvPr/>
              </p:nvSpPr>
              <p:spPr bwMode="auto">
                <a:xfrm>
                  <a:off x="1309" y="1948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59" name="Rectangle 784"/>
                <p:cNvSpPr>
                  <a:spLocks noChangeArrowheads="1"/>
                </p:cNvSpPr>
                <p:nvPr/>
              </p:nvSpPr>
              <p:spPr bwMode="auto">
                <a:xfrm>
                  <a:off x="1327" y="1948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0" name="Rectangle 785"/>
                <p:cNvSpPr>
                  <a:spLocks noChangeArrowheads="1"/>
                </p:cNvSpPr>
                <p:nvPr/>
              </p:nvSpPr>
              <p:spPr bwMode="auto">
                <a:xfrm>
                  <a:off x="1246" y="1918"/>
                  <a:ext cx="51" cy="43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1" name="Rectangle 786"/>
                <p:cNvSpPr>
                  <a:spLocks noChangeArrowheads="1"/>
                </p:cNvSpPr>
                <p:nvPr/>
              </p:nvSpPr>
              <p:spPr bwMode="auto">
                <a:xfrm>
                  <a:off x="1246" y="1940"/>
                  <a:ext cx="51" cy="21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2" name="Rectangle 787"/>
                <p:cNvSpPr>
                  <a:spLocks noChangeArrowheads="1"/>
                </p:cNvSpPr>
                <p:nvPr/>
              </p:nvSpPr>
              <p:spPr bwMode="auto">
                <a:xfrm>
                  <a:off x="1247" y="1919"/>
                  <a:ext cx="48" cy="41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3" name="Rectangle 788"/>
                <p:cNvSpPr>
                  <a:spLocks noChangeArrowheads="1"/>
                </p:cNvSpPr>
                <p:nvPr/>
              </p:nvSpPr>
              <p:spPr bwMode="auto">
                <a:xfrm>
                  <a:off x="1247" y="1919"/>
                  <a:ext cx="48" cy="21"/>
                </a:xfrm>
                <a:prstGeom prst="rect">
                  <a:avLst/>
                </a:prstGeom>
                <a:solidFill>
                  <a:srgbClr val="4DAD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4" name="Rectangle 789"/>
                <p:cNvSpPr>
                  <a:spLocks noChangeArrowheads="1"/>
                </p:cNvSpPr>
                <p:nvPr/>
              </p:nvSpPr>
              <p:spPr bwMode="auto">
                <a:xfrm>
                  <a:off x="1347" y="1914"/>
                  <a:ext cx="293" cy="5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5" name="Freeform 790"/>
                <p:cNvSpPr>
                  <a:spLocks noEditPoints="1"/>
                </p:cNvSpPr>
                <p:nvPr/>
              </p:nvSpPr>
              <p:spPr bwMode="auto">
                <a:xfrm>
                  <a:off x="1345" y="1912"/>
                  <a:ext cx="297" cy="55"/>
                </a:xfrm>
                <a:custGeom>
                  <a:avLst/>
                  <a:gdLst/>
                  <a:ahLst/>
                  <a:cxnLst>
                    <a:cxn ang="0">
                      <a:pos x="1206" y="17"/>
                    </a:cxn>
                    <a:cxn ang="0">
                      <a:pos x="17" y="17"/>
                    </a:cxn>
                    <a:cxn ang="0">
                      <a:pos x="17" y="208"/>
                    </a:cxn>
                    <a:cxn ang="0">
                      <a:pos x="1206" y="208"/>
                    </a:cxn>
                    <a:cxn ang="0">
                      <a:pos x="1206" y="17"/>
                    </a:cxn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3" y="0"/>
                    </a:cxn>
                    <a:cxn ang="0">
                      <a:pos x="1223" y="9"/>
                    </a:cxn>
                    <a:cxn ang="0">
                      <a:pos x="1223" y="217"/>
                    </a:cxn>
                    <a:cxn ang="0">
                      <a:pos x="1223" y="225"/>
                    </a:cxn>
                    <a:cxn ang="0">
                      <a:pos x="1214" y="225"/>
                    </a:cxn>
                    <a:cxn ang="0">
                      <a:pos x="8" y="225"/>
                    </a:cxn>
                    <a:cxn ang="0">
                      <a:pos x="0" y="225"/>
                    </a:cxn>
                    <a:cxn ang="0">
                      <a:pos x="0" y="217"/>
                    </a:cxn>
                    <a:cxn ang="0">
                      <a:pos x="0" y="9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3" h="225">
                      <a:moveTo>
                        <a:pt x="1206" y="17"/>
                      </a:moveTo>
                      <a:lnTo>
                        <a:pt x="17" y="17"/>
                      </a:lnTo>
                      <a:lnTo>
                        <a:pt x="17" y="208"/>
                      </a:lnTo>
                      <a:lnTo>
                        <a:pt x="1206" y="208"/>
                      </a:lnTo>
                      <a:lnTo>
                        <a:pt x="1206" y="17"/>
                      </a:lnTo>
                      <a:close/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3" y="0"/>
                      </a:lnTo>
                      <a:lnTo>
                        <a:pt x="1223" y="9"/>
                      </a:lnTo>
                      <a:lnTo>
                        <a:pt x="1223" y="217"/>
                      </a:lnTo>
                      <a:lnTo>
                        <a:pt x="1223" y="225"/>
                      </a:lnTo>
                      <a:lnTo>
                        <a:pt x="1214" y="225"/>
                      </a:lnTo>
                      <a:lnTo>
                        <a:pt x="8" y="225"/>
                      </a:lnTo>
                      <a:lnTo>
                        <a:pt x="0" y="225"/>
                      </a:lnTo>
                      <a:lnTo>
                        <a:pt x="0" y="217"/>
                      </a:lnTo>
                      <a:lnTo>
                        <a:pt x="0" y="9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6" name="Freeform 791"/>
                <p:cNvSpPr>
                  <a:spLocks/>
                </p:cNvSpPr>
                <p:nvPr/>
              </p:nvSpPr>
              <p:spPr bwMode="auto">
                <a:xfrm>
                  <a:off x="1345" y="1912"/>
                  <a:ext cx="297" cy="28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3" y="0"/>
                    </a:cxn>
                    <a:cxn ang="0">
                      <a:pos x="1223" y="9"/>
                    </a:cxn>
                    <a:cxn ang="0">
                      <a:pos x="1223" y="113"/>
                    </a:cxn>
                    <a:cxn ang="0">
                      <a:pos x="1206" y="113"/>
                    </a:cxn>
                    <a:cxn ang="0">
                      <a:pos x="1206" y="17"/>
                    </a:cxn>
                    <a:cxn ang="0">
                      <a:pos x="17" y="17"/>
                    </a:cxn>
                    <a:cxn ang="0">
                      <a:pos x="17" y="113"/>
                    </a:cxn>
                    <a:cxn ang="0">
                      <a:pos x="0" y="113"/>
                    </a:cxn>
                    <a:cxn ang="0">
                      <a:pos x="0" y="9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3" h="113"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3" y="0"/>
                      </a:lnTo>
                      <a:lnTo>
                        <a:pt x="1223" y="9"/>
                      </a:lnTo>
                      <a:lnTo>
                        <a:pt x="1223" y="113"/>
                      </a:lnTo>
                      <a:lnTo>
                        <a:pt x="1206" y="113"/>
                      </a:lnTo>
                      <a:lnTo>
                        <a:pt x="1206" y="17"/>
                      </a:lnTo>
                      <a:lnTo>
                        <a:pt x="17" y="17"/>
                      </a:lnTo>
                      <a:lnTo>
                        <a:pt x="17" y="113"/>
                      </a:lnTo>
                      <a:lnTo>
                        <a:pt x="0" y="113"/>
                      </a:lnTo>
                      <a:lnTo>
                        <a:pt x="0" y="9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7" name="Freeform 792"/>
                <p:cNvSpPr>
                  <a:spLocks noEditPoints="1"/>
                </p:cNvSpPr>
                <p:nvPr/>
              </p:nvSpPr>
              <p:spPr bwMode="auto">
                <a:xfrm>
                  <a:off x="1347" y="1914"/>
                  <a:ext cx="250" cy="51"/>
                </a:xfrm>
                <a:custGeom>
                  <a:avLst/>
                  <a:gdLst/>
                  <a:ahLst/>
                  <a:cxnLst>
                    <a:cxn ang="0">
                      <a:pos x="776" y="180"/>
                    </a:cxn>
                    <a:cxn ang="0">
                      <a:pos x="765" y="191"/>
                    </a:cxn>
                    <a:cxn ang="0">
                      <a:pos x="776" y="136"/>
                    </a:cxn>
                    <a:cxn ang="0">
                      <a:pos x="743" y="191"/>
                    </a:cxn>
                    <a:cxn ang="0">
                      <a:pos x="678" y="191"/>
                    </a:cxn>
                    <a:cxn ang="0">
                      <a:pos x="776" y="114"/>
                    </a:cxn>
                    <a:cxn ang="0">
                      <a:pos x="678" y="191"/>
                    </a:cxn>
                    <a:cxn ang="0">
                      <a:pos x="776" y="49"/>
                    </a:cxn>
                    <a:cxn ang="0">
                      <a:pos x="656" y="191"/>
                    </a:cxn>
                    <a:cxn ang="0">
                      <a:pos x="591" y="191"/>
                    </a:cxn>
                    <a:cxn ang="0">
                      <a:pos x="776" y="16"/>
                    </a:cxn>
                    <a:cxn ang="0">
                      <a:pos x="613" y="191"/>
                    </a:cxn>
                    <a:cxn ang="0">
                      <a:pos x="548" y="191"/>
                    </a:cxn>
                    <a:cxn ang="0">
                      <a:pos x="745" y="16"/>
                    </a:cxn>
                    <a:cxn ang="0">
                      <a:pos x="548" y="191"/>
                    </a:cxn>
                    <a:cxn ang="0">
                      <a:pos x="680" y="16"/>
                    </a:cxn>
                    <a:cxn ang="0">
                      <a:pos x="526" y="191"/>
                    </a:cxn>
                    <a:cxn ang="0">
                      <a:pos x="461" y="191"/>
                    </a:cxn>
                    <a:cxn ang="0">
                      <a:pos x="658" y="16"/>
                    </a:cxn>
                    <a:cxn ang="0">
                      <a:pos x="461" y="191"/>
                    </a:cxn>
                    <a:cxn ang="0">
                      <a:pos x="593" y="16"/>
                    </a:cxn>
                    <a:cxn ang="0">
                      <a:pos x="439" y="191"/>
                    </a:cxn>
                    <a:cxn ang="0">
                      <a:pos x="374" y="191"/>
                    </a:cxn>
                    <a:cxn ang="0">
                      <a:pos x="571" y="16"/>
                    </a:cxn>
                    <a:cxn ang="0">
                      <a:pos x="374" y="191"/>
                    </a:cxn>
                    <a:cxn ang="0">
                      <a:pos x="506" y="16"/>
                    </a:cxn>
                    <a:cxn ang="0">
                      <a:pos x="352" y="191"/>
                    </a:cxn>
                    <a:cxn ang="0">
                      <a:pos x="287" y="191"/>
                    </a:cxn>
                    <a:cxn ang="0">
                      <a:pos x="484" y="16"/>
                    </a:cxn>
                    <a:cxn ang="0">
                      <a:pos x="287" y="191"/>
                    </a:cxn>
                    <a:cxn ang="0">
                      <a:pos x="419" y="16"/>
                    </a:cxn>
                    <a:cxn ang="0">
                      <a:pos x="265" y="191"/>
                    </a:cxn>
                    <a:cxn ang="0">
                      <a:pos x="200" y="191"/>
                    </a:cxn>
                    <a:cxn ang="0">
                      <a:pos x="397" y="16"/>
                    </a:cxn>
                    <a:cxn ang="0">
                      <a:pos x="200" y="191"/>
                    </a:cxn>
                    <a:cxn ang="0">
                      <a:pos x="332" y="16"/>
                    </a:cxn>
                    <a:cxn ang="0">
                      <a:pos x="178" y="191"/>
                    </a:cxn>
                    <a:cxn ang="0">
                      <a:pos x="113" y="191"/>
                    </a:cxn>
                    <a:cxn ang="0">
                      <a:pos x="310" y="16"/>
                    </a:cxn>
                    <a:cxn ang="0">
                      <a:pos x="113" y="191"/>
                    </a:cxn>
                    <a:cxn ang="0">
                      <a:pos x="245" y="16"/>
                    </a:cxn>
                    <a:cxn ang="0">
                      <a:pos x="92" y="191"/>
                    </a:cxn>
                    <a:cxn ang="0">
                      <a:pos x="26" y="191"/>
                    </a:cxn>
                    <a:cxn ang="0">
                      <a:pos x="224" y="16"/>
                    </a:cxn>
                    <a:cxn ang="0">
                      <a:pos x="26" y="191"/>
                    </a:cxn>
                    <a:cxn ang="0">
                      <a:pos x="158" y="16"/>
                    </a:cxn>
                    <a:cxn ang="0">
                      <a:pos x="17" y="179"/>
                    </a:cxn>
                    <a:cxn ang="0">
                      <a:pos x="17" y="114"/>
                    </a:cxn>
                    <a:cxn ang="0">
                      <a:pos x="137" y="16"/>
                    </a:cxn>
                    <a:cxn ang="0">
                      <a:pos x="17" y="114"/>
                    </a:cxn>
                    <a:cxn ang="0">
                      <a:pos x="71" y="16"/>
                    </a:cxn>
                    <a:cxn ang="0">
                      <a:pos x="17" y="92"/>
                    </a:cxn>
                    <a:cxn ang="0">
                      <a:pos x="17" y="27"/>
                    </a:cxn>
                    <a:cxn ang="0">
                      <a:pos x="50" y="16"/>
                    </a:cxn>
                    <a:cxn ang="0">
                      <a:pos x="17" y="27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208"/>
                    </a:cxn>
                    <a:cxn ang="0">
                      <a:pos x="785" y="208"/>
                    </a:cxn>
                    <a:cxn ang="0">
                      <a:pos x="9" y="208"/>
                    </a:cxn>
                    <a:cxn ang="0">
                      <a:pos x="0" y="199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27" h="208">
                      <a:moveTo>
                        <a:pt x="765" y="191"/>
                      </a:moveTo>
                      <a:lnTo>
                        <a:pt x="776" y="180"/>
                      </a:lnTo>
                      <a:lnTo>
                        <a:pt x="776" y="191"/>
                      </a:lnTo>
                      <a:lnTo>
                        <a:pt x="765" y="191"/>
                      </a:lnTo>
                      <a:close/>
                      <a:moveTo>
                        <a:pt x="721" y="191"/>
                      </a:moveTo>
                      <a:lnTo>
                        <a:pt x="776" y="136"/>
                      </a:lnTo>
                      <a:lnTo>
                        <a:pt x="776" y="158"/>
                      </a:lnTo>
                      <a:lnTo>
                        <a:pt x="743" y="191"/>
                      </a:lnTo>
                      <a:lnTo>
                        <a:pt x="721" y="191"/>
                      </a:lnTo>
                      <a:close/>
                      <a:moveTo>
                        <a:pt x="678" y="191"/>
                      </a:moveTo>
                      <a:lnTo>
                        <a:pt x="776" y="93"/>
                      </a:lnTo>
                      <a:lnTo>
                        <a:pt x="776" y="114"/>
                      </a:lnTo>
                      <a:lnTo>
                        <a:pt x="700" y="191"/>
                      </a:lnTo>
                      <a:lnTo>
                        <a:pt x="678" y="191"/>
                      </a:lnTo>
                      <a:close/>
                      <a:moveTo>
                        <a:pt x="635" y="191"/>
                      </a:moveTo>
                      <a:lnTo>
                        <a:pt x="776" y="49"/>
                      </a:lnTo>
                      <a:lnTo>
                        <a:pt x="776" y="71"/>
                      </a:lnTo>
                      <a:lnTo>
                        <a:pt x="656" y="191"/>
                      </a:lnTo>
                      <a:lnTo>
                        <a:pt x="635" y="191"/>
                      </a:lnTo>
                      <a:close/>
                      <a:moveTo>
                        <a:pt x="591" y="191"/>
                      </a:moveTo>
                      <a:lnTo>
                        <a:pt x="766" y="16"/>
                      </a:lnTo>
                      <a:lnTo>
                        <a:pt x="776" y="16"/>
                      </a:lnTo>
                      <a:lnTo>
                        <a:pt x="776" y="28"/>
                      </a:lnTo>
                      <a:lnTo>
                        <a:pt x="613" y="191"/>
                      </a:lnTo>
                      <a:lnTo>
                        <a:pt x="591" y="191"/>
                      </a:lnTo>
                      <a:close/>
                      <a:moveTo>
                        <a:pt x="548" y="191"/>
                      </a:moveTo>
                      <a:lnTo>
                        <a:pt x="723" y="16"/>
                      </a:lnTo>
                      <a:lnTo>
                        <a:pt x="745" y="16"/>
                      </a:lnTo>
                      <a:lnTo>
                        <a:pt x="569" y="191"/>
                      </a:lnTo>
                      <a:lnTo>
                        <a:pt x="548" y="191"/>
                      </a:lnTo>
                      <a:close/>
                      <a:moveTo>
                        <a:pt x="504" y="191"/>
                      </a:moveTo>
                      <a:lnTo>
                        <a:pt x="680" y="16"/>
                      </a:lnTo>
                      <a:lnTo>
                        <a:pt x="701" y="16"/>
                      </a:lnTo>
                      <a:lnTo>
                        <a:pt x="526" y="191"/>
                      </a:lnTo>
                      <a:lnTo>
                        <a:pt x="504" y="191"/>
                      </a:lnTo>
                      <a:close/>
                      <a:moveTo>
                        <a:pt x="461" y="191"/>
                      </a:moveTo>
                      <a:lnTo>
                        <a:pt x="636" y="16"/>
                      </a:lnTo>
                      <a:lnTo>
                        <a:pt x="658" y="16"/>
                      </a:lnTo>
                      <a:lnTo>
                        <a:pt x="483" y="191"/>
                      </a:lnTo>
                      <a:lnTo>
                        <a:pt x="461" y="191"/>
                      </a:lnTo>
                      <a:close/>
                      <a:moveTo>
                        <a:pt x="417" y="191"/>
                      </a:moveTo>
                      <a:lnTo>
                        <a:pt x="593" y="16"/>
                      </a:lnTo>
                      <a:lnTo>
                        <a:pt x="614" y="16"/>
                      </a:lnTo>
                      <a:lnTo>
                        <a:pt x="439" y="191"/>
                      </a:lnTo>
                      <a:lnTo>
                        <a:pt x="417" y="191"/>
                      </a:lnTo>
                      <a:close/>
                      <a:moveTo>
                        <a:pt x="374" y="191"/>
                      </a:moveTo>
                      <a:lnTo>
                        <a:pt x="549" y="16"/>
                      </a:lnTo>
                      <a:lnTo>
                        <a:pt x="571" y="16"/>
                      </a:lnTo>
                      <a:lnTo>
                        <a:pt x="396" y="191"/>
                      </a:lnTo>
                      <a:lnTo>
                        <a:pt x="374" y="191"/>
                      </a:lnTo>
                      <a:close/>
                      <a:moveTo>
                        <a:pt x="331" y="191"/>
                      </a:moveTo>
                      <a:lnTo>
                        <a:pt x="506" y="16"/>
                      </a:lnTo>
                      <a:lnTo>
                        <a:pt x="528" y="16"/>
                      </a:lnTo>
                      <a:lnTo>
                        <a:pt x="352" y="191"/>
                      </a:lnTo>
                      <a:lnTo>
                        <a:pt x="331" y="191"/>
                      </a:lnTo>
                      <a:close/>
                      <a:moveTo>
                        <a:pt x="287" y="191"/>
                      </a:moveTo>
                      <a:lnTo>
                        <a:pt x="462" y="16"/>
                      </a:lnTo>
                      <a:lnTo>
                        <a:pt x="484" y="16"/>
                      </a:lnTo>
                      <a:lnTo>
                        <a:pt x="309" y="191"/>
                      </a:lnTo>
                      <a:lnTo>
                        <a:pt x="287" y="191"/>
                      </a:lnTo>
                      <a:close/>
                      <a:moveTo>
                        <a:pt x="244" y="191"/>
                      </a:moveTo>
                      <a:lnTo>
                        <a:pt x="419" y="16"/>
                      </a:lnTo>
                      <a:lnTo>
                        <a:pt x="441" y="16"/>
                      </a:lnTo>
                      <a:lnTo>
                        <a:pt x="265" y="191"/>
                      </a:lnTo>
                      <a:lnTo>
                        <a:pt x="244" y="191"/>
                      </a:lnTo>
                      <a:close/>
                      <a:moveTo>
                        <a:pt x="200" y="191"/>
                      </a:moveTo>
                      <a:lnTo>
                        <a:pt x="376" y="16"/>
                      </a:lnTo>
                      <a:lnTo>
                        <a:pt x="397" y="16"/>
                      </a:lnTo>
                      <a:lnTo>
                        <a:pt x="222" y="191"/>
                      </a:lnTo>
                      <a:lnTo>
                        <a:pt x="200" y="191"/>
                      </a:lnTo>
                      <a:close/>
                      <a:moveTo>
                        <a:pt x="157" y="191"/>
                      </a:moveTo>
                      <a:lnTo>
                        <a:pt x="332" y="16"/>
                      </a:lnTo>
                      <a:lnTo>
                        <a:pt x="354" y="16"/>
                      </a:lnTo>
                      <a:lnTo>
                        <a:pt x="178" y="191"/>
                      </a:lnTo>
                      <a:lnTo>
                        <a:pt x="157" y="191"/>
                      </a:lnTo>
                      <a:close/>
                      <a:moveTo>
                        <a:pt x="113" y="191"/>
                      </a:moveTo>
                      <a:lnTo>
                        <a:pt x="289" y="16"/>
                      </a:lnTo>
                      <a:lnTo>
                        <a:pt x="310" y="16"/>
                      </a:lnTo>
                      <a:lnTo>
                        <a:pt x="135" y="191"/>
                      </a:lnTo>
                      <a:lnTo>
                        <a:pt x="113" y="191"/>
                      </a:lnTo>
                      <a:close/>
                      <a:moveTo>
                        <a:pt x="70" y="191"/>
                      </a:moveTo>
                      <a:lnTo>
                        <a:pt x="245" y="16"/>
                      </a:lnTo>
                      <a:lnTo>
                        <a:pt x="267" y="16"/>
                      </a:lnTo>
                      <a:lnTo>
                        <a:pt x="92" y="191"/>
                      </a:lnTo>
                      <a:lnTo>
                        <a:pt x="70" y="191"/>
                      </a:lnTo>
                      <a:close/>
                      <a:moveTo>
                        <a:pt x="26" y="191"/>
                      </a:moveTo>
                      <a:lnTo>
                        <a:pt x="202" y="16"/>
                      </a:lnTo>
                      <a:lnTo>
                        <a:pt x="224" y="16"/>
                      </a:lnTo>
                      <a:lnTo>
                        <a:pt x="48" y="191"/>
                      </a:lnTo>
                      <a:lnTo>
                        <a:pt x="26" y="191"/>
                      </a:lnTo>
                      <a:close/>
                      <a:moveTo>
                        <a:pt x="17" y="158"/>
                      </a:moveTo>
                      <a:lnTo>
                        <a:pt x="158" y="16"/>
                      </a:lnTo>
                      <a:lnTo>
                        <a:pt x="180" y="16"/>
                      </a:lnTo>
                      <a:lnTo>
                        <a:pt x="17" y="179"/>
                      </a:lnTo>
                      <a:lnTo>
                        <a:pt x="17" y="158"/>
                      </a:lnTo>
                      <a:close/>
                      <a:moveTo>
                        <a:pt x="17" y="114"/>
                      </a:moveTo>
                      <a:lnTo>
                        <a:pt x="115" y="16"/>
                      </a:lnTo>
                      <a:lnTo>
                        <a:pt x="137" y="16"/>
                      </a:lnTo>
                      <a:lnTo>
                        <a:pt x="17" y="136"/>
                      </a:lnTo>
                      <a:lnTo>
                        <a:pt x="17" y="114"/>
                      </a:lnTo>
                      <a:close/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2"/>
                      </a:lnTo>
                      <a:lnTo>
                        <a:pt x="17" y="71"/>
                      </a:lnTo>
                      <a:close/>
                      <a:moveTo>
                        <a:pt x="17" y="27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7"/>
                      </a:lnTo>
                      <a:close/>
                      <a:moveTo>
                        <a:pt x="9" y="0"/>
                      </a:moveTo>
                      <a:lnTo>
                        <a:pt x="776" y="0"/>
                      </a:lnTo>
                      <a:lnTo>
                        <a:pt x="785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208"/>
                      </a:lnTo>
                      <a:lnTo>
                        <a:pt x="793" y="208"/>
                      </a:lnTo>
                      <a:lnTo>
                        <a:pt x="785" y="208"/>
                      </a:lnTo>
                      <a:lnTo>
                        <a:pt x="776" y="208"/>
                      </a:lnTo>
                      <a:lnTo>
                        <a:pt x="9" y="208"/>
                      </a:lnTo>
                      <a:lnTo>
                        <a:pt x="0" y="208"/>
                      </a:lnTo>
                      <a:lnTo>
                        <a:pt x="0" y="199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8" name="Freeform 793"/>
                <p:cNvSpPr>
                  <a:spLocks noEditPoints="1"/>
                </p:cNvSpPr>
                <p:nvPr/>
              </p:nvSpPr>
              <p:spPr bwMode="auto">
                <a:xfrm>
                  <a:off x="1347" y="1914"/>
                  <a:ext cx="250" cy="26"/>
                </a:xfrm>
                <a:custGeom>
                  <a:avLst/>
                  <a:gdLst/>
                  <a:ahLst/>
                  <a:cxnLst>
                    <a:cxn ang="0">
                      <a:pos x="71" y="16"/>
                    </a:cxn>
                    <a:cxn ang="0">
                      <a:pos x="17" y="92"/>
                    </a:cxn>
                    <a:cxn ang="0">
                      <a:pos x="17" y="27"/>
                    </a:cxn>
                    <a:cxn ang="0">
                      <a:pos x="50" y="16"/>
                    </a:cxn>
                    <a:cxn ang="0">
                      <a:pos x="17" y="27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104"/>
                    </a:cxn>
                    <a:cxn ang="0">
                      <a:pos x="776" y="93"/>
                    </a:cxn>
                    <a:cxn ang="0">
                      <a:pos x="744" y="104"/>
                    </a:cxn>
                    <a:cxn ang="0">
                      <a:pos x="776" y="49"/>
                    </a:cxn>
                    <a:cxn ang="0">
                      <a:pos x="700" y="104"/>
                    </a:cxn>
                    <a:cxn ang="0">
                      <a:pos x="776" y="16"/>
                    </a:cxn>
                    <a:cxn ang="0">
                      <a:pos x="679" y="104"/>
                    </a:cxn>
                    <a:cxn ang="0">
                      <a:pos x="745" y="16"/>
                    </a:cxn>
                    <a:cxn ang="0">
                      <a:pos x="635" y="104"/>
                    </a:cxn>
                    <a:cxn ang="0">
                      <a:pos x="701" y="16"/>
                    </a:cxn>
                    <a:cxn ang="0">
                      <a:pos x="592" y="104"/>
                    </a:cxn>
                    <a:cxn ang="0">
                      <a:pos x="658" y="16"/>
                    </a:cxn>
                    <a:cxn ang="0">
                      <a:pos x="548" y="104"/>
                    </a:cxn>
                    <a:cxn ang="0">
                      <a:pos x="614" y="16"/>
                    </a:cxn>
                    <a:cxn ang="0">
                      <a:pos x="505" y="104"/>
                    </a:cxn>
                    <a:cxn ang="0">
                      <a:pos x="571" y="16"/>
                    </a:cxn>
                    <a:cxn ang="0">
                      <a:pos x="462" y="104"/>
                    </a:cxn>
                    <a:cxn ang="0">
                      <a:pos x="528" y="16"/>
                    </a:cxn>
                    <a:cxn ang="0">
                      <a:pos x="418" y="104"/>
                    </a:cxn>
                    <a:cxn ang="0">
                      <a:pos x="484" y="16"/>
                    </a:cxn>
                    <a:cxn ang="0">
                      <a:pos x="375" y="104"/>
                    </a:cxn>
                    <a:cxn ang="0">
                      <a:pos x="441" y="16"/>
                    </a:cxn>
                    <a:cxn ang="0">
                      <a:pos x="331" y="104"/>
                    </a:cxn>
                    <a:cxn ang="0">
                      <a:pos x="397" y="16"/>
                    </a:cxn>
                    <a:cxn ang="0">
                      <a:pos x="288" y="104"/>
                    </a:cxn>
                    <a:cxn ang="0">
                      <a:pos x="354" y="16"/>
                    </a:cxn>
                    <a:cxn ang="0">
                      <a:pos x="244" y="104"/>
                    </a:cxn>
                    <a:cxn ang="0">
                      <a:pos x="310" y="16"/>
                    </a:cxn>
                    <a:cxn ang="0">
                      <a:pos x="201" y="104"/>
                    </a:cxn>
                    <a:cxn ang="0">
                      <a:pos x="267" y="16"/>
                    </a:cxn>
                    <a:cxn ang="0">
                      <a:pos x="158" y="104"/>
                    </a:cxn>
                    <a:cxn ang="0">
                      <a:pos x="224" y="16"/>
                    </a:cxn>
                    <a:cxn ang="0">
                      <a:pos x="114" y="104"/>
                    </a:cxn>
                    <a:cxn ang="0">
                      <a:pos x="180" y="16"/>
                    </a:cxn>
                    <a:cxn ang="0">
                      <a:pos x="71" y="104"/>
                    </a:cxn>
                    <a:cxn ang="0">
                      <a:pos x="137" y="16"/>
                    </a:cxn>
                    <a:cxn ang="0">
                      <a:pos x="27" y="104"/>
                    </a:cxn>
                    <a:cxn ang="0">
                      <a:pos x="0" y="8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1027" h="104"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2"/>
                      </a:lnTo>
                      <a:lnTo>
                        <a:pt x="17" y="71"/>
                      </a:lnTo>
                      <a:close/>
                      <a:moveTo>
                        <a:pt x="17" y="27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7"/>
                      </a:lnTo>
                      <a:close/>
                      <a:moveTo>
                        <a:pt x="9" y="0"/>
                      </a:moveTo>
                      <a:lnTo>
                        <a:pt x="776" y="0"/>
                      </a:lnTo>
                      <a:lnTo>
                        <a:pt x="785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104"/>
                      </a:lnTo>
                      <a:lnTo>
                        <a:pt x="776" y="104"/>
                      </a:lnTo>
                      <a:lnTo>
                        <a:pt x="776" y="93"/>
                      </a:lnTo>
                      <a:lnTo>
                        <a:pt x="766" y="104"/>
                      </a:lnTo>
                      <a:lnTo>
                        <a:pt x="744" y="104"/>
                      </a:lnTo>
                      <a:lnTo>
                        <a:pt x="776" y="71"/>
                      </a:lnTo>
                      <a:lnTo>
                        <a:pt x="776" y="49"/>
                      </a:lnTo>
                      <a:lnTo>
                        <a:pt x="722" y="104"/>
                      </a:lnTo>
                      <a:lnTo>
                        <a:pt x="700" y="104"/>
                      </a:lnTo>
                      <a:lnTo>
                        <a:pt x="776" y="28"/>
                      </a:lnTo>
                      <a:lnTo>
                        <a:pt x="776" y="16"/>
                      </a:lnTo>
                      <a:lnTo>
                        <a:pt x="766" y="16"/>
                      </a:lnTo>
                      <a:lnTo>
                        <a:pt x="679" y="104"/>
                      </a:lnTo>
                      <a:lnTo>
                        <a:pt x="657" y="104"/>
                      </a:lnTo>
                      <a:lnTo>
                        <a:pt x="745" y="16"/>
                      </a:lnTo>
                      <a:lnTo>
                        <a:pt x="723" y="16"/>
                      </a:lnTo>
                      <a:lnTo>
                        <a:pt x="635" y="104"/>
                      </a:lnTo>
                      <a:lnTo>
                        <a:pt x="614" y="104"/>
                      </a:lnTo>
                      <a:lnTo>
                        <a:pt x="701" y="16"/>
                      </a:lnTo>
                      <a:lnTo>
                        <a:pt x="680" y="16"/>
                      </a:lnTo>
                      <a:lnTo>
                        <a:pt x="592" y="104"/>
                      </a:lnTo>
                      <a:lnTo>
                        <a:pt x="570" y="104"/>
                      </a:lnTo>
                      <a:lnTo>
                        <a:pt x="658" y="16"/>
                      </a:lnTo>
                      <a:lnTo>
                        <a:pt x="636" y="16"/>
                      </a:lnTo>
                      <a:lnTo>
                        <a:pt x="548" y="104"/>
                      </a:lnTo>
                      <a:lnTo>
                        <a:pt x="527" y="104"/>
                      </a:lnTo>
                      <a:lnTo>
                        <a:pt x="614" y="16"/>
                      </a:lnTo>
                      <a:lnTo>
                        <a:pt x="593" y="16"/>
                      </a:lnTo>
                      <a:lnTo>
                        <a:pt x="505" y="104"/>
                      </a:lnTo>
                      <a:lnTo>
                        <a:pt x="483" y="104"/>
                      </a:lnTo>
                      <a:lnTo>
                        <a:pt x="571" y="16"/>
                      </a:lnTo>
                      <a:lnTo>
                        <a:pt x="549" y="16"/>
                      </a:lnTo>
                      <a:lnTo>
                        <a:pt x="462" y="104"/>
                      </a:lnTo>
                      <a:lnTo>
                        <a:pt x="440" y="104"/>
                      </a:lnTo>
                      <a:lnTo>
                        <a:pt x="528" y="16"/>
                      </a:lnTo>
                      <a:lnTo>
                        <a:pt x="506" y="16"/>
                      </a:lnTo>
                      <a:lnTo>
                        <a:pt x="418" y="104"/>
                      </a:lnTo>
                      <a:lnTo>
                        <a:pt x="396" y="104"/>
                      </a:lnTo>
                      <a:lnTo>
                        <a:pt x="484" y="16"/>
                      </a:lnTo>
                      <a:lnTo>
                        <a:pt x="462" y="16"/>
                      </a:lnTo>
                      <a:lnTo>
                        <a:pt x="375" y="104"/>
                      </a:lnTo>
                      <a:lnTo>
                        <a:pt x="353" y="104"/>
                      </a:lnTo>
                      <a:lnTo>
                        <a:pt x="441" y="16"/>
                      </a:lnTo>
                      <a:lnTo>
                        <a:pt x="419" y="16"/>
                      </a:lnTo>
                      <a:lnTo>
                        <a:pt x="331" y="104"/>
                      </a:lnTo>
                      <a:lnTo>
                        <a:pt x="310" y="104"/>
                      </a:lnTo>
                      <a:lnTo>
                        <a:pt x="397" y="16"/>
                      </a:lnTo>
                      <a:lnTo>
                        <a:pt x="376" y="16"/>
                      </a:lnTo>
                      <a:lnTo>
                        <a:pt x="288" y="104"/>
                      </a:lnTo>
                      <a:lnTo>
                        <a:pt x="266" y="104"/>
                      </a:lnTo>
                      <a:lnTo>
                        <a:pt x="354" y="16"/>
                      </a:lnTo>
                      <a:lnTo>
                        <a:pt x="332" y="16"/>
                      </a:lnTo>
                      <a:lnTo>
                        <a:pt x="244" y="104"/>
                      </a:lnTo>
                      <a:lnTo>
                        <a:pt x="223" y="104"/>
                      </a:lnTo>
                      <a:lnTo>
                        <a:pt x="310" y="16"/>
                      </a:lnTo>
                      <a:lnTo>
                        <a:pt x="289" y="16"/>
                      </a:lnTo>
                      <a:lnTo>
                        <a:pt x="201" y="104"/>
                      </a:lnTo>
                      <a:lnTo>
                        <a:pt x="179" y="104"/>
                      </a:lnTo>
                      <a:lnTo>
                        <a:pt x="267" y="16"/>
                      </a:lnTo>
                      <a:lnTo>
                        <a:pt x="245" y="16"/>
                      </a:lnTo>
                      <a:lnTo>
                        <a:pt x="158" y="104"/>
                      </a:lnTo>
                      <a:lnTo>
                        <a:pt x="136" y="104"/>
                      </a:lnTo>
                      <a:lnTo>
                        <a:pt x="224" y="16"/>
                      </a:lnTo>
                      <a:lnTo>
                        <a:pt x="202" y="16"/>
                      </a:lnTo>
                      <a:lnTo>
                        <a:pt x="114" y="104"/>
                      </a:lnTo>
                      <a:lnTo>
                        <a:pt x="92" y="104"/>
                      </a:lnTo>
                      <a:lnTo>
                        <a:pt x="180" y="16"/>
                      </a:lnTo>
                      <a:lnTo>
                        <a:pt x="158" y="16"/>
                      </a:lnTo>
                      <a:lnTo>
                        <a:pt x="71" y="104"/>
                      </a:lnTo>
                      <a:lnTo>
                        <a:pt x="49" y="104"/>
                      </a:lnTo>
                      <a:lnTo>
                        <a:pt x="137" y="16"/>
                      </a:lnTo>
                      <a:lnTo>
                        <a:pt x="115" y="16"/>
                      </a:lnTo>
                      <a:lnTo>
                        <a:pt x="27" y="104"/>
                      </a:lnTo>
                      <a:lnTo>
                        <a:pt x="0" y="10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69" name="Rectangle 794"/>
                <p:cNvSpPr>
                  <a:spLocks noChangeArrowheads="1"/>
                </p:cNvSpPr>
                <p:nvPr/>
              </p:nvSpPr>
              <p:spPr bwMode="auto">
                <a:xfrm>
                  <a:off x="1597" y="1914"/>
                  <a:ext cx="43" cy="51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0" name="Rectangle 795"/>
                <p:cNvSpPr>
                  <a:spLocks noChangeArrowheads="1"/>
                </p:cNvSpPr>
                <p:nvPr/>
              </p:nvSpPr>
              <p:spPr bwMode="auto">
                <a:xfrm>
                  <a:off x="1597" y="1914"/>
                  <a:ext cx="43" cy="26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1" name="Freeform 796"/>
                <p:cNvSpPr>
                  <a:spLocks/>
                </p:cNvSpPr>
                <p:nvPr/>
              </p:nvSpPr>
              <p:spPr bwMode="auto">
                <a:xfrm>
                  <a:off x="1604" y="1952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7" y="0"/>
                    </a:cxn>
                    <a:cxn ang="0">
                      <a:pos x="47" y="27"/>
                    </a:cxn>
                    <a:cxn ang="0">
                      <a:pos x="34" y="27"/>
                    </a:cxn>
                    <a:cxn ang="0">
                      <a:pos x="34" y="19"/>
                    </a:cxn>
                    <a:cxn ang="0">
                      <a:pos x="13" y="19"/>
                    </a:cxn>
                    <a:cxn ang="0">
                      <a:pos x="13" y="27"/>
                    </a:cxn>
                    <a:cxn ang="0">
                      <a:pos x="0" y="2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7" h="27">
                      <a:moveTo>
                        <a:pt x="0" y="0"/>
                      </a:moveTo>
                      <a:lnTo>
                        <a:pt x="47" y="0"/>
                      </a:lnTo>
                      <a:lnTo>
                        <a:pt x="47" y="27"/>
                      </a:lnTo>
                      <a:lnTo>
                        <a:pt x="34" y="27"/>
                      </a:lnTo>
                      <a:lnTo>
                        <a:pt x="34" y="19"/>
                      </a:lnTo>
                      <a:lnTo>
                        <a:pt x="13" y="19"/>
                      </a:lnTo>
                      <a:lnTo>
                        <a:pt x="13" y="27"/>
                      </a:lnTo>
                      <a:lnTo>
                        <a:pt x="0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2" name="Freeform 797"/>
                <p:cNvSpPr>
                  <a:spLocks/>
                </p:cNvSpPr>
                <p:nvPr/>
              </p:nvSpPr>
              <p:spPr bwMode="auto">
                <a:xfrm>
                  <a:off x="1622" y="1952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7"/>
                    </a:cxn>
                    <a:cxn ang="0">
                      <a:pos x="33" y="27"/>
                    </a:cxn>
                    <a:cxn ang="0">
                      <a:pos x="33" y="19"/>
                    </a:cxn>
                    <a:cxn ang="0">
                      <a:pos x="12" y="19"/>
                    </a:cxn>
                    <a:cxn ang="0">
                      <a:pos x="12" y="27"/>
                    </a:cxn>
                    <a:cxn ang="0">
                      <a:pos x="0" y="2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7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7"/>
                      </a:lnTo>
                      <a:lnTo>
                        <a:pt x="33" y="27"/>
                      </a:lnTo>
                      <a:lnTo>
                        <a:pt x="33" y="19"/>
                      </a:lnTo>
                      <a:lnTo>
                        <a:pt x="12" y="19"/>
                      </a:lnTo>
                      <a:lnTo>
                        <a:pt x="12" y="27"/>
                      </a:lnTo>
                      <a:lnTo>
                        <a:pt x="0" y="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3" name="Rectangle 798"/>
                <p:cNvSpPr>
                  <a:spLocks noChangeArrowheads="1"/>
                </p:cNvSpPr>
                <p:nvPr/>
              </p:nvSpPr>
              <p:spPr bwMode="auto">
                <a:xfrm>
                  <a:off x="1604" y="1938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4" name="Rectangle 799"/>
                <p:cNvSpPr>
                  <a:spLocks noChangeArrowheads="1"/>
                </p:cNvSpPr>
                <p:nvPr/>
              </p:nvSpPr>
              <p:spPr bwMode="auto">
                <a:xfrm>
                  <a:off x="1604" y="1938"/>
                  <a:ext cx="29" cy="2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5" name="Rectangle 800"/>
                <p:cNvSpPr>
                  <a:spLocks noChangeArrowheads="1"/>
                </p:cNvSpPr>
                <p:nvPr/>
              </p:nvSpPr>
              <p:spPr bwMode="auto">
                <a:xfrm>
                  <a:off x="1604" y="1920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6" name="Rectangle 801"/>
                <p:cNvSpPr>
                  <a:spLocks noChangeArrowheads="1"/>
                </p:cNvSpPr>
                <p:nvPr/>
              </p:nvSpPr>
              <p:spPr bwMode="auto">
                <a:xfrm>
                  <a:off x="1604" y="1929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7" name="Rectangle 802"/>
                <p:cNvSpPr>
                  <a:spLocks noChangeArrowheads="1"/>
                </p:cNvSpPr>
                <p:nvPr/>
              </p:nvSpPr>
              <p:spPr bwMode="auto">
                <a:xfrm>
                  <a:off x="1604" y="1934"/>
                  <a:ext cx="29" cy="2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8" name="Rectangle 803"/>
                <p:cNvSpPr>
                  <a:spLocks noChangeArrowheads="1"/>
                </p:cNvSpPr>
                <p:nvPr/>
              </p:nvSpPr>
              <p:spPr bwMode="auto">
                <a:xfrm>
                  <a:off x="1604" y="1925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79" name="Rectangle 804"/>
                <p:cNvSpPr>
                  <a:spLocks noChangeArrowheads="1"/>
                </p:cNvSpPr>
                <p:nvPr/>
              </p:nvSpPr>
              <p:spPr bwMode="auto">
                <a:xfrm>
                  <a:off x="1604" y="1948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80" name="Rectangle 805"/>
                <p:cNvSpPr>
                  <a:spLocks noChangeArrowheads="1"/>
                </p:cNvSpPr>
                <p:nvPr/>
              </p:nvSpPr>
              <p:spPr bwMode="auto">
                <a:xfrm>
                  <a:off x="1622" y="1948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81" name="Rectangle 806"/>
                <p:cNvSpPr>
                  <a:spLocks noChangeArrowheads="1"/>
                </p:cNvSpPr>
                <p:nvPr/>
              </p:nvSpPr>
              <p:spPr bwMode="auto">
                <a:xfrm>
                  <a:off x="1541" y="1918"/>
                  <a:ext cx="51" cy="43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82" name="Rectangle 807"/>
                <p:cNvSpPr>
                  <a:spLocks noChangeArrowheads="1"/>
                </p:cNvSpPr>
                <p:nvPr/>
              </p:nvSpPr>
              <p:spPr bwMode="auto">
                <a:xfrm>
                  <a:off x="1541" y="1940"/>
                  <a:ext cx="51" cy="21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83" name="Rectangle 808"/>
                <p:cNvSpPr>
                  <a:spLocks noChangeArrowheads="1"/>
                </p:cNvSpPr>
                <p:nvPr/>
              </p:nvSpPr>
              <p:spPr bwMode="auto">
                <a:xfrm>
                  <a:off x="1542" y="1919"/>
                  <a:ext cx="49" cy="41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84" name="Rectangle 809"/>
                <p:cNvSpPr>
                  <a:spLocks noChangeArrowheads="1"/>
                </p:cNvSpPr>
                <p:nvPr/>
              </p:nvSpPr>
              <p:spPr bwMode="auto">
                <a:xfrm>
                  <a:off x="1542" y="1919"/>
                  <a:ext cx="49" cy="21"/>
                </a:xfrm>
                <a:prstGeom prst="rect">
                  <a:avLst/>
                </a:prstGeom>
                <a:solidFill>
                  <a:srgbClr val="4DAD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85" name="Rectangle 810"/>
                <p:cNvSpPr>
                  <a:spLocks noChangeArrowheads="1"/>
                </p:cNvSpPr>
                <p:nvPr/>
              </p:nvSpPr>
              <p:spPr bwMode="auto">
                <a:xfrm>
                  <a:off x="1052" y="1967"/>
                  <a:ext cx="293" cy="5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86" name="Freeform 811"/>
                <p:cNvSpPr>
                  <a:spLocks noEditPoints="1"/>
                </p:cNvSpPr>
                <p:nvPr/>
              </p:nvSpPr>
              <p:spPr bwMode="auto">
                <a:xfrm>
                  <a:off x="1050" y="1965"/>
                  <a:ext cx="297" cy="55"/>
                </a:xfrm>
                <a:custGeom>
                  <a:avLst/>
                  <a:gdLst/>
                  <a:ahLst/>
                  <a:cxnLst>
                    <a:cxn ang="0">
                      <a:pos x="1206" y="16"/>
                    </a:cxn>
                    <a:cxn ang="0">
                      <a:pos x="16" y="16"/>
                    </a:cxn>
                    <a:cxn ang="0">
                      <a:pos x="16" y="207"/>
                    </a:cxn>
                    <a:cxn ang="0">
                      <a:pos x="1206" y="207"/>
                    </a:cxn>
                    <a:cxn ang="0">
                      <a:pos x="1206" y="16"/>
                    </a:cxn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2" y="0"/>
                    </a:cxn>
                    <a:cxn ang="0">
                      <a:pos x="1222" y="8"/>
                    </a:cxn>
                    <a:cxn ang="0">
                      <a:pos x="1222" y="216"/>
                    </a:cxn>
                    <a:cxn ang="0">
                      <a:pos x="1222" y="224"/>
                    </a:cxn>
                    <a:cxn ang="0">
                      <a:pos x="1214" y="224"/>
                    </a:cxn>
                    <a:cxn ang="0">
                      <a:pos x="8" y="224"/>
                    </a:cxn>
                    <a:cxn ang="0">
                      <a:pos x="0" y="224"/>
                    </a:cxn>
                    <a:cxn ang="0">
                      <a:pos x="0" y="216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2" h="224">
                      <a:moveTo>
                        <a:pt x="1206" y="16"/>
                      </a:moveTo>
                      <a:lnTo>
                        <a:pt x="16" y="16"/>
                      </a:lnTo>
                      <a:lnTo>
                        <a:pt x="16" y="207"/>
                      </a:lnTo>
                      <a:lnTo>
                        <a:pt x="1206" y="207"/>
                      </a:lnTo>
                      <a:lnTo>
                        <a:pt x="1206" y="16"/>
                      </a:lnTo>
                      <a:close/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2" y="0"/>
                      </a:lnTo>
                      <a:lnTo>
                        <a:pt x="1222" y="8"/>
                      </a:lnTo>
                      <a:lnTo>
                        <a:pt x="1222" y="216"/>
                      </a:lnTo>
                      <a:lnTo>
                        <a:pt x="1222" y="224"/>
                      </a:lnTo>
                      <a:lnTo>
                        <a:pt x="1214" y="224"/>
                      </a:lnTo>
                      <a:lnTo>
                        <a:pt x="8" y="224"/>
                      </a:lnTo>
                      <a:lnTo>
                        <a:pt x="0" y="224"/>
                      </a:lnTo>
                      <a:lnTo>
                        <a:pt x="0" y="2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687" name="Freeform 812"/>
                <p:cNvSpPr>
                  <a:spLocks/>
                </p:cNvSpPr>
                <p:nvPr/>
              </p:nvSpPr>
              <p:spPr bwMode="auto">
                <a:xfrm>
                  <a:off x="1050" y="1965"/>
                  <a:ext cx="297" cy="27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2" y="0"/>
                    </a:cxn>
                    <a:cxn ang="0">
                      <a:pos x="1222" y="8"/>
                    </a:cxn>
                    <a:cxn ang="0">
                      <a:pos x="1222" y="112"/>
                    </a:cxn>
                    <a:cxn ang="0">
                      <a:pos x="1206" y="112"/>
                    </a:cxn>
                    <a:cxn ang="0">
                      <a:pos x="1206" y="16"/>
                    </a:cxn>
                    <a:cxn ang="0">
                      <a:pos x="16" y="16"/>
                    </a:cxn>
                    <a:cxn ang="0">
                      <a:pos x="16" y="112"/>
                    </a:cxn>
                    <a:cxn ang="0">
                      <a:pos x="0" y="112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2" h="112"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2" y="0"/>
                      </a:lnTo>
                      <a:lnTo>
                        <a:pt x="1222" y="8"/>
                      </a:lnTo>
                      <a:lnTo>
                        <a:pt x="1222" y="112"/>
                      </a:lnTo>
                      <a:lnTo>
                        <a:pt x="1206" y="112"/>
                      </a:lnTo>
                      <a:lnTo>
                        <a:pt x="1206" y="16"/>
                      </a:lnTo>
                      <a:lnTo>
                        <a:pt x="16" y="16"/>
                      </a:lnTo>
                      <a:lnTo>
                        <a:pt x="16" y="112"/>
                      </a:lnTo>
                      <a:lnTo>
                        <a:pt x="0" y="112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</p:grpSp>
          <p:grpSp>
            <p:nvGrpSpPr>
              <p:cNvPr id="20" name="Group 1014"/>
              <p:cNvGrpSpPr>
                <a:grpSpLocks/>
              </p:cNvGrpSpPr>
              <p:nvPr/>
            </p:nvGrpSpPr>
            <p:grpSpPr bwMode="auto">
              <a:xfrm>
                <a:off x="856" y="1801"/>
                <a:ext cx="786" cy="324"/>
                <a:chOff x="856" y="1801"/>
                <a:chExt cx="786" cy="324"/>
              </a:xfrm>
            </p:grpSpPr>
            <p:sp>
              <p:nvSpPr>
                <p:cNvPr id="288" name="Freeform 814"/>
                <p:cNvSpPr>
                  <a:spLocks noEditPoints="1"/>
                </p:cNvSpPr>
                <p:nvPr/>
              </p:nvSpPr>
              <p:spPr bwMode="auto">
                <a:xfrm>
                  <a:off x="1052" y="1967"/>
                  <a:ext cx="250" cy="51"/>
                </a:xfrm>
                <a:custGeom>
                  <a:avLst/>
                  <a:gdLst/>
                  <a:ahLst/>
                  <a:cxnLst>
                    <a:cxn ang="0">
                      <a:pos x="776" y="180"/>
                    </a:cxn>
                    <a:cxn ang="0">
                      <a:pos x="765" y="191"/>
                    </a:cxn>
                    <a:cxn ang="0">
                      <a:pos x="776" y="136"/>
                    </a:cxn>
                    <a:cxn ang="0">
                      <a:pos x="743" y="191"/>
                    </a:cxn>
                    <a:cxn ang="0">
                      <a:pos x="678" y="191"/>
                    </a:cxn>
                    <a:cxn ang="0">
                      <a:pos x="776" y="115"/>
                    </a:cxn>
                    <a:cxn ang="0">
                      <a:pos x="678" y="191"/>
                    </a:cxn>
                    <a:cxn ang="0">
                      <a:pos x="776" y="49"/>
                    </a:cxn>
                    <a:cxn ang="0">
                      <a:pos x="656" y="191"/>
                    </a:cxn>
                    <a:cxn ang="0">
                      <a:pos x="591" y="191"/>
                    </a:cxn>
                    <a:cxn ang="0">
                      <a:pos x="776" y="16"/>
                    </a:cxn>
                    <a:cxn ang="0">
                      <a:pos x="613" y="191"/>
                    </a:cxn>
                    <a:cxn ang="0">
                      <a:pos x="547" y="191"/>
                    </a:cxn>
                    <a:cxn ang="0">
                      <a:pos x="745" y="16"/>
                    </a:cxn>
                    <a:cxn ang="0">
                      <a:pos x="547" y="191"/>
                    </a:cxn>
                    <a:cxn ang="0">
                      <a:pos x="679" y="16"/>
                    </a:cxn>
                    <a:cxn ang="0">
                      <a:pos x="526" y="191"/>
                    </a:cxn>
                    <a:cxn ang="0">
                      <a:pos x="461" y="191"/>
                    </a:cxn>
                    <a:cxn ang="0">
                      <a:pos x="658" y="16"/>
                    </a:cxn>
                    <a:cxn ang="0">
                      <a:pos x="461" y="191"/>
                    </a:cxn>
                    <a:cxn ang="0">
                      <a:pos x="593" y="16"/>
                    </a:cxn>
                    <a:cxn ang="0">
                      <a:pos x="439" y="191"/>
                    </a:cxn>
                    <a:cxn ang="0">
                      <a:pos x="374" y="191"/>
                    </a:cxn>
                    <a:cxn ang="0">
                      <a:pos x="571" y="16"/>
                    </a:cxn>
                    <a:cxn ang="0">
                      <a:pos x="374" y="191"/>
                    </a:cxn>
                    <a:cxn ang="0">
                      <a:pos x="506" y="16"/>
                    </a:cxn>
                    <a:cxn ang="0">
                      <a:pos x="352" y="191"/>
                    </a:cxn>
                    <a:cxn ang="0">
                      <a:pos x="287" y="191"/>
                    </a:cxn>
                    <a:cxn ang="0">
                      <a:pos x="484" y="16"/>
                    </a:cxn>
                    <a:cxn ang="0">
                      <a:pos x="287" y="191"/>
                    </a:cxn>
                    <a:cxn ang="0">
                      <a:pos x="419" y="16"/>
                    </a:cxn>
                    <a:cxn ang="0">
                      <a:pos x="265" y="191"/>
                    </a:cxn>
                    <a:cxn ang="0">
                      <a:pos x="200" y="191"/>
                    </a:cxn>
                    <a:cxn ang="0">
                      <a:pos x="397" y="16"/>
                    </a:cxn>
                    <a:cxn ang="0">
                      <a:pos x="200" y="191"/>
                    </a:cxn>
                    <a:cxn ang="0">
                      <a:pos x="332" y="16"/>
                    </a:cxn>
                    <a:cxn ang="0">
                      <a:pos x="178" y="191"/>
                    </a:cxn>
                    <a:cxn ang="0">
                      <a:pos x="113" y="191"/>
                    </a:cxn>
                    <a:cxn ang="0">
                      <a:pos x="310" y="16"/>
                    </a:cxn>
                    <a:cxn ang="0">
                      <a:pos x="113" y="191"/>
                    </a:cxn>
                    <a:cxn ang="0">
                      <a:pos x="245" y="16"/>
                    </a:cxn>
                    <a:cxn ang="0">
                      <a:pos x="91" y="191"/>
                    </a:cxn>
                    <a:cxn ang="0">
                      <a:pos x="26" y="191"/>
                    </a:cxn>
                    <a:cxn ang="0">
                      <a:pos x="223" y="16"/>
                    </a:cxn>
                    <a:cxn ang="0">
                      <a:pos x="26" y="191"/>
                    </a:cxn>
                    <a:cxn ang="0">
                      <a:pos x="158" y="16"/>
                    </a:cxn>
                    <a:cxn ang="0">
                      <a:pos x="17" y="180"/>
                    </a:cxn>
                    <a:cxn ang="0">
                      <a:pos x="17" y="114"/>
                    </a:cxn>
                    <a:cxn ang="0">
                      <a:pos x="136" y="16"/>
                    </a:cxn>
                    <a:cxn ang="0">
                      <a:pos x="17" y="114"/>
                    </a:cxn>
                    <a:cxn ang="0">
                      <a:pos x="71" y="16"/>
                    </a:cxn>
                    <a:cxn ang="0">
                      <a:pos x="17" y="93"/>
                    </a:cxn>
                    <a:cxn ang="0">
                      <a:pos x="17" y="27"/>
                    </a:cxn>
                    <a:cxn ang="0">
                      <a:pos x="50" y="16"/>
                    </a:cxn>
                    <a:cxn ang="0">
                      <a:pos x="17" y="27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208"/>
                    </a:cxn>
                    <a:cxn ang="0">
                      <a:pos x="784" y="208"/>
                    </a:cxn>
                    <a:cxn ang="0">
                      <a:pos x="8" y="208"/>
                    </a:cxn>
                    <a:cxn ang="0">
                      <a:pos x="0" y="20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27" h="208">
                      <a:moveTo>
                        <a:pt x="765" y="191"/>
                      </a:moveTo>
                      <a:lnTo>
                        <a:pt x="776" y="180"/>
                      </a:lnTo>
                      <a:lnTo>
                        <a:pt x="776" y="191"/>
                      </a:lnTo>
                      <a:lnTo>
                        <a:pt x="765" y="191"/>
                      </a:lnTo>
                      <a:close/>
                      <a:moveTo>
                        <a:pt x="721" y="191"/>
                      </a:moveTo>
                      <a:lnTo>
                        <a:pt x="776" y="136"/>
                      </a:lnTo>
                      <a:lnTo>
                        <a:pt x="776" y="158"/>
                      </a:lnTo>
                      <a:lnTo>
                        <a:pt x="743" y="191"/>
                      </a:lnTo>
                      <a:lnTo>
                        <a:pt x="721" y="191"/>
                      </a:lnTo>
                      <a:close/>
                      <a:moveTo>
                        <a:pt x="678" y="191"/>
                      </a:moveTo>
                      <a:lnTo>
                        <a:pt x="776" y="93"/>
                      </a:lnTo>
                      <a:lnTo>
                        <a:pt x="776" y="115"/>
                      </a:lnTo>
                      <a:lnTo>
                        <a:pt x="700" y="191"/>
                      </a:lnTo>
                      <a:lnTo>
                        <a:pt x="678" y="191"/>
                      </a:lnTo>
                      <a:close/>
                      <a:moveTo>
                        <a:pt x="634" y="191"/>
                      </a:moveTo>
                      <a:lnTo>
                        <a:pt x="776" y="49"/>
                      </a:lnTo>
                      <a:lnTo>
                        <a:pt x="776" y="71"/>
                      </a:lnTo>
                      <a:lnTo>
                        <a:pt x="656" y="191"/>
                      </a:lnTo>
                      <a:lnTo>
                        <a:pt x="634" y="191"/>
                      </a:lnTo>
                      <a:close/>
                      <a:moveTo>
                        <a:pt x="591" y="191"/>
                      </a:moveTo>
                      <a:lnTo>
                        <a:pt x="766" y="16"/>
                      </a:lnTo>
                      <a:lnTo>
                        <a:pt x="776" y="16"/>
                      </a:lnTo>
                      <a:lnTo>
                        <a:pt x="776" y="28"/>
                      </a:lnTo>
                      <a:lnTo>
                        <a:pt x="613" y="191"/>
                      </a:lnTo>
                      <a:lnTo>
                        <a:pt x="591" y="191"/>
                      </a:lnTo>
                      <a:close/>
                      <a:moveTo>
                        <a:pt x="547" y="191"/>
                      </a:moveTo>
                      <a:lnTo>
                        <a:pt x="723" y="16"/>
                      </a:lnTo>
                      <a:lnTo>
                        <a:pt x="745" y="16"/>
                      </a:lnTo>
                      <a:lnTo>
                        <a:pt x="569" y="191"/>
                      </a:lnTo>
                      <a:lnTo>
                        <a:pt x="547" y="191"/>
                      </a:lnTo>
                      <a:close/>
                      <a:moveTo>
                        <a:pt x="504" y="191"/>
                      </a:moveTo>
                      <a:lnTo>
                        <a:pt x="679" y="16"/>
                      </a:lnTo>
                      <a:lnTo>
                        <a:pt x="701" y="16"/>
                      </a:lnTo>
                      <a:lnTo>
                        <a:pt x="526" y="191"/>
                      </a:lnTo>
                      <a:lnTo>
                        <a:pt x="504" y="191"/>
                      </a:lnTo>
                      <a:close/>
                      <a:moveTo>
                        <a:pt x="461" y="191"/>
                      </a:moveTo>
                      <a:lnTo>
                        <a:pt x="636" y="16"/>
                      </a:lnTo>
                      <a:lnTo>
                        <a:pt x="658" y="16"/>
                      </a:lnTo>
                      <a:lnTo>
                        <a:pt x="482" y="191"/>
                      </a:lnTo>
                      <a:lnTo>
                        <a:pt x="461" y="191"/>
                      </a:lnTo>
                      <a:close/>
                      <a:moveTo>
                        <a:pt x="417" y="191"/>
                      </a:moveTo>
                      <a:lnTo>
                        <a:pt x="593" y="16"/>
                      </a:lnTo>
                      <a:lnTo>
                        <a:pt x="614" y="16"/>
                      </a:lnTo>
                      <a:lnTo>
                        <a:pt x="439" y="191"/>
                      </a:lnTo>
                      <a:lnTo>
                        <a:pt x="417" y="191"/>
                      </a:lnTo>
                      <a:close/>
                      <a:moveTo>
                        <a:pt x="374" y="191"/>
                      </a:moveTo>
                      <a:lnTo>
                        <a:pt x="549" y="16"/>
                      </a:lnTo>
                      <a:lnTo>
                        <a:pt x="571" y="16"/>
                      </a:lnTo>
                      <a:lnTo>
                        <a:pt x="395" y="191"/>
                      </a:lnTo>
                      <a:lnTo>
                        <a:pt x="374" y="191"/>
                      </a:lnTo>
                      <a:close/>
                      <a:moveTo>
                        <a:pt x="330" y="191"/>
                      </a:moveTo>
                      <a:lnTo>
                        <a:pt x="506" y="16"/>
                      </a:lnTo>
                      <a:lnTo>
                        <a:pt x="527" y="16"/>
                      </a:lnTo>
                      <a:lnTo>
                        <a:pt x="352" y="191"/>
                      </a:lnTo>
                      <a:lnTo>
                        <a:pt x="330" y="191"/>
                      </a:lnTo>
                      <a:close/>
                      <a:moveTo>
                        <a:pt x="287" y="191"/>
                      </a:moveTo>
                      <a:lnTo>
                        <a:pt x="462" y="16"/>
                      </a:lnTo>
                      <a:lnTo>
                        <a:pt x="484" y="16"/>
                      </a:lnTo>
                      <a:lnTo>
                        <a:pt x="309" y="191"/>
                      </a:lnTo>
                      <a:lnTo>
                        <a:pt x="287" y="191"/>
                      </a:lnTo>
                      <a:close/>
                      <a:moveTo>
                        <a:pt x="243" y="191"/>
                      </a:moveTo>
                      <a:lnTo>
                        <a:pt x="419" y="16"/>
                      </a:lnTo>
                      <a:lnTo>
                        <a:pt x="440" y="16"/>
                      </a:lnTo>
                      <a:lnTo>
                        <a:pt x="265" y="191"/>
                      </a:lnTo>
                      <a:lnTo>
                        <a:pt x="243" y="191"/>
                      </a:lnTo>
                      <a:close/>
                      <a:moveTo>
                        <a:pt x="200" y="191"/>
                      </a:moveTo>
                      <a:lnTo>
                        <a:pt x="375" y="16"/>
                      </a:lnTo>
                      <a:lnTo>
                        <a:pt x="397" y="16"/>
                      </a:lnTo>
                      <a:lnTo>
                        <a:pt x="222" y="191"/>
                      </a:lnTo>
                      <a:lnTo>
                        <a:pt x="200" y="191"/>
                      </a:lnTo>
                      <a:close/>
                      <a:moveTo>
                        <a:pt x="157" y="191"/>
                      </a:moveTo>
                      <a:lnTo>
                        <a:pt x="332" y="16"/>
                      </a:lnTo>
                      <a:lnTo>
                        <a:pt x="354" y="16"/>
                      </a:lnTo>
                      <a:lnTo>
                        <a:pt x="178" y="191"/>
                      </a:lnTo>
                      <a:lnTo>
                        <a:pt x="157" y="191"/>
                      </a:lnTo>
                      <a:close/>
                      <a:moveTo>
                        <a:pt x="113" y="191"/>
                      </a:moveTo>
                      <a:lnTo>
                        <a:pt x="288" y="16"/>
                      </a:lnTo>
                      <a:lnTo>
                        <a:pt x="310" y="16"/>
                      </a:lnTo>
                      <a:lnTo>
                        <a:pt x="135" y="191"/>
                      </a:lnTo>
                      <a:lnTo>
                        <a:pt x="113" y="191"/>
                      </a:lnTo>
                      <a:close/>
                      <a:moveTo>
                        <a:pt x="70" y="191"/>
                      </a:moveTo>
                      <a:lnTo>
                        <a:pt x="245" y="16"/>
                      </a:lnTo>
                      <a:lnTo>
                        <a:pt x="267" y="16"/>
                      </a:lnTo>
                      <a:lnTo>
                        <a:pt x="91" y="191"/>
                      </a:lnTo>
                      <a:lnTo>
                        <a:pt x="70" y="191"/>
                      </a:lnTo>
                      <a:close/>
                      <a:moveTo>
                        <a:pt x="26" y="191"/>
                      </a:moveTo>
                      <a:lnTo>
                        <a:pt x="202" y="16"/>
                      </a:lnTo>
                      <a:lnTo>
                        <a:pt x="223" y="16"/>
                      </a:lnTo>
                      <a:lnTo>
                        <a:pt x="48" y="191"/>
                      </a:lnTo>
                      <a:lnTo>
                        <a:pt x="26" y="191"/>
                      </a:lnTo>
                      <a:close/>
                      <a:moveTo>
                        <a:pt x="17" y="158"/>
                      </a:moveTo>
                      <a:lnTo>
                        <a:pt x="158" y="16"/>
                      </a:lnTo>
                      <a:lnTo>
                        <a:pt x="180" y="16"/>
                      </a:lnTo>
                      <a:lnTo>
                        <a:pt x="17" y="180"/>
                      </a:lnTo>
                      <a:lnTo>
                        <a:pt x="17" y="158"/>
                      </a:lnTo>
                      <a:close/>
                      <a:moveTo>
                        <a:pt x="17" y="114"/>
                      </a:moveTo>
                      <a:lnTo>
                        <a:pt x="115" y="16"/>
                      </a:lnTo>
                      <a:lnTo>
                        <a:pt x="136" y="16"/>
                      </a:lnTo>
                      <a:lnTo>
                        <a:pt x="17" y="136"/>
                      </a:lnTo>
                      <a:lnTo>
                        <a:pt x="17" y="114"/>
                      </a:lnTo>
                      <a:close/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7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7"/>
                      </a:lnTo>
                      <a:close/>
                      <a:moveTo>
                        <a:pt x="8" y="0"/>
                      </a:move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208"/>
                      </a:lnTo>
                      <a:lnTo>
                        <a:pt x="793" y="208"/>
                      </a:lnTo>
                      <a:lnTo>
                        <a:pt x="784" y="208"/>
                      </a:lnTo>
                      <a:lnTo>
                        <a:pt x="776" y="208"/>
                      </a:lnTo>
                      <a:lnTo>
                        <a:pt x="8" y="208"/>
                      </a:lnTo>
                      <a:lnTo>
                        <a:pt x="0" y="208"/>
                      </a:lnTo>
                      <a:lnTo>
                        <a:pt x="0" y="200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89" name="Freeform 815"/>
                <p:cNvSpPr>
                  <a:spLocks noEditPoints="1"/>
                </p:cNvSpPr>
                <p:nvPr/>
              </p:nvSpPr>
              <p:spPr bwMode="auto">
                <a:xfrm>
                  <a:off x="1052" y="1967"/>
                  <a:ext cx="250" cy="25"/>
                </a:xfrm>
                <a:custGeom>
                  <a:avLst/>
                  <a:gdLst/>
                  <a:ahLst/>
                  <a:cxnLst>
                    <a:cxn ang="0">
                      <a:pos x="71" y="16"/>
                    </a:cxn>
                    <a:cxn ang="0">
                      <a:pos x="17" y="93"/>
                    </a:cxn>
                    <a:cxn ang="0">
                      <a:pos x="17" y="27"/>
                    </a:cxn>
                    <a:cxn ang="0">
                      <a:pos x="50" y="16"/>
                    </a:cxn>
                    <a:cxn ang="0">
                      <a:pos x="17" y="27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104"/>
                    </a:cxn>
                    <a:cxn ang="0">
                      <a:pos x="776" y="93"/>
                    </a:cxn>
                    <a:cxn ang="0">
                      <a:pos x="744" y="104"/>
                    </a:cxn>
                    <a:cxn ang="0">
                      <a:pos x="776" y="49"/>
                    </a:cxn>
                    <a:cxn ang="0">
                      <a:pos x="700" y="104"/>
                    </a:cxn>
                    <a:cxn ang="0">
                      <a:pos x="776" y="16"/>
                    </a:cxn>
                    <a:cxn ang="0">
                      <a:pos x="679" y="104"/>
                    </a:cxn>
                    <a:cxn ang="0">
                      <a:pos x="745" y="16"/>
                    </a:cxn>
                    <a:cxn ang="0">
                      <a:pos x="635" y="104"/>
                    </a:cxn>
                    <a:cxn ang="0">
                      <a:pos x="701" y="16"/>
                    </a:cxn>
                    <a:cxn ang="0">
                      <a:pos x="592" y="104"/>
                    </a:cxn>
                    <a:cxn ang="0">
                      <a:pos x="658" y="16"/>
                    </a:cxn>
                    <a:cxn ang="0">
                      <a:pos x="548" y="104"/>
                    </a:cxn>
                    <a:cxn ang="0">
                      <a:pos x="614" y="16"/>
                    </a:cxn>
                    <a:cxn ang="0">
                      <a:pos x="505" y="104"/>
                    </a:cxn>
                    <a:cxn ang="0">
                      <a:pos x="571" y="16"/>
                    </a:cxn>
                    <a:cxn ang="0">
                      <a:pos x="461" y="104"/>
                    </a:cxn>
                    <a:cxn ang="0">
                      <a:pos x="527" y="16"/>
                    </a:cxn>
                    <a:cxn ang="0">
                      <a:pos x="418" y="104"/>
                    </a:cxn>
                    <a:cxn ang="0">
                      <a:pos x="484" y="16"/>
                    </a:cxn>
                    <a:cxn ang="0">
                      <a:pos x="375" y="104"/>
                    </a:cxn>
                    <a:cxn ang="0">
                      <a:pos x="440" y="16"/>
                    </a:cxn>
                    <a:cxn ang="0">
                      <a:pos x="331" y="104"/>
                    </a:cxn>
                    <a:cxn ang="0">
                      <a:pos x="397" y="16"/>
                    </a:cxn>
                    <a:cxn ang="0">
                      <a:pos x="288" y="104"/>
                    </a:cxn>
                    <a:cxn ang="0">
                      <a:pos x="354" y="16"/>
                    </a:cxn>
                    <a:cxn ang="0">
                      <a:pos x="244" y="104"/>
                    </a:cxn>
                    <a:cxn ang="0">
                      <a:pos x="310" y="16"/>
                    </a:cxn>
                    <a:cxn ang="0">
                      <a:pos x="201" y="104"/>
                    </a:cxn>
                    <a:cxn ang="0">
                      <a:pos x="267" y="16"/>
                    </a:cxn>
                    <a:cxn ang="0">
                      <a:pos x="157" y="104"/>
                    </a:cxn>
                    <a:cxn ang="0">
                      <a:pos x="223" y="16"/>
                    </a:cxn>
                    <a:cxn ang="0">
                      <a:pos x="114" y="104"/>
                    </a:cxn>
                    <a:cxn ang="0">
                      <a:pos x="180" y="16"/>
                    </a:cxn>
                    <a:cxn ang="0">
                      <a:pos x="71" y="104"/>
                    </a:cxn>
                    <a:cxn ang="0">
                      <a:pos x="136" y="16"/>
                    </a:cxn>
                    <a:cxn ang="0">
                      <a:pos x="27" y="104"/>
                    </a:cxn>
                    <a:cxn ang="0">
                      <a:pos x="0" y="8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027" h="104"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7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7"/>
                      </a:lnTo>
                      <a:close/>
                      <a:moveTo>
                        <a:pt x="8" y="0"/>
                      </a:move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104"/>
                      </a:lnTo>
                      <a:lnTo>
                        <a:pt x="776" y="104"/>
                      </a:lnTo>
                      <a:lnTo>
                        <a:pt x="776" y="93"/>
                      </a:lnTo>
                      <a:lnTo>
                        <a:pt x="765" y="104"/>
                      </a:lnTo>
                      <a:lnTo>
                        <a:pt x="744" y="104"/>
                      </a:lnTo>
                      <a:lnTo>
                        <a:pt x="776" y="71"/>
                      </a:lnTo>
                      <a:lnTo>
                        <a:pt x="776" y="49"/>
                      </a:lnTo>
                      <a:lnTo>
                        <a:pt x="722" y="104"/>
                      </a:lnTo>
                      <a:lnTo>
                        <a:pt x="700" y="104"/>
                      </a:lnTo>
                      <a:lnTo>
                        <a:pt x="776" y="28"/>
                      </a:lnTo>
                      <a:lnTo>
                        <a:pt x="776" y="16"/>
                      </a:lnTo>
                      <a:lnTo>
                        <a:pt x="766" y="16"/>
                      </a:lnTo>
                      <a:lnTo>
                        <a:pt x="679" y="104"/>
                      </a:lnTo>
                      <a:lnTo>
                        <a:pt x="657" y="104"/>
                      </a:lnTo>
                      <a:lnTo>
                        <a:pt x="745" y="16"/>
                      </a:lnTo>
                      <a:lnTo>
                        <a:pt x="723" y="16"/>
                      </a:lnTo>
                      <a:lnTo>
                        <a:pt x="635" y="104"/>
                      </a:lnTo>
                      <a:lnTo>
                        <a:pt x="613" y="104"/>
                      </a:lnTo>
                      <a:lnTo>
                        <a:pt x="701" y="16"/>
                      </a:lnTo>
                      <a:lnTo>
                        <a:pt x="679" y="16"/>
                      </a:lnTo>
                      <a:lnTo>
                        <a:pt x="592" y="104"/>
                      </a:lnTo>
                      <a:lnTo>
                        <a:pt x="570" y="104"/>
                      </a:lnTo>
                      <a:lnTo>
                        <a:pt x="658" y="16"/>
                      </a:lnTo>
                      <a:lnTo>
                        <a:pt x="636" y="16"/>
                      </a:lnTo>
                      <a:lnTo>
                        <a:pt x="548" y="104"/>
                      </a:lnTo>
                      <a:lnTo>
                        <a:pt x="527" y="104"/>
                      </a:lnTo>
                      <a:lnTo>
                        <a:pt x="614" y="16"/>
                      </a:lnTo>
                      <a:lnTo>
                        <a:pt x="593" y="16"/>
                      </a:lnTo>
                      <a:lnTo>
                        <a:pt x="505" y="104"/>
                      </a:lnTo>
                      <a:lnTo>
                        <a:pt x="483" y="104"/>
                      </a:lnTo>
                      <a:lnTo>
                        <a:pt x="571" y="16"/>
                      </a:lnTo>
                      <a:lnTo>
                        <a:pt x="549" y="16"/>
                      </a:lnTo>
                      <a:lnTo>
                        <a:pt x="461" y="104"/>
                      </a:lnTo>
                      <a:lnTo>
                        <a:pt x="440" y="104"/>
                      </a:lnTo>
                      <a:lnTo>
                        <a:pt x="527" y="16"/>
                      </a:lnTo>
                      <a:lnTo>
                        <a:pt x="506" y="16"/>
                      </a:lnTo>
                      <a:lnTo>
                        <a:pt x="418" y="104"/>
                      </a:lnTo>
                      <a:lnTo>
                        <a:pt x="396" y="104"/>
                      </a:lnTo>
                      <a:lnTo>
                        <a:pt x="484" y="16"/>
                      </a:lnTo>
                      <a:lnTo>
                        <a:pt x="462" y="16"/>
                      </a:lnTo>
                      <a:lnTo>
                        <a:pt x="375" y="104"/>
                      </a:lnTo>
                      <a:lnTo>
                        <a:pt x="353" y="104"/>
                      </a:lnTo>
                      <a:lnTo>
                        <a:pt x="440" y="16"/>
                      </a:lnTo>
                      <a:lnTo>
                        <a:pt x="419" y="16"/>
                      </a:lnTo>
                      <a:lnTo>
                        <a:pt x="331" y="104"/>
                      </a:lnTo>
                      <a:lnTo>
                        <a:pt x="309" y="104"/>
                      </a:lnTo>
                      <a:lnTo>
                        <a:pt x="397" y="16"/>
                      </a:lnTo>
                      <a:lnTo>
                        <a:pt x="375" y="16"/>
                      </a:lnTo>
                      <a:lnTo>
                        <a:pt x="288" y="104"/>
                      </a:lnTo>
                      <a:lnTo>
                        <a:pt x="266" y="104"/>
                      </a:lnTo>
                      <a:lnTo>
                        <a:pt x="354" y="16"/>
                      </a:lnTo>
                      <a:lnTo>
                        <a:pt x="332" y="16"/>
                      </a:lnTo>
                      <a:lnTo>
                        <a:pt x="244" y="104"/>
                      </a:lnTo>
                      <a:lnTo>
                        <a:pt x="223" y="104"/>
                      </a:lnTo>
                      <a:lnTo>
                        <a:pt x="310" y="16"/>
                      </a:lnTo>
                      <a:lnTo>
                        <a:pt x="288" y="16"/>
                      </a:lnTo>
                      <a:lnTo>
                        <a:pt x="201" y="104"/>
                      </a:lnTo>
                      <a:lnTo>
                        <a:pt x="179" y="104"/>
                      </a:lnTo>
                      <a:lnTo>
                        <a:pt x="267" y="16"/>
                      </a:lnTo>
                      <a:lnTo>
                        <a:pt x="245" y="16"/>
                      </a:lnTo>
                      <a:lnTo>
                        <a:pt x="157" y="104"/>
                      </a:lnTo>
                      <a:lnTo>
                        <a:pt x="136" y="104"/>
                      </a:lnTo>
                      <a:lnTo>
                        <a:pt x="223" y="16"/>
                      </a:lnTo>
                      <a:lnTo>
                        <a:pt x="202" y="16"/>
                      </a:lnTo>
                      <a:lnTo>
                        <a:pt x="114" y="104"/>
                      </a:lnTo>
                      <a:lnTo>
                        <a:pt x="92" y="104"/>
                      </a:lnTo>
                      <a:lnTo>
                        <a:pt x="180" y="16"/>
                      </a:lnTo>
                      <a:lnTo>
                        <a:pt x="158" y="16"/>
                      </a:lnTo>
                      <a:lnTo>
                        <a:pt x="71" y="104"/>
                      </a:lnTo>
                      <a:lnTo>
                        <a:pt x="49" y="104"/>
                      </a:lnTo>
                      <a:lnTo>
                        <a:pt x="136" y="16"/>
                      </a:lnTo>
                      <a:lnTo>
                        <a:pt x="115" y="16"/>
                      </a:lnTo>
                      <a:lnTo>
                        <a:pt x="27" y="104"/>
                      </a:lnTo>
                      <a:lnTo>
                        <a:pt x="0" y="10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0" name="Rectangle 816"/>
                <p:cNvSpPr>
                  <a:spLocks noChangeArrowheads="1"/>
                </p:cNvSpPr>
                <p:nvPr/>
              </p:nvSpPr>
              <p:spPr bwMode="auto">
                <a:xfrm>
                  <a:off x="1302" y="1967"/>
                  <a:ext cx="43" cy="51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1" name="Rectangle 817"/>
                <p:cNvSpPr>
                  <a:spLocks noChangeArrowheads="1"/>
                </p:cNvSpPr>
                <p:nvPr/>
              </p:nvSpPr>
              <p:spPr bwMode="auto">
                <a:xfrm>
                  <a:off x="1302" y="1967"/>
                  <a:ext cx="43" cy="25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2" name="Freeform 818"/>
                <p:cNvSpPr>
                  <a:spLocks/>
                </p:cNvSpPr>
                <p:nvPr/>
              </p:nvSpPr>
              <p:spPr bwMode="auto">
                <a:xfrm>
                  <a:off x="1309" y="2005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6"/>
                    </a:cxn>
                    <a:cxn ang="0">
                      <a:pos x="34" y="26"/>
                    </a:cxn>
                    <a:cxn ang="0">
                      <a:pos x="34" y="19"/>
                    </a:cxn>
                    <a:cxn ang="0">
                      <a:pos x="13" y="19"/>
                    </a:cxn>
                    <a:cxn ang="0">
                      <a:pos x="13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6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6"/>
                      </a:lnTo>
                      <a:lnTo>
                        <a:pt x="34" y="26"/>
                      </a:lnTo>
                      <a:lnTo>
                        <a:pt x="34" y="19"/>
                      </a:lnTo>
                      <a:lnTo>
                        <a:pt x="13" y="19"/>
                      </a:lnTo>
                      <a:lnTo>
                        <a:pt x="13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3" name="Freeform 819"/>
                <p:cNvSpPr>
                  <a:spLocks/>
                </p:cNvSpPr>
                <p:nvPr/>
              </p:nvSpPr>
              <p:spPr bwMode="auto">
                <a:xfrm>
                  <a:off x="1327" y="2005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6"/>
                    </a:cxn>
                    <a:cxn ang="0">
                      <a:pos x="33" y="26"/>
                    </a:cxn>
                    <a:cxn ang="0">
                      <a:pos x="33" y="19"/>
                    </a:cxn>
                    <a:cxn ang="0">
                      <a:pos x="12" y="19"/>
                    </a:cxn>
                    <a:cxn ang="0">
                      <a:pos x="12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6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6"/>
                      </a:lnTo>
                      <a:lnTo>
                        <a:pt x="33" y="26"/>
                      </a:lnTo>
                      <a:lnTo>
                        <a:pt x="33" y="19"/>
                      </a:lnTo>
                      <a:lnTo>
                        <a:pt x="12" y="19"/>
                      </a:lnTo>
                      <a:lnTo>
                        <a:pt x="12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4" name="Rectangle 820"/>
                <p:cNvSpPr>
                  <a:spLocks noChangeArrowheads="1"/>
                </p:cNvSpPr>
                <p:nvPr/>
              </p:nvSpPr>
              <p:spPr bwMode="auto">
                <a:xfrm>
                  <a:off x="1309" y="1991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5" name="Rectangle 821"/>
                <p:cNvSpPr>
                  <a:spLocks noChangeArrowheads="1"/>
                </p:cNvSpPr>
                <p:nvPr/>
              </p:nvSpPr>
              <p:spPr bwMode="auto">
                <a:xfrm>
                  <a:off x="1309" y="1991"/>
                  <a:ext cx="29" cy="1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6" name="Rectangle 822"/>
                <p:cNvSpPr>
                  <a:spLocks noChangeArrowheads="1"/>
                </p:cNvSpPr>
                <p:nvPr/>
              </p:nvSpPr>
              <p:spPr bwMode="auto">
                <a:xfrm>
                  <a:off x="1309" y="1973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7" name="Rectangle 823"/>
                <p:cNvSpPr>
                  <a:spLocks noChangeArrowheads="1"/>
                </p:cNvSpPr>
                <p:nvPr/>
              </p:nvSpPr>
              <p:spPr bwMode="auto">
                <a:xfrm>
                  <a:off x="1309" y="1982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8" name="Rectangle 824"/>
                <p:cNvSpPr>
                  <a:spLocks noChangeArrowheads="1"/>
                </p:cNvSpPr>
                <p:nvPr/>
              </p:nvSpPr>
              <p:spPr bwMode="auto">
                <a:xfrm>
                  <a:off x="1309" y="1986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99" name="Rectangle 825"/>
                <p:cNvSpPr>
                  <a:spLocks noChangeArrowheads="1"/>
                </p:cNvSpPr>
                <p:nvPr/>
              </p:nvSpPr>
              <p:spPr bwMode="auto">
                <a:xfrm>
                  <a:off x="1309" y="1978"/>
                  <a:ext cx="29" cy="2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0" name="Rectangle 826"/>
                <p:cNvSpPr>
                  <a:spLocks noChangeArrowheads="1"/>
                </p:cNvSpPr>
                <p:nvPr/>
              </p:nvSpPr>
              <p:spPr bwMode="auto">
                <a:xfrm>
                  <a:off x="1309" y="2001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1" name="Rectangle 827"/>
                <p:cNvSpPr>
                  <a:spLocks noChangeArrowheads="1"/>
                </p:cNvSpPr>
                <p:nvPr/>
              </p:nvSpPr>
              <p:spPr bwMode="auto">
                <a:xfrm>
                  <a:off x="1327" y="2001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2" name="Rectangle 828"/>
                <p:cNvSpPr>
                  <a:spLocks noChangeArrowheads="1"/>
                </p:cNvSpPr>
                <p:nvPr/>
              </p:nvSpPr>
              <p:spPr bwMode="auto">
                <a:xfrm>
                  <a:off x="1246" y="1971"/>
                  <a:ext cx="51" cy="43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3" name="Rectangle 829"/>
                <p:cNvSpPr>
                  <a:spLocks noChangeArrowheads="1"/>
                </p:cNvSpPr>
                <p:nvPr/>
              </p:nvSpPr>
              <p:spPr bwMode="auto">
                <a:xfrm>
                  <a:off x="1246" y="1992"/>
                  <a:ext cx="51" cy="22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4" name="Rectangle 830"/>
                <p:cNvSpPr>
                  <a:spLocks noChangeArrowheads="1"/>
                </p:cNvSpPr>
                <p:nvPr/>
              </p:nvSpPr>
              <p:spPr bwMode="auto">
                <a:xfrm>
                  <a:off x="1247" y="1972"/>
                  <a:ext cx="48" cy="40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5" name="Rectangle 831"/>
                <p:cNvSpPr>
                  <a:spLocks noChangeArrowheads="1"/>
                </p:cNvSpPr>
                <p:nvPr/>
              </p:nvSpPr>
              <p:spPr bwMode="auto">
                <a:xfrm>
                  <a:off x="1247" y="1972"/>
                  <a:ext cx="48" cy="20"/>
                </a:xfrm>
                <a:prstGeom prst="rect">
                  <a:avLst/>
                </a:prstGeom>
                <a:solidFill>
                  <a:srgbClr val="4DAD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6" name="Rectangle 832"/>
                <p:cNvSpPr>
                  <a:spLocks noChangeArrowheads="1"/>
                </p:cNvSpPr>
                <p:nvPr/>
              </p:nvSpPr>
              <p:spPr bwMode="auto">
                <a:xfrm>
                  <a:off x="1347" y="1967"/>
                  <a:ext cx="293" cy="5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7" name="Freeform 833"/>
                <p:cNvSpPr>
                  <a:spLocks noEditPoints="1"/>
                </p:cNvSpPr>
                <p:nvPr/>
              </p:nvSpPr>
              <p:spPr bwMode="auto">
                <a:xfrm>
                  <a:off x="1345" y="1965"/>
                  <a:ext cx="297" cy="55"/>
                </a:xfrm>
                <a:custGeom>
                  <a:avLst/>
                  <a:gdLst/>
                  <a:ahLst/>
                  <a:cxnLst>
                    <a:cxn ang="0">
                      <a:pos x="1206" y="16"/>
                    </a:cxn>
                    <a:cxn ang="0">
                      <a:pos x="17" y="16"/>
                    </a:cxn>
                    <a:cxn ang="0">
                      <a:pos x="17" y="207"/>
                    </a:cxn>
                    <a:cxn ang="0">
                      <a:pos x="1206" y="207"/>
                    </a:cxn>
                    <a:cxn ang="0">
                      <a:pos x="1206" y="16"/>
                    </a:cxn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3" y="0"/>
                    </a:cxn>
                    <a:cxn ang="0">
                      <a:pos x="1223" y="8"/>
                    </a:cxn>
                    <a:cxn ang="0">
                      <a:pos x="1223" y="216"/>
                    </a:cxn>
                    <a:cxn ang="0">
                      <a:pos x="1223" y="224"/>
                    </a:cxn>
                    <a:cxn ang="0">
                      <a:pos x="1214" y="224"/>
                    </a:cxn>
                    <a:cxn ang="0">
                      <a:pos x="8" y="224"/>
                    </a:cxn>
                    <a:cxn ang="0">
                      <a:pos x="0" y="224"/>
                    </a:cxn>
                    <a:cxn ang="0">
                      <a:pos x="0" y="216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3" h="224">
                      <a:moveTo>
                        <a:pt x="1206" y="16"/>
                      </a:moveTo>
                      <a:lnTo>
                        <a:pt x="17" y="16"/>
                      </a:lnTo>
                      <a:lnTo>
                        <a:pt x="17" y="207"/>
                      </a:lnTo>
                      <a:lnTo>
                        <a:pt x="1206" y="207"/>
                      </a:lnTo>
                      <a:lnTo>
                        <a:pt x="1206" y="16"/>
                      </a:lnTo>
                      <a:close/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3" y="0"/>
                      </a:lnTo>
                      <a:lnTo>
                        <a:pt x="1223" y="8"/>
                      </a:lnTo>
                      <a:lnTo>
                        <a:pt x="1223" y="216"/>
                      </a:lnTo>
                      <a:lnTo>
                        <a:pt x="1223" y="224"/>
                      </a:lnTo>
                      <a:lnTo>
                        <a:pt x="1214" y="224"/>
                      </a:lnTo>
                      <a:lnTo>
                        <a:pt x="8" y="224"/>
                      </a:lnTo>
                      <a:lnTo>
                        <a:pt x="0" y="224"/>
                      </a:lnTo>
                      <a:lnTo>
                        <a:pt x="0" y="2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8" name="Freeform 834"/>
                <p:cNvSpPr>
                  <a:spLocks/>
                </p:cNvSpPr>
                <p:nvPr/>
              </p:nvSpPr>
              <p:spPr bwMode="auto">
                <a:xfrm>
                  <a:off x="1345" y="1965"/>
                  <a:ext cx="297" cy="27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3" y="0"/>
                    </a:cxn>
                    <a:cxn ang="0">
                      <a:pos x="1223" y="8"/>
                    </a:cxn>
                    <a:cxn ang="0">
                      <a:pos x="1223" y="112"/>
                    </a:cxn>
                    <a:cxn ang="0">
                      <a:pos x="1206" y="112"/>
                    </a:cxn>
                    <a:cxn ang="0">
                      <a:pos x="1206" y="16"/>
                    </a:cxn>
                    <a:cxn ang="0">
                      <a:pos x="17" y="16"/>
                    </a:cxn>
                    <a:cxn ang="0">
                      <a:pos x="17" y="112"/>
                    </a:cxn>
                    <a:cxn ang="0">
                      <a:pos x="0" y="112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3" h="112"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3" y="0"/>
                      </a:lnTo>
                      <a:lnTo>
                        <a:pt x="1223" y="8"/>
                      </a:lnTo>
                      <a:lnTo>
                        <a:pt x="1223" y="112"/>
                      </a:lnTo>
                      <a:lnTo>
                        <a:pt x="1206" y="112"/>
                      </a:lnTo>
                      <a:lnTo>
                        <a:pt x="1206" y="16"/>
                      </a:lnTo>
                      <a:lnTo>
                        <a:pt x="17" y="16"/>
                      </a:lnTo>
                      <a:lnTo>
                        <a:pt x="17" y="112"/>
                      </a:lnTo>
                      <a:lnTo>
                        <a:pt x="0" y="112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09" name="Freeform 835"/>
                <p:cNvSpPr>
                  <a:spLocks noEditPoints="1"/>
                </p:cNvSpPr>
                <p:nvPr/>
              </p:nvSpPr>
              <p:spPr bwMode="auto">
                <a:xfrm>
                  <a:off x="1347" y="1967"/>
                  <a:ext cx="250" cy="51"/>
                </a:xfrm>
                <a:custGeom>
                  <a:avLst/>
                  <a:gdLst/>
                  <a:ahLst/>
                  <a:cxnLst>
                    <a:cxn ang="0">
                      <a:pos x="776" y="180"/>
                    </a:cxn>
                    <a:cxn ang="0">
                      <a:pos x="765" y="191"/>
                    </a:cxn>
                    <a:cxn ang="0">
                      <a:pos x="776" y="136"/>
                    </a:cxn>
                    <a:cxn ang="0">
                      <a:pos x="743" y="191"/>
                    </a:cxn>
                    <a:cxn ang="0">
                      <a:pos x="678" y="191"/>
                    </a:cxn>
                    <a:cxn ang="0">
                      <a:pos x="776" y="115"/>
                    </a:cxn>
                    <a:cxn ang="0">
                      <a:pos x="678" y="191"/>
                    </a:cxn>
                    <a:cxn ang="0">
                      <a:pos x="776" y="49"/>
                    </a:cxn>
                    <a:cxn ang="0">
                      <a:pos x="656" y="191"/>
                    </a:cxn>
                    <a:cxn ang="0">
                      <a:pos x="591" y="191"/>
                    </a:cxn>
                    <a:cxn ang="0">
                      <a:pos x="776" y="16"/>
                    </a:cxn>
                    <a:cxn ang="0">
                      <a:pos x="613" y="191"/>
                    </a:cxn>
                    <a:cxn ang="0">
                      <a:pos x="548" y="191"/>
                    </a:cxn>
                    <a:cxn ang="0">
                      <a:pos x="745" y="16"/>
                    </a:cxn>
                    <a:cxn ang="0">
                      <a:pos x="548" y="191"/>
                    </a:cxn>
                    <a:cxn ang="0">
                      <a:pos x="680" y="16"/>
                    </a:cxn>
                    <a:cxn ang="0">
                      <a:pos x="526" y="191"/>
                    </a:cxn>
                    <a:cxn ang="0">
                      <a:pos x="461" y="191"/>
                    </a:cxn>
                    <a:cxn ang="0">
                      <a:pos x="658" y="16"/>
                    </a:cxn>
                    <a:cxn ang="0">
                      <a:pos x="461" y="191"/>
                    </a:cxn>
                    <a:cxn ang="0">
                      <a:pos x="593" y="16"/>
                    </a:cxn>
                    <a:cxn ang="0">
                      <a:pos x="439" y="191"/>
                    </a:cxn>
                    <a:cxn ang="0">
                      <a:pos x="374" y="191"/>
                    </a:cxn>
                    <a:cxn ang="0">
                      <a:pos x="571" y="16"/>
                    </a:cxn>
                    <a:cxn ang="0">
                      <a:pos x="374" y="191"/>
                    </a:cxn>
                    <a:cxn ang="0">
                      <a:pos x="506" y="16"/>
                    </a:cxn>
                    <a:cxn ang="0">
                      <a:pos x="352" y="191"/>
                    </a:cxn>
                    <a:cxn ang="0">
                      <a:pos x="287" y="191"/>
                    </a:cxn>
                    <a:cxn ang="0">
                      <a:pos x="484" y="16"/>
                    </a:cxn>
                    <a:cxn ang="0">
                      <a:pos x="287" y="191"/>
                    </a:cxn>
                    <a:cxn ang="0">
                      <a:pos x="419" y="16"/>
                    </a:cxn>
                    <a:cxn ang="0">
                      <a:pos x="265" y="191"/>
                    </a:cxn>
                    <a:cxn ang="0">
                      <a:pos x="200" y="191"/>
                    </a:cxn>
                    <a:cxn ang="0">
                      <a:pos x="397" y="16"/>
                    </a:cxn>
                    <a:cxn ang="0">
                      <a:pos x="200" y="191"/>
                    </a:cxn>
                    <a:cxn ang="0">
                      <a:pos x="332" y="16"/>
                    </a:cxn>
                    <a:cxn ang="0">
                      <a:pos x="178" y="191"/>
                    </a:cxn>
                    <a:cxn ang="0">
                      <a:pos x="113" y="191"/>
                    </a:cxn>
                    <a:cxn ang="0">
                      <a:pos x="310" y="16"/>
                    </a:cxn>
                    <a:cxn ang="0">
                      <a:pos x="113" y="191"/>
                    </a:cxn>
                    <a:cxn ang="0">
                      <a:pos x="245" y="16"/>
                    </a:cxn>
                    <a:cxn ang="0">
                      <a:pos x="92" y="191"/>
                    </a:cxn>
                    <a:cxn ang="0">
                      <a:pos x="26" y="191"/>
                    </a:cxn>
                    <a:cxn ang="0">
                      <a:pos x="224" y="16"/>
                    </a:cxn>
                    <a:cxn ang="0">
                      <a:pos x="26" y="191"/>
                    </a:cxn>
                    <a:cxn ang="0">
                      <a:pos x="158" y="16"/>
                    </a:cxn>
                    <a:cxn ang="0">
                      <a:pos x="17" y="180"/>
                    </a:cxn>
                    <a:cxn ang="0">
                      <a:pos x="17" y="114"/>
                    </a:cxn>
                    <a:cxn ang="0">
                      <a:pos x="137" y="16"/>
                    </a:cxn>
                    <a:cxn ang="0">
                      <a:pos x="17" y="114"/>
                    </a:cxn>
                    <a:cxn ang="0">
                      <a:pos x="71" y="16"/>
                    </a:cxn>
                    <a:cxn ang="0">
                      <a:pos x="17" y="93"/>
                    </a:cxn>
                    <a:cxn ang="0">
                      <a:pos x="17" y="27"/>
                    </a:cxn>
                    <a:cxn ang="0">
                      <a:pos x="50" y="16"/>
                    </a:cxn>
                    <a:cxn ang="0">
                      <a:pos x="17" y="27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208"/>
                    </a:cxn>
                    <a:cxn ang="0">
                      <a:pos x="785" y="208"/>
                    </a:cxn>
                    <a:cxn ang="0">
                      <a:pos x="9" y="208"/>
                    </a:cxn>
                    <a:cxn ang="0">
                      <a:pos x="0" y="20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27" h="208">
                      <a:moveTo>
                        <a:pt x="765" y="191"/>
                      </a:moveTo>
                      <a:lnTo>
                        <a:pt x="776" y="180"/>
                      </a:lnTo>
                      <a:lnTo>
                        <a:pt x="776" y="191"/>
                      </a:lnTo>
                      <a:lnTo>
                        <a:pt x="765" y="191"/>
                      </a:lnTo>
                      <a:close/>
                      <a:moveTo>
                        <a:pt x="721" y="191"/>
                      </a:moveTo>
                      <a:lnTo>
                        <a:pt x="776" y="136"/>
                      </a:lnTo>
                      <a:lnTo>
                        <a:pt x="776" y="158"/>
                      </a:lnTo>
                      <a:lnTo>
                        <a:pt x="743" y="191"/>
                      </a:lnTo>
                      <a:lnTo>
                        <a:pt x="721" y="191"/>
                      </a:lnTo>
                      <a:close/>
                      <a:moveTo>
                        <a:pt x="678" y="191"/>
                      </a:moveTo>
                      <a:lnTo>
                        <a:pt x="776" y="93"/>
                      </a:lnTo>
                      <a:lnTo>
                        <a:pt x="776" y="115"/>
                      </a:lnTo>
                      <a:lnTo>
                        <a:pt x="700" y="191"/>
                      </a:lnTo>
                      <a:lnTo>
                        <a:pt x="678" y="191"/>
                      </a:lnTo>
                      <a:close/>
                      <a:moveTo>
                        <a:pt x="635" y="191"/>
                      </a:moveTo>
                      <a:lnTo>
                        <a:pt x="776" y="49"/>
                      </a:lnTo>
                      <a:lnTo>
                        <a:pt x="776" y="71"/>
                      </a:lnTo>
                      <a:lnTo>
                        <a:pt x="656" y="191"/>
                      </a:lnTo>
                      <a:lnTo>
                        <a:pt x="635" y="191"/>
                      </a:lnTo>
                      <a:close/>
                      <a:moveTo>
                        <a:pt x="591" y="191"/>
                      </a:moveTo>
                      <a:lnTo>
                        <a:pt x="766" y="16"/>
                      </a:lnTo>
                      <a:lnTo>
                        <a:pt x="776" y="16"/>
                      </a:lnTo>
                      <a:lnTo>
                        <a:pt x="776" y="28"/>
                      </a:lnTo>
                      <a:lnTo>
                        <a:pt x="613" y="191"/>
                      </a:lnTo>
                      <a:lnTo>
                        <a:pt x="591" y="191"/>
                      </a:lnTo>
                      <a:close/>
                      <a:moveTo>
                        <a:pt x="548" y="191"/>
                      </a:moveTo>
                      <a:lnTo>
                        <a:pt x="723" y="16"/>
                      </a:lnTo>
                      <a:lnTo>
                        <a:pt x="745" y="16"/>
                      </a:lnTo>
                      <a:lnTo>
                        <a:pt x="569" y="191"/>
                      </a:lnTo>
                      <a:lnTo>
                        <a:pt x="548" y="191"/>
                      </a:lnTo>
                      <a:close/>
                      <a:moveTo>
                        <a:pt x="504" y="191"/>
                      </a:moveTo>
                      <a:lnTo>
                        <a:pt x="680" y="16"/>
                      </a:lnTo>
                      <a:lnTo>
                        <a:pt x="701" y="16"/>
                      </a:lnTo>
                      <a:lnTo>
                        <a:pt x="526" y="191"/>
                      </a:lnTo>
                      <a:lnTo>
                        <a:pt x="504" y="191"/>
                      </a:lnTo>
                      <a:close/>
                      <a:moveTo>
                        <a:pt x="461" y="191"/>
                      </a:moveTo>
                      <a:lnTo>
                        <a:pt x="636" y="16"/>
                      </a:lnTo>
                      <a:lnTo>
                        <a:pt x="658" y="16"/>
                      </a:lnTo>
                      <a:lnTo>
                        <a:pt x="483" y="191"/>
                      </a:lnTo>
                      <a:lnTo>
                        <a:pt x="461" y="191"/>
                      </a:lnTo>
                      <a:close/>
                      <a:moveTo>
                        <a:pt x="417" y="191"/>
                      </a:moveTo>
                      <a:lnTo>
                        <a:pt x="593" y="16"/>
                      </a:lnTo>
                      <a:lnTo>
                        <a:pt x="614" y="16"/>
                      </a:lnTo>
                      <a:lnTo>
                        <a:pt x="439" y="191"/>
                      </a:lnTo>
                      <a:lnTo>
                        <a:pt x="417" y="191"/>
                      </a:lnTo>
                      <a:close/>
                      <a:moveTo>
                        <a:pt x="374" y="191"/>
                      </a:moveTo>
                      <a:lnTo>
                        <a:pt x="549" y="16"/>
                      </a:lnTo>
                      <a:lnTo>
                        <a:pt x="571" y="16"/>
                      </a:lnTo>
                      <a:lnTo>
                        <a:pt x="396" y="191"/>
                      </a:lnTo>
                      <a:lnTo>
                        <a:pt x="374" y="191"/>
                      </a:lnTo>
                      <a:close/>
                      <a:moveTo>
                        <a:pt x="331" y="191"/>
                      </a:moveTo>
                      <a:lnTo>
                        <a:pt x="506" y="16"/>
                      </a:lnTo>
                      <a:lnTo>
                        <a:pt x="528" y="16"/>
                      </a:lnTo>
                      <a:lnTo>
                        <a:pt x="352" y="191"/>
                      </a:lnTo>
                      <a:lnTo>
                        <a:pt x="331" y="191"/>
                      </a:lnTo>
                      <a:close/>
                      <a:moveTo>
                        <a:pt x="287" y="191"/>
                      </a:moveTo>
                      <a:lnTo>
                        <a:pt x="462" y="16"/>
                      </a:lnTo>
                      <a:lnTo>
                        <a:pt x="484" y="16"/>
                      </a:lnTo>
                      <a:lnTo>
                        <a:pt x="309" y="191"/>
                      </a:lnTo>
                      <a:lnTo>
                        <a:pt x="287" y="191"/>
                      </a:lnTo>
                      <a:close/>
                      <a:moveTo>
                        <a:pt x="244" y="191"/>
                      </a:moveTo>
                      <a:lnTo>
                        <a:pt x="419" y="16"/>
                      </a:lnTo>
                      <a:lnTo>
                        <a:pt x="441" y="16"/>
                      </a:lnTo>
                      <a:lnTo>
                        <a:pt x="265" y="191"/>
                      </a:lnTo>
                      <a:lnTo>
                        <a:pt x="244" y="191"/>
                      </a:lnTo>
                      <a:close/>
                      <a:moveTo>
                        <a:pt x="200" y="191"/>
                      </a:moveTo>
                      <a:lnTo>
                        <a:pt x="376" y="16"/>
                      </a:lnTo>
                      <a:lnTo>
                        <a:pt x="397" y="16"/>
                      </a:lnTo>
                      <a:lnTo>
                        <a:pt x="222" y="191"/>
                      </a:lnTo>
                      <a:lnTo>
                        <a:pt x="200" y="191"/>
                      </a:lnTo>
                      <a:close/>
                      <a:moveTo>
                        <a:pt x="157" y="191"/>
                      </a:moveTo>
                      <a:lnTo>
                        <a:pt x="332" y="16"/>
                      </a:lnTo>
                      <a:lnTo>
                        <a:pt x="354" y="16"/>
                      </a:lnTo>
                      <a:lnTo>
                        <a:pt x="178" y="191"/>
                      </a:lnTo>
                      <a:lnTo>
                        <a:pt x="157" y="191"/>
                      </a:lnTo>
                      <a:close/>
                      <a:moveTo>
                        <a:pt x="113" y="191"/>
                      </a:moveTo>
                      <a:lnTo>
                        <a:pt x="289" y="16"/>
                      </a:lnTo>
                      <a:lnTo>
                        <a:pt x="310" y="16"/>
                      </a:lnTo>
                      <a:lnTo>
                        <a:pt x="135" y="191"/>
                      </a:lnTo>
                      <a:lnTo>
                        <a:pt x="113" y="191"/>
                      </a:lnTo>
                      <a:close/>
                      <a:moveTo>
                        <a:pt x="70" y="191"/>
                      </a:moveTo>
                      <a:lnTo>
                        <a:pt x="245" y="16"/>
                      </a:lnTo>
                      <a:lnTo>
                        <a:pt x="267" y="16"/>
                      </a:lnTo>
                      <a:lnTo>
                        <a:pt x="92" y="191"/>
                      </a:lnTo>
                      <a:lnTo>
                        <a:pt x="70" y="191"/>
                      </a:lnTo>
                      <a:close/>
                      <a:moveTo>
                        <a:pt x="26" y="191"/>
                      </a:moveTo>
                      <a:lnTo>
                        <a:pt x="202" y="16"/>
                      </a:lnTo>
                      <a:lnTo>
                        <a:pt x="224" y="16"/>
                      </a:lnTo>
                      <a:lnTo>
                        <a:pt x="48" y="191"/>
                      </a:lnTo>
                      <a:lnTo>
                        <a:pt x="26" y="191"/>
                      </a:lnTo>
                      <a:close/>
                      <a:moveTo>
                        <a:pt x="17" y="158"/>
                      </a:moveTo>
                      <a:lnTo>
                        <a:pt x="158" y="16"/>
                      </a:lnTo>
                      <a:lnTo>
                        <a:pt x="180" y="16"/>
                      </a:lnTo>
                      <a:lnTo>
                        <a:pt x="17" y="180"/>
                      </a:lnTo>
                      <a:lnTo>
                        <a:pt x="17" y="158"/>
                      </a:lnTo>
                      <a:close/>
                      <a:moveTo>
                        <a:pt x="17" y="114"/>
                      </a:moveTo>
                      <a:lnTo>
                        <a:pt x="115" y="16"/>
                      </a:lnTo>
                      <a:lnTo>
                        <a:pt x="137" y="16"/>
                      </a:lnTo>
                      <a:lnTo>
                        <a:pt x="17" y="136"/>
                      </a:lnTo>
                      <a:lnTo>
                        <a:pt x="17" y="114"/>
                      </a:lnTo>
                      <a:close/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7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7"/>
                      </a:lnTo>
                      <a:close/>
                      <a:moveTo>
                        <a:pt x="9" y="0"/>
                      </a:moveTo>
                      <a:lnTo>
                        <a:pt x="776" y="0"/>
                      </a:lnTo>
                      <a:lnTo>
                        <a:pt x="785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208"/>
                      </a:lnTo>
                      <a:lnTo>
                        <a:pt x="793" y="208"/>
                      </a:lnTo>
                      <a:lnTo>
                        <a:pt x="785" y="208"/>
                      </a:lnTo>
                      <a:lnTo>
                        <a:pt x="776" y="208"/>
                      </a:lnTo>
                      <a:lnTo>
                        <a:pt x="9" y="208"/>
                      </a:lnTo>
                      <a:lnTo>
                        <a:pt x="0" y="208"/>
                      </a:lnTo>
                      <a:lnTo>
                        <a:pt x="0" y="200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0" name="Freeform 836"/>
                <p:cNvSpPr>
                  <a:spLocks noEditPoints="1"/>
                </p:cNvSpPr>
                <p:nvPr/>
              </p:nvSpPr>
              <p:spPr bwMode="auto">
                <a:xfrm>
                  <a:off x="1347" y="1967"/>
                  <a:ext cx="250" cy="25"/>
                </a:xfrm>
                <a:custGeom>
                  <a:avLst/>
                  <a:gdLst/>
                  <a:ahLst/>
                  <a:cxnLst>
                    <a:cxn ang="0">
                      <a:pos x="71" y="16"/>
                    </a:cxn>
                    <a:cxn ang="0">
                      <a:pos x="17" y="93"/>
                    </a:cxn>
                    <a:cxn ang="0">
                      <a:pos x="17" y="27"/>
                    </a:cxn>
                    <a:cxn ang="0">
                      <a:pos x="50" y="16"/>
                    </a:cxn>
                    <a:cxn ang="0">
                      <a:pos x="17" y="27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104"/>
                    </a:cxn>
                    <a:cxn ang="0">
                      <a:pos x="776" y="93"/>
                    </a:cxn>
                    <a:cxn ang="0">
                      <a:pos x="744" y="104"/>
                    </a:cxn>
                    <a:cxn ang="0">
                      <a:pos x="776" y="49"/>
                    </a:cxn>
                    <a:cxn ang="0">
                      <a:pos x="700" y="104"/>
                    </a:cxn>
                    <a:cxn ang="0">
                      <a:pos x="776" y="16"/>
                    </a:cxn>
                    <a:cxn ang="0">
                      <a:pos x="679" y="104"/>
                    </a:cxn>
                    <a:cxn ang="0">
                      <a:pos x="745" y="16"/>
                    </a:cxn>
                    <a:cxn ang="0">
                      <a:pos x="635" y="104"/>
                    </a:cxn>
                    <a:cxn ang="0">
                      <a:pos x="701" y="16"/>
                    </a:cxn>
                    <a:cxn ang="0">
                      <a:pos x="592" y="104"/>
                    </a:cxn>
                    <a:cxn ang="0">
                      <a:pos x="658" y="16"/>
                    </a:cxn>
                    <a:cxn ang="0">
                      <a:pos x="548" y="104"/>
                    </a:cxn>
                    <a:cxn ang="0">
                      <a:pos x="614" y="16"/>
                    </a:cxn>
                    <a:cxn ang="0">
                      <a:pos x="505" y="104"/>
                    </a:cxn>
                    <a:cxn ang="0">
                      <a:pos x="571" y="16"/>
                    </a:cxn>
                    <a:cxn ang="0">
                      <a:pos x="462" y="104"/>
                    </a:cxn>
                    <a:cxn ang="0">
                      <a:pos x="528" y="16"/>
                    </a:cxn>
                    <a:cxn ang="0">
                      <a:pos x="418" y="104"/>
                    </a:cxn>
                    <a:cxn ang="0">
                      <a:pos x="484" y="16"/>
                    </a:cxn>
                    <a:cxn ang="0">
                      <a:pos x="375" y="104"/>
                    </a:cxn>
                    <a:cxn ang="0">
                      <a:pos x="441" y="16"/>
                    </a:cxn>
                    <a:cxn ang="0">
                      <a:pos x="331" y="104"/>
                    </a:cxn>
                    <a:cxn ang="0">
                      <a:pos x="397" y="16"/>
                    </a:cxn>
                    <a:cxn ang="0">
                      <a:pos x="288" y="104"/>
                    </a:cxn>
                    <a:cxn ang="0">
                      <a:pos x="354" y="16"/>
                    </a:cxn>
                    <a:cxn ang="0">
                      <a:pos x="244" y="104"/>
                    </a:cxn>
                    <a:cxn ang="0">
                      <a:pos x="310" y="16"/>
                    </a:cxn>
                    <a:cxn ang="0">
                      <a:pos x="201" y="104"/>
                    </a:cxn>
                    <a:cxn ang="0">
                      <a:pos x="267" y="16"/>
                    </a:cxn>
                    <a:cxn ang="0">
                      <a:pos x="158" y="104"/>
                    </a:cxn>
                    <a:cxn ang="0">
                      <a:pos x="224" y="16"/>
                    </a:cxn>
                    <a:cxn ang="0">
                      <a:pos x="114" y="104"/>
                    </a:cxn>
                    <a:cxn ang="0">
                      <a:pos x="180" y="16"/>
                    </a:cxn>
                    <a:cxn ang="0">
                      <a:pos x="71" y="104"/>
                    </a:cxn>
                    <a:cxn ang="0">
                      <a:pos x="137" y="16"/>
                    </a:cxn>
                    <a:cxn ang="0">
                      <a:pos x="27" y="104"/>
                    </a:cxn>
                    <a:cxn ang="0">
                      <a:pos x="0" y="8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1027" h="104"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7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7"/>
                      </a:lnTo>
                      <a:close/>
                      <a:moveTo>
                        <a:pt x="9" y="0"/>
                      </a:moveTo>
                      <a:lnTo>
                        <a:pt x="776" y="0"/>
                      </a:lnTo>
                      <a:lnTo>
                        <a:pt x="785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104"/>
                      </a:lnTo>
                      <a:lnTo>
                        <a:pt x="776" y="104"/>
                      </a:lnTo>
                      <a:lnTo>
                        <a:pt x="776" y="93"/>
                      </a:lnTo>
                      <a:lnTo>
                        <a:pt x="766" y="104"/>
                      </a:lnTo>
                      <a:lnTo>
                        <a:pt x="744" y="104"/>
                      </a:lnTo>
                      <a:lnTo>
                        <a:pt x="776" y="71"/>
                      </a:lnTo>
                      <a:lnTo>
                        <a:pt x="776" y="49"/>
                      </a:lnTo>
                      <a:lnTo>
                        <a:pt x="722" y="104"/>
                      </a:lnTo>
                      <a:lnTo>
                        <a:pt x="700" y="104"/>
                      </a:lnTo>
                      <a:lnTo>
                        <a:pt x="776" y="28"/>
                      </a:lnTo>
                      <a:lnTo>
                        <a:pt x="776" y="16"/>
                      </a:lnTo>
                      <a:lnTo>
                        <a:pt x="766" y="16"/>
                      </a:lnTo>
                      <a:lnTo>
                        <a:pt x="679" y="104"/>
                      </a:lnTo>
                      <a:lnTo>
                        <a:pt x="657" y="104"/>
                      </a:lnTo>
                      <a:lnTo>
                        <a:pt x="745" y="16"/>
                      </a:lnTo>
                      <a:lnTo>
                        <a:pt x="723" y="16"/>
                      </a:lnTo>
                      <a:lnTo>
                        <a:pt x="635" y="104"/>
                      </a:lnTo>
                      <a:lnTo>
                        <a:pt x="614" y="104"/>
                      </a:lnTo>
                      <a:lnTo>
                        <a:pt x="701" y="16"/>
                      </a:lnTo>
                      <a:lnTo>
                        <a:pt x="680" y="16"/>
                      </a:lnTo>
                      <a:lnTo>
                        <a:pt x="592" y="104"/>
                      </a:lnTo>
                      <a:lnTo>
                        <a:pt x="570" y="104"/>
                      </a:lnTo>
                      <a:lnTo>
                        <a:pt x="658" y="16"/>
                      </a:lnTo>
                      <a:lnTo>
                        <a:pt x="636" y="16"/>
                      </a:lnTo>
                      <a:lnTo>
                        <a:pt x="548" y="104"/>
                      </a:lnTo>
                      <a:lnTo>
                        <a:pt x="527" y="104"/>
                      </a:lnTo>
                      <a:lnTo>
                        <a:pt x="614" y="16"/>
                      </a:lnTo>
                      <a:lnTo>
                        <a:pt x="593" y="16"/>
                      </a:lnTo>
                      <a:lnTo>
                        <a:pt x="505" y="104"/>
                      </a:lnTo>
                      <a:lnTo>
                        <a:pt x="483" y="104"/>
                      </a:lnTo>
                      <a:lnTo>
                        <a:pt x="571" y="16"/>
                      </a:lnTo>
                      <a:lnTo>
                        <a:pt x="549" y="16"/>
                      </a:lnTo>
                      <a:lnTo>
                        <a:pt x="462" y="104"/>
                      </a:lnTo>
                      <a:lnTo>
                        <a:pt x="440" y="104"/>
                      </a:lnTo>
                      <a:lnTo>
                        <a:pt x="528" y="16"/>
                      </a:lnTo>
                      <a:lnTo>
                        <a:pt x="506" y="16"/>
                      </a:lnTo>
                      <a:lnTo>
                        <a:pt x="418" y="104"/>
                      </a:lnTo>
                      <a:lnTo>
                        <a:pt x="396" y="104"/>
                      </a:lnTo>
                      <a:lnTo>
                        <a:pt x="484" y="16"/>
                      </a:lnTo>
                      <a:lnTo>
                        <a:pt x="462" y="16"/>
                      </a:lnTo>
                      <a:lnTo>
                        <a:pt x="375" y="104"/>
                      </a:lnTo>
                      <a:lnTo>
                        <a:pt x="353" y="104"/>
                      </a:lnTo>
                      <a:lnTo>
                        <a:pt x="441" y="16"/>
                      </a:lnTo>
                      <a:lnTo>
                        <a:pt x="419" y="16"/>
                      </a:lnTo>
                      <a:lnTo>
                        <a:pt x="331" y="104"/>
                      </a:lnTo>
                      <a:lnTo>
                        <a:pt x="310" y="104"/>
                      </a:lnTo>
                      <a:lnTo>
                        <a:pt x="397" y="16"/>
                      </a:lnTo>
                      <a:lnTo>
                        <a:pt x="376" y="16"/>
                      </a:lnTo>
                      <a:lnTo>
                        <a:pt x="288" y="104"/>
                      </a:lnTo>
                      <a:lnTo>
                        <a:pt x="266" y="104"/>
                      </a:lnTo>
                      <a:lnTo>
                        <a:pt x="354" y="16"/>
                      </a:lnTo>
                      <a:lnTo>
                        <a:pt x="332" y="16"/>
                      </a:lnTo>
                      <a:lnTo>
                        <a:pt x="244" y="104"/>
                      </a:lnTo>
                      <a:lnTo>
                        <a:pt x="223" y="104"/>
                      </a:lnTo>
                      <a:lnTo>
                        <a:pt x="310" y="16"/>
                      </a:lnTo>
                      <a:lnTo>
                        <a:pt x="289" y="16"/>
                      </a:lnTo>
                      <a:lnTo>
                        <a:pt x="201" y="104"/>
                      </a:lnTo>
                      <a:lnTo>
                        <a:pt x="179" y="104"/>
                      </a:lnTo>
                      <a:lnTo>
                        <a:pt x="267" y="16"/>
                      </a:lnTo>
                      <a:lnTo>
                        <a:pt x="245" y="16"/>
                      </a:lnTo>
                      <a:lnTo>
                        <a:pt x="158" y="104"/>
                      </a:lnTo>
                      <a:lnTo>
                        <a:pt x="136" y="104"/>
                      </a:lnTo>
                      <a:lnTo>
                        <a:pt x="224" y="16"/>
                      </a:lnTo>
                      <a:lnTo>
                        <a:pt x="202" y="16"/>
                      </a:lnTo>
                      <a:lnTo>
                        <a:pt x="114" y="104"/>
                      </a:lnTo>
                      <a:lnTo>
                        <a:pt x="92" y="104"/>
                      </a:lnTo>
                      <a:lnTo>
                        <a:pt x="180" y="16"/>
                      </a:lnTo>
                      <a:lnTo>
                        <a:pt x="158" y="16"/>
                      </a:lnTo>
                      <a:lnTo>
                        <a:pt x="71" y="104"/>
                      </a:lnTo>
                      <a:lnTo>
                        <a:pt x="49" y="104"/>
                      </a:lnTo>
                      <a:lnTo>
                        <a:pt x="137" y="16"/>
                      </a:lnTo>
                      <a:lnTo>
                        <a:pt x="115" y="16"/>
                      </a:lnTo>
                      <a:lnTo>
                        <a:pt x="27" y="104"/>
                      </a:lnTo>
                      <a:lnTo>
                        <a:pt x="0" y="10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1" name="Rectangle 837"/>
                <p:cNvSpPr>
                  <a:spLocks noChangeArrowheads="1"/>
                </p:cNvSpPr>
                <p:nvPr/>
              </p:nvSpPr>
              <p:spPr bwMode="auto">
                <a:xfrm>
                  <a:off x="1597" y="1967"/>
                  <a:ext cx="43" cy="51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2" name="Rectangle 838"/>
                <p:cNvSpPr>
                  <a:spLocks noChangeArrowheads="1"/>
                </p:cNvSpPr>
                <p:nvPr/>
              </p:nvSpPr>
              <p:spPr bwMode="auto">
                <a:xfrm>
                  <a:off x="1597" y="1967"/>
                  <a:ext cx="43" cy="25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3" name="Freeform 839"/>
                <p:cNvSpPr>
                  <a:spLocks/>
                </p:cNvSpPr>
                <p:nvPr/>
              </p:nvSpPr>
              <p:spPr bwMode="auto">
                <a:xfrm>
                  <a:off x="1604" y="2005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7" y="0"/>
                    </a:cxn>
                    <a:cxn ang="0">
                      <a:pos x="47" y="26"/>
                    </a:cxn>
                    <a:cxn ang="0">
                      <a:pos x="34" y="26"/>
                    </a:cxn>
                    <a:cxn ang="0">
                      <a:pos x="34" y="19"/>
                    </a:cxn>
                    <a:cxn ang="0">
                      <a:pos x="13" y="19"/>
                    </a:cxn>
                    <a:cxn ang="0">
                      <a:pos x="13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7" h="26">
                      <a:moveTo>
                        <a:pt x="0" y="0"/>
                      </a:moveTo>
                      <a:lnTo>
                        <a:pt x="47" y="0"/>
                      </a:lnTo>
                      <a:lnTo>
                        <a:pt x="47" y="26"/>
                      </a:lnTo>
                      <a:lnTo>
                        <a:pt x="34" y="26"/>
                      </a:lnTo>
                      <a:lnTo>
                        <a:pt x="34" y="19"/>
                      </a:lnTo>
                      <a:lnTo>
                        <a:pt x="13" y="19"/>
                      </a:lnTo>
                      <a:lnTo>
                        <a:pt x="13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4" name="Freeform 840"/>
                <p:cNvSpPr>
                  <a:spLocks/>
                </p:cNvSpPr>
                <p:nvPr/>
              </p:nvSpPr>
              <p:spPr bwMode="auto">
                <a:xfrm>
                  <a:off x="1622" y="2005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6"/>
                    </a:cxn>
                    <a:cxn ang="0">
                      <a:pos x="33" y="26"/>
                    </a:cxn>
                    <a:cxn ang="0">
                      <a:pos x="33" y="19"/>
                    </a:cxn>
                    <a:cxn ang="0">
                      <a:pos x="12" y="19"/>
                    </a:cxn>
                    <a:cxn ang="0">
                      <a:pos x="12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6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6"/>
                      </a:lnTo>
                      <a:lnTo>
                        <a:pt x="33" y="26"/>
                      </a:lnTo>
                      <a:lnTo>
                        <a:pt x="33" y="19"/>
                      </a:lnTo>
                      <a:lnTo>
                        <a:pt x="12" y="19"/>
                      </a:lnTo>
                      <a:lnTo>
                        <a:pt x="12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5" name="Rectangle 841"/>
                <p:cNvSpPr>
                  <a:spLocks noChangeArrowheads="1"/>
                </p:cNvSpPr>
                <p:nvPr/>
              </p:nvSpPr>
              <p:spPr bwMode="auto">
                <a:xfrm>
                  <a:off x="1604" y="1991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6" name="Rectangle 842"/>
                <p:cNvSpPr>
                  <a:spLocks noChangeArrowheads="1"/>
                </p:cNvSpPr>
                <p:nvPr/>
              </p:nvSpPr>
              <p:spPr bwMode="auto">
                <a:xfrm>
                  <a:off x="1604" y="1991"/>
                  <a:ext cx="29" cy="1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7" name="Rectangle 843"/>
                <p:cNvSpPr>
                  <a:spLocks noChangeArrowheads="1"/>
                </p:cNvSpPr>
                <p:nvPr/>
              </p:nvSpPr>
              <p:spPr bwMode="auto">
                <a:xfrm>
                  <a:off x="1604" y="1973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8" name="Rectangle 844"/>
                <p:cNvSpPr>
                  <a:spLocks noChangeArrowheads="1"/>
                </p:cNvSpPr>
                <p:nvPr/>
              </p:nvSpPr>
              <p:spPr bwMode="auto">
                <a:xfrm>
                  <a:off x="1604" y="1982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19" name="Rectangle 845"/>
                <p:cNvSpPr>
                  <a:spLocks noChangeArrowheads="1"/>
                </p:cNvSpPr>
                <p:nvPr/>
              </p:nvSpPr>
              <p:spPr bwMode="auto">
                <a:xfrm>
                  <a:off x="1604" y="1986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0" name="Rectangle 846"/>
                <p:cNvSpPr>
                  <a:spLocks noChangeArrowheads="1"/>
                </p:cNvSpPr>
                <p:nvPr/>
              </p:nvSpPr>
              <p:spPr bwMode="auto">
                <a:xfrm>
                  <a:off x="1604" y="1978"/>
                  <a:ext cx="29" cy="2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1" name="Rectangle 847"/>
                <p:cNvSpPr>
                  <a:spLocks noChangeArrowheads="1"/>
                </p:cNvSpPr>
                <p:nvPr/>
              </p:nvSpPr>
              <p:spPr bwMode="auto">
                <a:xfrm>
                  <a:off x="1604" y="2001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2" name="Rectangle 848"/>
                <p:cNvSpPr>
                  <a:spLocks noChangeArrowheads="1"/>
                </p:cNvSpPr>
                <p:nvPr/>
              </p:nvSpPr>
              <p:spPr bwMode="auto">
                <a:xfrm>
                  <a:off x="1622" y="2001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3" name="Rectangle 849"/>
                <p:cNvSpPr>
                  <a:spLocks noChangeArrowheads="1"/>
                </p:cNvSpPr>
                <p:nvPr/>
              </p:nvSpPr>
              <p:spPr bwMode="auto">
                <a:xfrm>
                  <a:off x="1541" y="1971"/>
                  <a:ext cx="51" cy="43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4" name="Rectangle 850"/>
                <p:cNvSpPr>
                  <a:spLocks noChangeArrowheads="1"/>
                </p:cNvSpPr>
                <p:nvPr/>
              </p:nvSpPr>
              <p:spPr bwMode="auto">
                <a:xfrm>
                  <a:off x="1541" y="1992"/>
                  <a:ext cx="51" cy="22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5" name="Rectangle 851"/>
                <p:cNvSpPr>
                  <a:spLocks noChangeArrowheads="1"/>
                </p:cNvSpPr>
                <p:nvPr/>
              </p:nvSpPr>
              <p:spPr bwMode="auto">
                <a:xfrm>
                  <a:off x="1542" y="1972"/>
                  <a:ext cx="49" cy="40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6" name="Rectangle 852"/>
                <p:cNvSpPr>
                  <a:spLocks noChangeArrowheads="1"/>
                </p:cNvSpPr>
                <p:nvPr/>
              </p:nvSpPr>
              <p:spPr bwMode="auto">
                <a:xfrm>
                  <a:off x="1542" y="1972"/>
                  <a:ext cx="49" cy="20"/>
                </a:xfrm>
                <a:prstGeom prst="rect">
                  <a:avLst/>
                </a:prstGeom>
                <a:solidFill>
                  <a:srgbClr val="4DAD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7" name="Rectangle 853"/>
                <p:cNvSpPr>
                  <a:spLocks noChangeArrowheads="1"/>
                </p:cNvSpPr>
                <p:nvPr/>
              </p:nvSpPr>
              <p:spPr bwMode="auto">
                <a:xfrm>
                  <a:off x="1052" y="2020"/>
                  <a:ext cx="293" cy="5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8" name="Freeform 854"/>
                <p:cNvSpPr>
                  <a:spLocks noEditPoints="1"/>
                </p:cNvSpPr>
                <p:nvPr/>
              </p:nvSpPr>
              <p:spPr bwMode="auto">
                <a:xfrm>
                  <a:off x="1050" y="2018"/>
                  <a:ext cx="297" cy="55"/>
                </a:xfrm>
                <a:custGeom>
                  <a:avLst/>
                  <a:gdLst/>
                  <a:ahLst/>
                  <a:cxnLst>
                    <a:cxn ang="0">
                      <a:pos x="1206" y="16"/>
                    </a:cxn>
                    <a:cxn ang="0">
                      <a:pos x="16" y="16"/>
                    </a:cxn>
                    <a:cxn ang="0">
                      <a:pos x="16" y="208"/>
                    </a:cxn>
                    <a:cxn ang="0">
                      <a:pos x="1206" y="208"/>
                    </a:cxn>
                    <a:cxn ang="0">
                      <a:pos x="1206" y="16"/>
                    </a:cxn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2" y="0"/>
                    </a:cxn>
                    <a:cxn ang="0">
                      <a:pos x="1222" y="8"/>
                    </a:cxn>
                    <a:cxn ang="0">
                      <a:pos x="1222" y="216"/>
                    </a:cxn>
                    <a:cxn ang="0">
                      <a:pos x="1222" y="224"/>
                    </a:cxn>
                    <a:cxn ang="0">
                      <a:pos x="1214" y="224"/>
                    </a:cxn>
                    <a:cxn ang="0">
                      <a:pos x="8" y="224"/>
                    </a:cxn>
                    <a:cxn ang="0">
                      <a:pos x="0" y="224"/>
                    </a:cxn>
                    <a:cxn ang="0">
                      <a:pos x="0" y="216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2" h="224">
                      <a:moveTo>
                        <a:pt x="1206" y="16"/>
                      </a:moveTo>
                      <a:lnTo>
                        <a:pt x="16" y="16"/>
                      </a:lnTo>
                      <a:lnTo>
                        <a:pt x="16" y="208"/>
                      </a:lnTo>
                      <a:lnTo>
                        <a:pt x="1206" y="208"/>
                      </a:lnTo>
                      <a:lnTo>
                        <a:pt x="1206" y="16"/>
                      </a:lnTo>
                      <a:close/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2" y="0"/>
                      </a:lnTo>
                      <a:lnTo>
                        <a:pt x="1222" y="8"/>
                      </a:lnTo>
                      <a:lnTo>
                        <a:pt x="1222" y="216"/>
                      </a:lnTo>
                      <a:lnTo>
                        <a:pt x="1222" y="224"/>
                      </a:lnTo>
                      <a:lnTo>
                        <a:pt x="1214" y="224"/>
                      </a:lnTo>
                      <a:lnTo>
                        <a:pt x="8" y="224"/>
                      </a:lnTo>
                      <a:lnTo>
                        <a:pt x="0" y="224"/>
                      </a:lnTo>
                      <a:lnTo>
                        <a:pt x="0" y="2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29" name="Freeform 855"/>
                <p:cNvSpPr>
                  <a:spLocks/>
                </p:cNvSpPr>
                <p:nvPr/>
              </p:nvSpPr>
              <p:spPr bwMode="auto">
                <a:xfrm>
                  <a:off x="1050" y="2018"/>
                  <a:ext cx="297" cy="27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2" y="0"/>
                    </a:cxn>
                    <a:cxn ang="0">
                      <a:pos x="1222" y="8"/>
                    </a:cxn>
                    <a:cxn ang="0">
                      <a:pos x="1222" y="112"/>
                    </a:cxn>
                    <a:cxn ang="0">
                      <a:pos x="1206" y="112"/>
                    </a:cxn>
                    <a:cxn ang="0">
                      <a:pos x="1206" y="16"/>
                    </a:cxn>
                    <a:cxn ang="0">
                      <a:pos x="16" y="16"/>
                    </a:cxn>
                    <a:cxn ang="0">
                      <a:pos x="16" y="112"/>
                    </a:cxn>
                    <a:cxn ang="0">
                      <a:pos x="0" y="112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2" h="112"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2" y="0"/>
                      </a:lnTo>
                      <a:lnTo>
                        <a:pt x="1222" y="8"/>
                      </a:lnTo>
                      <a:lnTo>
                        <a:pt x="1222" y="112"/>
                      </a:lnTo>
                      <a:lnTo>
                        <a:pt x="1206" y="112"/>
                      </a:lnTo>
                      <a:lnTo>
                        <a:pt x="1206" y="16"/>
                      </a:lnTo>
                      <a:lnTo>
                        <a:pt x="16" y="16"/>
                      </a:lnTo>
                      <a:lnTo>
                        <a:pt x="16" y="112"/>
                      </a:lnTo>
                      <a:lnTo>
                        <a:pt x="0" y="112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0" name="Freeform 856"/>
                <p:cNvSpPr>
                  <a:spLocks noEditPoints="1"/>
                </p:cNvSpPr>
                <p:nvPr/>
              </p:nvSpPr>
              <p:spPr bwMode="auto">
                <a:xfrm>
                  <a:off x="1052" y="2020"/>
                  <a:ext cx="250" cy="51"/>
                </a:xfrm>
                <a:custGeom>
                  <a:avLst/>
                  <a:gdLst/>
                  <a:ahLst/>
                  <a:cxnLst>
                    <a:cxn ang="0">
                      <a:pos x="776" y="180"/>
                    </a:cxn>
                    <a:cxn ang="0">
                      <a:pos x="765" y="192"/>
                    </a:cxn>
                    <a:cxn ang="0">
                      <a:pos x="776" y="137"/>
                    </a:cxn>
                    <a:cxn ang="0">
                      <a:pos x="743" y="192"/>
                    </a:cxn>
                    <a:cxn ang="0">
                      <a:pos x="678" y="192"/>
                    </a:cxn>
                    <a:cxn ang="0">
                      <a:pos x="776" y="115"/>
                    </a:cxn>
                    <a:cxn ang="0">
                      <a:pos x="678" y="192"/>
                    </a:cxn>
                    <a:cxn ang="0">
                      <a:pos x="776" y="50"/>
                    </a:cxn>
                    <a:cxn ang="0">
                      <a:pos x="656" y="192"/>
                    </a:cxn>
                    <a:cxn ang="0">
                      <a:pos x="591" y="192"/>
                    </a:cxn>
                    <a:cxn ang="0">
                      <a:pos x="776" y="16"/>
                    </a:cxn>
                    <a:cxn ang="0">
                      <a:pos x="613" y="192"/>
                    </a:cxn>
                    <a:cxn ang="0">
                      <a:pos x="547" y="192"/>
                    </a:cxn>
                    <a:cxn ang="0">
                      <a:pos x="745" y="16"/>
                    </a:cxn>
                    <a:cxn ang="0">
                      <a:pos x="547" y="192"/>
                    </a:cxn>
                    <a:cxn ang="0">
                      <a:pos x="679" y="16"/>
                    </a:cxn>
                    <a:cxn ang="0">
                      <a:pos x="526" y="192"/>
                    </a:cxn>
                    <a:cxn ang="0">
                      <a:pos x="461" y="192"/>
                    </a:cxn>
                    <a:cxn ang="0">
                      <a:pos x="658" y="16"/>
                    </a:cxn>
                    <a:cxn ang="0">
                      <a:pos x="461" y="192"/>
                    </a:cxn>
                    <a:cxn ang="0">
                      <a:pos x="593" y="16"/>
                    </a:cxn>
                    <a:cxn ang="0">
                      <a:pos x="439" y="192"/>
                    </a:cxn>
                    <a:cxn ang="0">
                      <a:pos x="374" y="192"/>
                    </a:cxn>
                    <a:cxn ang="0">
                      <a:pos x="571" y="16"/>
                    </a:cxn>
                    <a:cxn ang="0">
                      <a:pos x="374" y="192"/>
                    </a:cxn>
                    <a:cxn ang="0">
                      <a:pos x="506" y="16"/>
                    </a:cxn>
                    <a:cxn ang="0">
                      <a:pos x="352" y="192"/>
                    </a:cxn>
                    <a:cxn ang="0">
                      <a:pos x="287" y="192"/>
                    </a:cxn>
                    <a:cxn ang="0">
                      <a:pos x="484" y="16"/>
                    </a:cxn>
                    <a:cxn ang="0">
                      <a:pos x="287" y="192"/>
                    </a:cxn>
                    <a:cxn ang="0">
                      <a:pos x="419" y="16"/>
                    </a:cxn>
                    <a:cxn ang="0">
                      <a:pos x="265" y="192"/>
                    </a:cxn>
                    <a:cxn ang="0">
                      <a:pos x="200" y="192"/>
                    </a:cxn>
                    <a:cxn ang="0">
                      <a:pos x="397" y="16"/>
                    </a:cxn>
                    <a:cxn ang="0">
                      <a:pos x="200" y="192"/>
                    </a:cxn>
                    <a:cxn ang="0">
                      <a:pos x="332" y="16"/>
                    </a:cxn>
                    <a:cxn ang="0">
                      <a:pos x="178" y="192"/>
                    </a:cxn>
                    <a:cxn ang="0">
                      <a:pos x="113" y="192"/>
                    </a:cxn>
                    <a:cxn ang="0">
                      <a:pos x="310" y="16"/>
                    </a:cxn>
                    <a:cxn ang="0">
                      <a:pos x="113" y="192"/>
                    </a:cxn>
                    <a:cxn ang="0">
                      <a:pos x="245" y="16"/>
                    </a:cxn>
                    <a:cxn ang="0">
                      <a:pos x="91" y="192"/>
                    </a:cxn>
                    <a:cxn ang="0">
                      <a:pos x="26" y="192"/>
                    </a:cxn>
                    <a:cxn ang="0">
                      <a:pos x="223" y="16"/>
                    </a:cxn>
                    <a:cxn ang="0">
                      <a:pos x="26" y="192"/>
                    </a:cxn>
                    <a:cxn ang="0">
                      <a:pos x="158" y="16"/>
                    </a:cxn>
                    <a:cxn ang="0">
                      <a:pos x="17" y="180"/>
                    </a:cxn>
                    <a:cxn ang="0">
                      <a:pos x="17" y="115"/>
                    </a:cxn>
                    <a:cxn ang="0">
                      <a:pos x="136" y="16"/>
                    </a:cxn>
                    <a:cxn ang="0">
                      <a:pos x="17" y="115"/>
                    </a:cxn>
                    <a:cxn ang="0">
                      <a:pos x="71" y="16"/>
                    </a:cxn>
                    <a:cxn ang="0">
                      <a:pos x="17" y="93"/>
                    </a:cxn>
                    <a:cxn ang="0">
                      <a:pos x="17" y="28"/>
                    </a:cxn>
                    <a:cxn ang="0">
                      <a:pos x="50" y="16"/>
                    </a:cxn>
                    <a:cxn ang="0">
                      <a:pos x="17" y="28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208"/>
                    </a:cxn>
                    <a:cxn ang="0">
                      <a:pos x="784" y="208"/>
                    </a:cxn>
                    <a:cxn ang="0">
                      <a:pos x="8" y="208"/>
                    </a:cxn>
                    <a:cxn ang="0">
                      <a:pos x="0" y="20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27" h="208">
                      <a:moveTo>
                        <a:pt x="765" y="192"/>
                      </a:moveTo>
                      <a:lnTo>
                        <a:pt x="776" y="180"/>
                      </a:lnTo>
                      <a:lnTo>
                        <a:pt x="776" y="192"/>
                      </a:lnTo>
                      <a:lnTo>
                        <a:pt x="765" y="192"/>
                      </a:lnTo>
                      <a:close/>
                      <a:moveTo>
                        <a:pt x="721" y="192"/>
                      </a:moveTo>
                      <a:lnTo>
                        <a:pt x="776" y="137"/>
                      </a:lnTo>
                      <a:lnTo>
                        <a:pt x="776" y="158"/>
                      </a:lnTo>
                      <a:lnTo>
                        <a:pt x="743" y="192"/>
                      </a:lnTo>
                      <a:lnTo>
                        <a:pt x="721" y="192"/>
                      </a:lnTo>
                      <a:close/>
                      <a:moveTo>
                        <a:pt x="678" y="192"/>
                      </a:moveTo>
                      <a:lnTo>
                        <a:pt x="776" y="93"/>
                      </a:lnTo>
                      <a:lnTo>
                        <a:pt x="776" y="115"/>
                      </a:lnTo>
                      <a:lnTo>
                        <a:pt x="700" y="192"/>
                      </a:lnTo>
                      <a:lnTo>
                        <a:pt x="678" y="192"/>
                      </a:lnTo>
                      <a:close/>
                      <a:moveTo>
                        <a:pt x="634" y="192"/>
                      </a:moveTo>
                      <a:lnTo>
                        <a:pt x="776" y="50"/>
                      </a:lnTo>
                      <a:lnTo>
                        <a:pt x="776" y="71"/>
                      </a:lnTo>
                      <a:lnTo>
                        <a:pt x="656" y="192"/>
                      </a:lnTo>
                      <a:lnTo>
                        <a:pt x="634" y="192"/>
                      </a:lnTo>
                      <a:close/>
                      <a:moveTo>
                        <a:pt x="591" y="192"/>
                      </a:moveTo>
                      <a:lnTo>
                        <a:pt x="766" y="16"/>
                      </a:lnTo>
                      <a:lnTo>
                        <a:pt x="776" y="16"/>
                      </a:lnTo>
                      <a:lnTo>
                        <a:pt x="776" y="28"/>
                      </a:lnTo>
                      <a:lnTo>
                        <a:pt x="613" y="192"/>
                      </a:lnTo>
                      <a:lnTo>
                        <a:pt x="591" y="192"/>
                      </a:lnTo>
                      <a:close/>
                      <a:moveTo>
                        <a:pt x="547" y="192"/>
                      </a:moveTo>
                      <a:lnTo>
                        <a:pt x="723" y="16"/>
                      </a:lnTo>
                      <a:lnTo>
                        <a:pt x="745" y="16"/>
                      </a:lnTo>
                      <a:lnTo>
                        <a:pt x="569" y="192"/>
                      </a:lnTo>
                      <a:lnTo>
                        <a:pt x="547" y="192"/>
                      </a:lnTo>
                      <a:close/>
                      <a:moveTo>
                        <a:pt x="504" y="192"/>
                      </a:moveTo>
                      <a:lnTo>
                        <a:pt x="679" y="16"/>
                      </a:lnTo>
                      <a:lnTo>
                        <a:pt x="701" y="16"/>
                      </a:lnTo>
                      <a:lnTo>
                        <a:pt x="526" y="192"/>
                      </a:lnTo>
                      <a:lnTo>
                        <a:pt x="504" y="192"/>
                      </a:lnTo>
                      <a:close/>
                      <a:moveTo>
                        <a:pt x="461" y="192"/>
                      </a:moveTo>
                      <a:lnTo>
                        <a:pt x="636" y="16"/>
                      </a:lnTo>
                      <a:lnTo>
                        <a:pt x="658" y="16"/>
                      </a:lnTo>
                      <a:lnTo>
                        <a:pt x="482" y="192"/>
                      </a:lnTo>
                      <a:lnTo>
                        <a:pt x="461" y="192"/>
                      </a:lnTo>
                      <a:close/>
                      <a:moveTo>
                        <a:pt x="417" y="192"/>
                      </a:moveTo>
                      <a:lnTo>
                        <a:pt x="593" y="16"/>
                      </a:lnTo>
                      <a:lnTo>
                        <a:pt x="614" y="16"/>
                      </a:lnTo>
                      <a:lnTo>
                        <a:pt x="439" y="192"/>
                      </a:lnTo>
                      <a:lnTo>
                        <a:pt x="417" y="192"/>
                      </a:lnTo>
                      <a:close/>
                      <a:moveTo>
                        <a:pt x="374" y="192"/>
                      </a:moveTo>
                      <a:lnTo>
                        <a:pt x="549" y="16"/>
                      </a:lnTo>
                      <a:lnTo>
                        <a:pt x="571" y="16"/>
                      </a:lnTo>
                      <a:lnTo>
                        <a:pt x="395" y="192"/>
                      </a:lnTo>
                      <a:lnTo>
                        <a:pt x="374" y="192"/>
                      </a:lnTo>
                      <a:close/>
                      <a:moveTo>
                        <a:pt x="330" y="192"/>
                      </a:moveTo>
                      <a:lnTo>
                        <a:pt x="506" y="16"/>
                      </a:lnTo>
                      <a:lnTo>
                        <a:pt x="527" y="16"/>
                      </a:lnTo>
                      <a:lnTo>
                        <a:pt x="352" y="192"/>
                      </a:lnTo>
                      <a:lnTo>
                        <a:pt x="330" y="192"/>
                      </a:lnTo>
                      <a:close/>
                      <a:moveTo>
                        <a:pt x="287" y="192"/>
                      </a:moveTo>
                      <a:lnTo>
                        <a:pt x="462" y="16"/>
                      </a:lnTo>
                      <a:lnTo>
                        <a:pt x="484" y="16"/>
                      </a:lnTo>
                      <a:lnTo>
                        <a:pt x="309" y="192"/>
                      </a:lnTo>
                      <a:lnTo>
                        <a:pt x="287" y="192"/>
                      </a:lnTo>
                      <a:close/>
                      <a:moveTo>
                        <a:pt x="243" y="192"/>
                      </a:moveTo>
                      <a:lnTo>
                        <a:pt x="419" y="16"/>
                      </a:lnTo>
                      <a:lnTo>
                        <a:pt x="440" y="16"/>
                      </a:lnTo>
                      <a:lnTo>
                        <a:pt x="265" y="192"/>
                      </a:lnTo>
                      <a:lnTo>
                        <a:pt x="243" y="192"/>
                      </a:lnTo>
                      <a:close/>
                      <a:moveTo>
                        <a:pt x="200" y="192"/>
                      </a:moveTo>
                      <a:lnTo>
                        <a:pt x="375" y="16"/>
                      </a:lnTo>
                      <a:lnTo>
                        <a:pt x="397" y="16"/>
                      </a:lnTo>
                      <a:lnTo>
                        <a:pt x="222" y="192"/>
                      </a:lnTo>
                      <a:lnTo>
                        <a:pt x="200" y="192"/>
                      </a:lnTo>
                      <a:close/>
                      <a:moveTo>
                        <a:pt x="157" y="192"/>
                      </a:moveTo>
                      <a:lnTo>
                        <a:pt x="332" y="16"/>
                      </a:lnTo>
                      <a:lnTo>
                        <a:pt x="354" y="16"/>
                      </a:lnTo>
                      <a:lnTo>
                        <a:pt x="178" y="192"/>
                      </a:lnTo>
                      <a:lnTo>
                        <a:pt x="157" y="192"/>
                      </a:lnTo>
                      <a:close/>
                      <a:moveTo>
                        <a:pt x="113" y="192"/>
                      </a:moveTo>
                      <a:lnTo>
                        <a:pt x="288" y="16"/>
                      </a:lnTo>
                      <a:lnTo>
                        <a:pt x="310" y="16"/>
                      </a:lnTo>
                      <a:lnTo>
                        <a:pt x="135" y="192"/>
                      </a:lnTo>
                      <a:lnTo>
                        <a:pt x="113" y="192"/>
                      </a:lnTo>
                      <a:close/>
                      <a:moveTo>
                        <a:pt x="70" y="192"/>
                      </a:moveTo>
                      <a:lnTo>
                        <a:pt x="245" y="16"/>
                      </a:lnTo>
                      <a:lnTo>
                        <a:pt x="267" y="16"/>
                      </a:lnTo>
                      <a:lnTo>
                        <a:pt x="91" y="192"/>
                      </a:lnTo>
                      <a:lnTo>
                        <a:pt x="70" y="192"/>
                      </a:lnTo>
                      <a:close/>
                      <a:moveTo>
                        <a:pt x="26" y="192"/>
                      </a:moveTo>
                      <a:lnTo>
                        <a:pt x="202" y="16"/>
                      </a:lnTo>
                      <a:lnTo>
                        <a:pt x="223" y="16"/>
                      </a:lnTo>
                      <a:lnTo>
                        <a:pt x="48" y="192"/>
                      </a:lnTo>
                      <a:lnTo>
                        <a:pt x="26" y="192"/>
                      </a:lnTo>
                      <a:close/>
                      <a:moveTo>
                        <a:pt x="17" y="158"/>
                      </a:moveTo>
                      <a:lnTo>
                        <a:pt x="158" y="16"/>
                      </a:lnTo>
                      <a:lnTo>
                        <a:pt x="180" y="16"/>
                      </a:lnTo>
                      <a:lnTo>
                        <a:pt x="17" y="180"/>
                      </a:lnTo>
                      <a:lnTo>
                        <a:pt x="17" y="158"/>
                      </a:lnTo>
                      <a:close/>
                      <a:moveTo>
                        <a:pt x="17" y="115"/>
                      </a:moveTo>
                      <a:lnTo>
                        <a:pt x="115" y="16"/>
                      </a:lnTo>
                      <a:lnTo>
                        <a:pt x="136" y="16"/>
                      </a:lnTo>
                      <a:lnTo>
                        <a:pt x="17" y="136"/>
                      </a:lnTo>
                      <a:lnTo>
                        <a:pt x="17" y="115"/>
                      </a:lnTo>
                      <a:close/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8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8"/>
                      </a:lnTo>
                      <a:close/>
                      <a:moveTo>
                        <a:pt x="8" y="0"/>
                      </a:move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208"/>
                      </a:lnTo>
                      <a:lnTo>
                        <a:pt x="793" y="208"/>
                      </a:lnTo>
                      <a:lnTo>
                        <a:pt x="784" y="208"/>
                      </a:lnTo>
                      <a:lnTo>
                        <a:pt x="776" y="208"/>
                      </a:lnTo>
                      <a:lnTo>
                        <a:pt x="8" y="208"/>
                      </a:lnTo>
                      <a:lnTo>
                        <a:pt x="0" y="208"/>
                      </a:lnTo>
                      <a:lnTo>
                        <a:pt x="0" y="200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1" name="Freeform 857"/>
                <p:cNvSpPr>
                  <a:spLocks noEditPoints="1"/>
                </p:cNvSpPr>
                <p:nvPr/>
              </p:nvSpPr>
              <p:spPr bwMode="auto">
                <a:xfrm>
                  <a:off x="1052" y="2020"/>
                  <a:ext cx="250" cy="25"/>
                </a:xfrm>
                <a:custGeom>
                  <a:avLst/>
                  <a:gdLst/>
                  <a:ahLst/>
                  <a:cxnLst>
                    <a:cxn ang="0">
                      <a:pos x="71" y="16"/>
                    </a:cxn>
                    <a:cxn ang="0">
                      <a:pos x="17" y="93"/>
                    </a:cxn>
                    <a:cxn ang="0">
                      <a:pos x="17" y="28"/>
                    </a:cxn>
                    <a:cxn ang="0">
                      <a:pos x="50" y="16"/>
                    </a:cxn>
                    <a:cxn ang="0">
                      <a:pos x="17" y="28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104"/>
                    </a:cxn>
                    <a:cxn ang="0">
                      <a:pos x="776" y="93"/>
                    </a:cxn>
                    <a:cxn ang="0">
                      <a:pos x="744" y="104"/>
                    </a:cxn>
                    <a:cxn ang="0">
                      <a:pos x="776" y="50"/>
                    </a:cxn>
                    <a:cxn ang="0">
                      <a:pos x="700" y="104"/>
                    </a:cxn>
                    <a:cxn ang="0">
                      <a:pos x="776" y="16"/>
                    </a:cxn>
                    <a:cxn ang="0">
                      <a:pos x="679" y="104"/>
                    </a:cxn>
                    <a:cxn ang="0">
                      <a:pos x="745" y="16"/>
                    </a:cxn>
                    <a:cxn ang="0">
                      <a:pos x="635" y="104"/>
                    </a:cxn>
                    <a:cxn ang="0">
                      <a:pos x="701" y="16"/>
                    </a:cxn>
                    <a:cxn ang="0">
                      <a:pos x="592" y="104"/>
                    </a:cxn>
                    <a:cxn ang="0">
                      <a:pos x="658" y="16"/>
                    </a:cxn>
                    <a:cxn ang="0">
                      <a:pos x="548" y="104"/>
                    </a:cxn>
                    <a:cxn ang="0">
                      <a:pos x="614" y="16"/>
                    </a:cxn>
                    <a:cxn ang="0">
                      <a:pos x="505" y="104"/>
                    </a:cxn>
                    <a:cxn ang="0">
                      <a:pos x="571" y="16"/>
                    </a:cxn>
                    <a:cxn ang="0">
                      <a:pos x="461" y="104"/>
                    </a:cxn>
                    <a:cxn ang="0">
                      <a:pos x="527" y="16"/>
                    </a:cxn>
                    <a:cxn ang="0">
                      <a:pos x="418" y="104"/>
                    </a:cxn>
                    <a:cxn ang="0">
                      <a:pos x="484" y="16"/>
                    </a:cxn>
                    <a:cxn ang="0">
                      <a:pos x="375" y="104"/>
                    </a:cxn>
                    <a:cxn ang="0">
                      <a:pos x="440" y="16"/>
                    </a:cxn>
                    <a:cxn ang="0">
                      <a:pos x="331" y="104"/>
                    </a:cxn>
                    <a:cxn ang="0">
                      <a:pos x="397" y="16"/>
                    </a:cxn>
                    <a:cxn ang="0">
                      <a:pos x="288" y="104"/>
                    </a:cxn>
                    <a:cxn ang="0">
                      <a:pos x="354" y="16"/>
                    </a:cxn>
                    <a:cxn ang="0">
                      <a:pos x="244" y="104"/>
                    </a:cxn>
                    <a:cxn ang="0">
                      <a:pos x="310" y="16"/>
                    </a:cxn>
                    <a:cxn ang="0">
                      <a:pos x="201" y="104"/>
                    </a:cxn>
                    <a:cxn ang="0">
                      <a:pos x="267" y="16"/>
                    </a:cxn>
                    <a:cxn ang="0">
                      <a:pos x="157" y="104"/>
                    </a:cxn>
                    <a:cxn ang="0">
                      <a:pos x="223" y="16"/>
                    </a:cxn>
                    <a:cxn ang="0">
                      <a:pos x="114" y="104"/>
                    </a:cxn>
                    <a:cxn ang="0">
                      <a:pos x="180" y="16"/>
                    </a:cxn>
                    <a:cxn ang="0">
                      <a:pos x="71" y="104"/>
                    </a:cxn>
                    <a:cxn ang="0">
                      <a:pos x="136" y="16"/>
                    </a:cxn>
                    <a:cxn ang="0">
                      <a:pos x="27" y="104"/>
                    </a:cxn>
                    <a:cxn ang="0">
                      <a:pos x="0" y="8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027" h="104"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8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8"/>
                      </a:lnTo>
                      <a:close/>
                      <a:moveTo>
                        <a:pt x="8" y="0"/>
                      </a:move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104"/>
                      </a:lnTo>
                      <a:lnTo>
                        <a:pt x="776" y="104"/>
                      </a:lnTo>
                      <a:lnTo>
                        <a:pt x="776" y="93"/>
                      </a:lnTo>
                      <a:lnTo>
                        <a:pt x="765" y="104"/>
                      </a:lnTo>
                      <a:lnTo>
                        <a:pt x="744" y="104"/>
                      </a:lnTo>
                      <a:lnTo>
                        <a:pt x="776" y="71"/>
                      </a:lnTo>
                      <a:lnTo>
                        <a:pt x="776" y="50"/>
                      </a:lnTo>
                      <a:lnTo>
                        <a:pt x="722" y="104"/>
                      </a:lnTo>
                      <a:lnTo>
                        <a:pt x="700" y="104"/>
                      </a:lnTo>
                      <a:lnTo>
                        <a:pt x="776" y="28"/>
                      </a:lnTo>
                      <a:lnTo>
                        <a:pt x="776" y="16"/>
                      </a:lnTo>
                      <a:lnTo>
                        <a:pt x="766" y="16"/>
                      </a:lnTo>
                      <a:lnTo>
                        <a:pt x="679" y="104"/>
                      </a:lnTo>
                      <a:lnTo>
                        <a:pt x="657" y="104"/>
                      </a:lnTo>
                      <a:lnTo>
                        <a:pt x="745" y="16"/>
                      </a:lnTo>
                      <a:lnTo>
                        <a:pt x="723" y="16"/>
                      </a:lnTo>
                      <a:lnTo>
                        <a:pt x="635" y="104"/>
                      </a:lnTo>
                      <a:lnTo>
                        <a:pt x="613" y="104"/>
                      </a:lnTo>
                      <a:lnTo>
                        <a:pt x="701" y="16"/>
                      </a:lnTo>
                      <a:lnTo>
                        <a:pt x="679" y="16"/>
                      </a:lnTo>
                      <a:lnTo>
                        <a:pt x="592" y="104"/>
                      </a:lnTo>
                      <a:lnTo>
                        <a:pt x="570" y="104"/>
                      </a:lnTo>
                      <a:lnTo>
                        <a:pt x="658" y="16"/>
                      </a:lnTo>
                      <a:lnTo>
                        <a:pt x="636" y="16"/>
                      </a:lnTo>
                      <a:lnTo>
                        <a:pt x="548" y="104"/>
                      </a:lnTo>
                      <a:lnTo>
                        <a:pt x="527" y="104"/>
                      </a:lnTo>
                      <a:lnTo>
                        <a:pt x="614" y="16"/>
                      </a:lnTo>
                      <a:lnTo>
                        <a:pt x="593" y="16"/>
                      </a:lnTo>
                      <a:lnTo>
                        <a:pt x="505" y="104"/>
                      </a:lnTo>
                      <a:lnTo>
                        <a:pt x="483" y="104"/>
                      </a:lnTo>
                      <a:lnTo>
                        <a:pt x="571" y="16"/>
                      </a:lnTo>
                      <a:lnTo>
                        <a:pt x="549" y="16"/>
                      </a:lnTo>
                      <a:lnTo>
                        <a:pt x="461" y="104"/>
                      </a:lnTo>
                      <a:lnTo>
                        <a:pt x="440" y="104"/>
                      </a:lnTo>
                      <a:lnTo>
                        <a:pt x="527" y="16"/>
                      </a:lnTo>
                      <a:lnTo>
                        <a:pt x="506" y="16"/>
                      </a:lnTo>
                      <a:lnTo>
                        <a:pt x="418" y="104"/>
                      </a:lnTo>
                      <a:lnTo>
                        <a:pt x="396" y="104"/>
                      </a:lnTo>
                      <a:lnTo>
                        <a:pt x="484" y="16"/>
                      </a:lnTo>
                      <a:lnTo>
                        <a:pt x="462" y="16"/>
                      </a:lnTo>
                      <a:lnTo>
                        <a:pt x="375" y="104"/>
                      </a:lnTo>
                      <a:lnTo>
                        <a:pt x="353" y="104"/>
                      </a:lnTo>
                      <a:lnTo>
                        <a:pt x="440" y="16"/>
                      </a:lnTo>
                      <a:lnTo>
                        <a:pt x="419" y="16"/>
                      </a:lnTo>
                      <a:lnTo>
                        <a:pt x="331" y="104"/>
                      </a:lnTo>
                      <a:lnTo>
                        <a:pt x="309" y="104"/>
                      </a:lnTo>
                      <a:lnTo>
                        <a:pt x="397" y="16"/>
                      </a:lnTo>
                      <a:lnTo>
                        <a:pt x="375" y="16"/>
                      </a:lnTo>
                      <a:lnTo>
                        <a:pt x="288" y="104"/>
                      </a:lnTo>
                      <a:lnTo>
                        <a:pt x="266" y="104"/>
                      </a:lnTo>
                      <a:lnTo>
                        <a:pt x="354" y="16"/>
                      </a:lnTo>
                      <a:lnTo>
                        <a:pt x="332" y="16"/>
                      </a:lnTo>
                      <a:lnTo>
                        <a:pt x="244" y="104"/>
                      </a:lnTo>
                      <a:lnTo>
                        <a:pt x="223" y="104"/>
                      </a:lnTo>
                      <a:lnTo>
                        <a:pt x="310" y="16"/>
                      </a:lnTo>
                      <a:lnTo>
                        <a:pt x="288" y="16"/>
                      </a:lnTo>
                      <a:lnTo>
                        <a:pt x="201" y="104"/>
                      </a:lnTo>
                      <a:lnTo>
                        <a:pt x="179" y="104"/>
                      </a:lnTo>
                      <a:lnTo>
                        <a:pt x="267" y="16"/>
                      </a:lnTo>
                      <a:lnTo>
                        <a:pt x="245" y="16"/>
                      </a:lnTo>
                      <a:lnTo>
                        <a:pt x="157" y="104"/>
                      </a:lnTo>
                      <a:lnTo>
                        <a:pt x="136" y="104"/>
                      </a:lnTo>
                      <a:lnTo>
                        <a:pt x="223" y="16"/>
                      </a:lnTo>
                      <a:lnTo>
                        <a:pt x="202" y="16"/>
                      </a:lnTo>
                      <a:lnTo>
                        <a:pt x="114" y="104"/>
                      </a:lnTo>
                      <a:lnTo>
                        <a:pt x="92" y="104"/>
                      </a:lnTo>
                      <a:lnTo>
                        <a:pt x="180" y="16"/>
                      </a:lnTo>
                      <a:lnTo>
                        <a:pt x="158" y="16"/>
                      </a:lnTo>
                      <a:lnTo>
                        <a:pt x="71" y="104"/>
                      </a:lnTo>
                      <a:lnTo>
                        <a:pt x="49" y="104"/>
                      </a:lnTo>
                      <a:lnTo>
                        <a:pt x="136" y="16"/>
                      </a:lnTo>
                      <a:lnTo>
                        <a:pt x="115" y="16"/>
                      </a:lnTo>
                      <a:lnTo>
                        <a:pt x="27" y="104"/>
                      </a:lnTo>
                      <a:lnTo>
                        <a:pt x="0" y="10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2" name="Rectangle 858"/>
                <p:cNvSpPr>
                  <a:spLocks noChangeArrowheads="1"/>
                </p:cNvSpPr>
                <p:nvPr/>
              </p:nvSpPr>
              <p:spPr bwMode="auto">
                <a:xfrm>
                  <a:off x="1302" y="2020"/>
                  <a:ext cx="43" cy="51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3" name="Rectangle 859"/>
                <p:cNvSpPr>
                  <a:spLocks noChangeArrowheads="1"/>
                </p:cNvSpPr>
                <p:nvPr/>
              </p:nvSpPr>
              <p:spPr bwMode="auto">
                <a:xfrm>
                  <a:off x="1302" y="2020"/>
                  <a:ext cx="43" cy="25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4" name="Freeform 860"/>
                <p:cNvSpPr>
                  <a:spLocks/>
                </p:cNvSpPr>
                <p:nvPr/>
              </p:nvSpPr>
              <p:spPr bwMode="auto">
                <a:xfrm>
                  <a:off x="1309" y="2058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6"/>
                    </a:cxn>
                    <a:cxn ang="0">
                      <a:pos x="34" y="26"/>
                    </a:cxn>
                    <a:cxn ang="0">
                      <a:pos x="34" y="19"/>
                    </a:cxn>
                    <a:cxn ang="0">
                      <a:pos x="13" y="19"/>
                    </a:cxn>
                    <a:cxn ang="0">
                      <a:pos x="13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6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6"/>
                      </a:lnTo>
                      <a:lnTo>
                        <a:pt x="34" y="26"/>
                      </a:lnTo>
                      <a:lnTo>
                        <a:pt x="34" y="19"/>
                      </a:lnTo>
                      <a:lnTo>
                        <a:pt x="13" y="19"/>
                      </a:lnTo>
                      <a:lnTo>
                        <a:pt x="13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5" name="Freeform 861"/>
                <p:cNvSpPr>
                  <a:spLocks/>
                </p:cNvSpPr>
                <p:nvPr/>
              </p:nvSpPr>
              <p:spPr bwMode="auto">
                <a:xfrm>
                  <a:off x="1327" y="2058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6"/>
                    </a:cxn>
                    <a:cxn ang="0">
                      <a:pos x="33" y="26"/>
                    </a:cxn>
                    <a:cxn ang="0">
                      <a:pos x="33" y="19"/>
                    </a:cxn>
                    <a:cxn ang="0">
                      <a:pos x="12" y="19"/>
                    </a:cxn>
                    <a:cxn ang="0">
                      <a:pos x="12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6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6"/>
                      </a:lnTo>
                      <a:lnTo>
                        <a:pt x="33" y="26"/>
                      </a:lnTo>
                      <a:lnTo>
                        <a:pt x="33" y="19"/>
                      </a:lnTo>
                      <a:lnTo>
                        <a:pt x="12" y="19"/>
                      </a:lnTo>
                      <a:lnTo>
                        <a:pt x="12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6" name="Rectangle 862"/>
                <p:cNvSpPr>
                  <a:spLocks noChangeArrowheads="1"/>
                </p:cNvSpPr>
                <p:nvPr/>
              </p:nvSpPr>
              <p:spPr bwMode="auto">
                <a:xfrm>
                  <a:off x="1309" y="2044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7" name="Rectangle 863"/>
                <p:cNvSpPr>
                  <a:spLocks noChangeArrowheads="1"/>
                </p:cNvSpPr>
                <p:nvPr/>
              </p:nvSpPr>
              <p:spPr bwMode="auto">
                <a:xfrm>
                  <a:off x="1309" y="2044"/>
                  <a:ext cx="29" cy="1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8" name="Rectangle 864"/>
                <p:cNvSpPr>
                  <a:spLocks noChangeArrowheads="1"/>
                </p:cNvSpPr>
                <p:nvPr/>
              </p:nvSpPr>
              <p:spPr bwMode="auto">
                <a:xfrm>
                  <a:off x="1309" y="2026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39" name="Rectangle 865"/>
                <p:cNvSpPr>
                  <a:spLocks noChangeArrowheads="1"/>
                </p:cNvSpPr>
                <p:nvPr/>
              </p:nvSpPr>
              <p:spPr bwMode="auto">
                <a:xfrm>
                  <a:off x="1309" y="2035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0" name="Rectangle 866"/>
                <p:cNvSpPr>
                  <a:spLocks noChangeArrowheads="1"/>
                </p:cNvSpPr>
                <p:nvPr/>
              </p:nvSpPr>
              <p:spPr bwMode="auto">
                <a:xfrm>
                  <a:off x="1309" y="2039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1" name="Rectangle 867"/>
                <p:cNvSpPr>
                  <a:spLocks noChangeArrowheads="1"/>
                </p:cNvSpPr>
                <p:nvPr/>
              </p:nvSpPr>
              <p:spPr bwMode="auto">
                <a:xfrm>
                  <a:off x="1309" y="2030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2" name="Rectangle 868"/>
                <p:cNvSpPr>
                  <a:spLocks noChangeArrowheads="1"/>
                </p:cNvSpPr>
                <p:nvPr/>
              </p:nvSpPr>
              <p:spPr bwMode="auto">
                <a:xfrm>
                  <a:off x="1309" y="2054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3" name="Rectangle 869"/>
                <p:cNvSpPr>
                  <a:spLocks noChangeArrowheads="1"/>
                </p:cNvSpPr>
                <p:nvPr/>
              </p:nvSpPr>
              <p:spPr bwMode="auto">
                <a:xfrm>
                  <a:off x="1327" y="2054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4" name="Rectangle 870"/>
                <p:cNvSpPr>
                  <a:spLocks noChangeArrowheads="1"/>
                </p:cNvSpPr>
                <p:nvPr/>
              </p:nvSpPr>
              <p:spPr bwMode="auto">
                <a:xfrm>
                  <a:off x="1246" y="2024"/>
                  <a:ext cx="51" cy="43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5" name="Rectangle 871"/>
                <p:cNvSpPr>
                  <a:spLocks noChangeArrowheads="1"/>
                </p:cNvSpPr>
                <p:nvPr/>
              </p:nvSpPr>
              <p:spPr bwMode="auto">
                <a:xfrm>
                  <a:off x="1246" y="2045"/>
                  <a:ext cx="51" cy="22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6" name="Rectangle 872"/>
                <p:cNvSpPr>
                  <a:spLocks noChangeArrowheads="1"/>
                </p:cNvSpPr>
                <p:nvPr/>
              </p:nvSpPr>
              <p:spPr bwMode="auto">
                <a:xfrm>
                  <a:off x="1247" y="2025"/>
                  <a:ext cx="48" cy="40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7" name="Rectangle 873"/>
                <p:cNvSpPr>
                  <a:spLocks noChangeArrowheads="1"/>
                </p:cNvSpPr>
                <p:nvPr/>
              </p:nvSpPr>
              <p:spPr bwMode="auto">
                <a:xfrm>
                  <a:off x="1247" y="2025"/>
                  <a:ext cx="48" cy="20"/>
                </a:xfrm>
                <a:prstGeom prst="rect">
                  <a:avLst/>
                </a:prstGeom>
                <a:solidFill>
                  <a:srgbClr val="4DAD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8" name="Rectangle 874"/>
                <p:cNvSpPr>
                  <a:spLocks noChangeArrowheads="1"/>
                </p:cNvSpPr>
                <p:nvPr/>
              </p:nvSpPr>
              <p:spPr bwMode="auto">
                <a:xfrm>
                  <a:off x="1347" y="2020"/>
                  <a:ext cx="293" cy="51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49" name="Freeform 875"/>
                <p:cNvSpPr>
                  <a:spLocks noEditPoints="1"/>
                </p:cNvSpPr>
                <p:nvPr/>
              </p:nvSpPr>
              <p:spPr bwMode="auto">
                <a:xfrm>
                  <a:off x="1345" y="2018"/>
                  <a:ext cx="297" cy="55"/>
                </a:xfrm>
                <a:custGeom>
                  <a:avLst/>
                  <a:gdLst/>
                  <a:ahLst/>
                  <a:cxnLst>
                    <a:cxn ang="0">
                      <a:pos x="1206" y="16"/>
                    </a:cxn>
                    <a:cxn ang="0">
                      <a:pos x="17" y="16"/>
                    </a:cxn>
                    <a:cxn ang="0">
                      <a:pos x="17" y="208"/>
                    </a:cxn>
                    <a:cxn ang="0">
                      <a:pos x="1206" y="208"/>
                    </a:cxn>
                    <a:cxn ang="0">
                      <a:pos x="1206" y="16"/>
                    </a:cxn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3" y="0"/>
                    </a:cxn>
                    <a:cxn ang="0">
                      <a:pos x="1223" y="8"/>
                    </a:cxn>
                    <a:cxn ang="0">
                      <a:pos x="1223" y="216"/>
                    </a:cxn>
                    <a:cxn ang="0">
                      <a:pos x="1223" y="224"/>
                    </a:cxn>
                    <a:cxn ang="0">
                      <a:pos x="1214" y="224"/>
                    </a:cxn>
                    <a:cxn ang="0">
                      <a:pos x="8" y="224"/>
                    </a:cxn>
                    <a:cxn ang="0">
                      <a:pos x="0" y="224"/>
                    </a:cxn>
                    <a:cxn ang="0">
                      <a:pos x="0" y="216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3" h="224">
                      <a:moveTo>
                        <a:pt x="1206" y="16"/>
                      </a:moveTo>
                      <a:lnTo>
                        <a:pt x="17" y="16"/>
                      </a:lnTo>
                      <a:lnTo>
                        <a:pt x="17" y="208"/>
                      </a:lnTo>
                      <a:lnTo>
                        <a:pt x="1206" y="208"/>
                      </a:lnTo>
                      <a:lnTo>
                        <a:pt x="1206" y="16"/>
                      </a:lnTo>
                      <a:close/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3" y="0"/>
                      </a:lnTo>
                      <a:lnTo>
                        <a:pt x="1223" y="8"/>
                      </a:lnTo>
                      <a:lnTo>
                        <a:pt x="1223" y="216"/>
                      </a:lnTo>
                      <a:lnTo>
                        <a:pt x="1223" y="224"/>
                      </a:lnTo>
                      <a:lnTo>
                        <a:pt x="1214" y="224"/>
                      </a:lnTo>
                      <a:lnTo>
                        <a:pt x="8" y="224"/>
                      </a:lnTo>
                      <a:lnTo>
                        <a:pt x="0" y="224"/>
                      </a:lnTo>
                      <a:lnTo>
                        <a:pt x="0" y="2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0" name="Freeform 876"/>
                <p:cNvSpPr>
                  <a:spLocks/>
                </p:cNvSpPr>
                <p:nvPr/>
              </p:nvSpPr>
              <p:spPr bwMode="auto">
                <a:xfrm>
                  <a:off x="1345" y="2018"/>
                  <a:ext cx="297" cy="27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3" y="0"/>
                    </a:cxn>
                    <a:cxn ang="0">
                      <a:pos x="1223" y="8"/>
                    </a:cxn>
                    <a:cxn ang="0">
                      <a:pos x="1223" y="112"/>
                    </a:cxn>
                    <a:cxn ang="0">
                      <a:pos x="1206" y="112"/>
                    </a:cxn>
                    <a:cxn ang="0">
                      <a:pos x="1206" y="16"/>
                    </a:cxn>
                    <a:cxn ang="0">
                      <a:pos x="17" y="16"/>
                    </a:cxn>
                    <a:cxn ang="0">
                      <a:pos x="17" y="112"/>
                    </a:cxn>
                    <a:cxn ang="0">
                      <a:pos x="0" y="112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3" h="112"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3" y="0"/>
                      </a:lnTo>
                      <a:lnTo>
                        <a:pt x="1223" y="8"/>
                      </a:lnTo>
                      <a:lnTo>
                        <a:pt x="1223" y="112"/>
                      </a:lnTo>
                      <a:lnTo>
                        <a:pt x="1206" y="112"/>
                      </a:lnTo>
                      <a:lnTo>
                        <a:pt x="1206" y="16"/>
                      </a:lnTo>
                      <a:lnTo>
                        <a:pt x="17" y="16"/>
                      </a:lnTo>
                      <a:lnTo>
                        <a:pt x="17" y="112"/>
                      </a:lnTo>
                      <a:lnTo>
                        <a:pt x="0" y="112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1" name="Freeform 877"/>
                <p:cNvSpPr>
                  <a:spLocks noEditPoints="1"/>
                </p:cNvSpPr>
                <p:nvPr/>
              </p:nvSpPr>
              <p:spPr bwMode="auto">
                <a:xfrm>
                  <a:off x="1347" y="2020"/>
                  <a:ext cx="250" cy="51"/>
                </a:xfrm>
                <a:custGeom>
                  <a:avLst/>
                  <a:gdLst/>
                  <a:ahLst/>
                  <a:cxnLst>
                    <a:cxn ang="0">
                      <a:pos x="776" y="180"/>
                    </a:cxn>
                    <a:cxn ang="0">
                      <a:pos x="765" y="192"/>
                    </a:cxn>
                    <a:cxn ang="0">
                      <a:pos x="776" y="137"/>
                    </a:cxn>
                    <a:cxn ang="0">
                      <a:pos x="743" y="192"/>
                    </a:cxn>
                    <a:cxn ang="0">
                      <a:pos x="678" y="192"/>
                    </a:cxn>
                    <a:cxn ang="0">
                      <a:pos x="776" y="115"/>
                    </a:cxn>
                    <a:cxn ang="0">
                      <a:pos x="678" y="192"/>
                    </a:cxn>
                    <a:cxn ang="0">
                      <a:pos x="776" y="50"/>
                    </a:cxn>
                    <a:cxn ang="0">
                      <a:pos x="656" y="192"/>
                    </a:cxn>
                    <a:cxn ang="0">
                      <a:pos x="591" y="192"/>
                    </a:cxn>
                    <a:cxn ang="0">
                      <a:pos x="776" y="16"/>
                    </a:cxn>
                    <a:cxn ang="0">
                      <a:pos x="613" y="192"/>
                    </a:cxn>
                    <a:cxn ang="0">
                      <a:pos x="548" y="192"/>
                    </a:cxn>
                    <a:cxn ang="0">
                      <a:pos x="745" y="16"/>
                    </a:cxn>
                    <a:cxn ang="0">
                      <a:pos x="548" y="192"/>
                    </a:cxn>
                    <a:cxn ang="0">
                      <a:pos x="680" y="16"/>
                    </a:cxn>
                    <a:cxn ang="0">
                      <a:pos x="526" y="192"/>
                    </a:cxn>
                    <a:cxn ang="0">
                      <a:pos x="461" y="192"/>
                    </a:cxn>
                    <a:cxn ang="0">
                      <a:pos x="658" y="16"/>
                    </a:cxn>
                    <a:cxn ang="0">
                      <a:pos x="461" y="192"/>
                    </a:cxn>
                    <a:cxn ang="0">
                      <a:pos x="593" y="16"/>
                    </a:cxn>
                    <a:cxn ang="0">
                      <a:pos x="439" y="192"/>
                    </a:cxn>
                    <a:cxn ang="0">
                      <a:pos x="374" y="192"/>
                    </a:cxn>
                    <a:cxn ang="0">
                      <a:pos x="571" y="16"/>
                    </a:cxn>
                    <a:cxn ang="0">
                      <a:pos x="374" y="192"/>
                    </a:cxn>
                    <a:cxn ang="0">
                      <a:pos x="506" y="16"/>
                    </a:cxn>
                    <a:cxn ang="0">
                      <a:pos x="352" y="192"/>
                    </a:cxn>
                    <a:cxn ang="0">
                      <a:pos x="287" y="192"/>
                    </a:cxn>
                    <a:cxn ang="0">
                      <a:pos x="484" y="16"/>
                    </a:cxn>
                    <a:cxn ang="0">
                      <a:pos x="287" y="192"/>
                    </a:cxn>
                    <a:cxn ang="0">
                      <a:pos x="419" y="16"/>
                    </a:cxn>
                    <a:cxn ang="0">
                      <a:pos x="265" y="192"/>
                    </a:cxn>
                    <a:cxn ang="0">
                      <a:pos x="200" y="192"/>
                    </a:cxn>
                    <a:cxn ang="0">
                      <a:pos x="397" y="16"/>
                    </a:cxn>
                    <a:cxn ang="0">
                      <a:pos x="200" y="192"/>
                    </a:cxn>
                    <a:cxn ang="0">
                      <a:pos x="332" y="16"/>
                    </a:cxn>
                    <a:cxn ang="0">
                      <a:pos x="178" y="192"/>
                    </a:cxn>
                    <a:cxn ang="0">
                      <a:pos x="113" y="192"/>
                    </a:cxn>
                    <a:cxn ang="0">
                      <a:pos x="310" y="16"/>
                    </a:cxn>
                    <a:cxn ang="0">
                      <a:pos x="113" y="192"/>
                    </a:cxn>
                    <a:cxn ang="0">
                      <a:pos x="245" y="16"/>
                    </a:cxn>
                    <a:cxn ang="0">
                      <a:pos x="92" y="192"/>
                    </a:cxn>
                    <a:cxn ang="0">
                      <a:pos x="26" y="192"/>
                    </a:cxn>
                    <a:cxn ang="0">
                      <a:pos x="224" y="16"/>
                    </a:cxn>
                    <a:cxn ang="0">
                      <a:pos x="26" y="192"/>
                    </a:cxn>
                    <a:cxn ang="0">
                      <a:pos x="158" y="16"/>
                    </a:cxn>
                    <a:cxn ang="0">
                      <a:pos x="17" y="180"/>
                    </a:cxn>
                    <a:cxn ang="0">
                      <a:pos x="17" y="115"/>
                    </a:cxn>
                    <a:cxn ang="0">
                      <a:pos x="137" y="16"/>
                    </a:cxn>
                    <a:cxn ang="0">
                      <a:pos x="17" y="115"/>
                    </a:cxn>
                    <a:cxn ang="0">
                      <a:pos x="71" y="16"/>
                    </a:cxn>
                    <a:cxn ang="0">
                      <a:pos x="17" y="93"/>
                    </a:cxn>
                    <a:cxn ang="0">
                      <a:pos x="17" y="28"/>
                    </a:cxn>
                    <a:cxn ang="0">
                      <a:pos x="50" y="16"/>
                    </a:cxn>
                    <a:cxn ang="0">
                      <a:pos x="17" y="28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208"/>
                    </a:cxn>
                    <a:cxn ang="0">
                      <a:pos x="785" y="208"/>
                    </a:cxn>
                    <a:cxn ang="0">
                      <a:pos x="9" y="208"/>
                    </a:cxn>
                    <a:cxn ang="0">
                      <a:pos x="0" y="20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27" h="208">
                      <a:moveTo>
                        <a:pt x="765" y="192"/>
                      </a:moveTo>
                      <a:lnTo>
                        <a:pt x="776" y="180"/>
                      </a:lnTo>
                      <a:lnTo>
                        <a:pt x="776" y="192"/>
                      </a:lnTo>
                      <a:lnTo>
                        <a:pt x="765" y="192"/>
                      </a:lnTo>
                      <a:close/>
                      <a:moveTo>
                        <a:pt x="721" y="192"/>
                      </a:moveTo>
                      <a:lnTo>
                        <a:pt x="776" y="137"/>
                      </a:lnTo>
                      <a:lnTo>
                        <a:pt x="776" y="158"/>
                      </a:lnTo>
                      <a:lnTo>
                        <a:pt x="743" y="192"/>
                      </a:lnTo>
                      <a:lnTo>
                        <a:pt x="721" y="192"/>
                      </a:lnTo>
                      <a:close/>
                      <a:moveTo>
                        <a:pt x="678" y="192"/>
                      </a:moveTo>
                      <a:lnTo>
                        <a:pt x="776" y="93"/>
                      </a:lnTo>
                      <a:lnTo>
                        <a:pt x="776" y="115"/>
                      </a:lnTo>
                      <a:lnTo>
                        <a:pt x="700" y="192"/>
                      </a:lnTo>
                      <a:lnTo>
                        <a:pt x="678" y="192"/>
                      </a:lnTo>
                      <a:close/>
                      <a:moveTo>
                        <a:pt x="635" y="192"/>
                      </a:moveTo>
                      <a:lnTo>
                        <a:pt x="776" y="50"/>
                      </a:lnTo>
                      <a:lnTo>
                        <a:pt x="776" y="71"/>
                      </a:lnTo>
                      <a:lnTo>
                        <a:pt x="656" y="192"/>
                      </a:lnTo>
                      <a:lnTo>
                        <a:pt x="635" y="192"/>
                      </a:lnTo>
                      <a:close/>
                      <a:moveTo>
                        <a:pt x="591" y="192"/>
                      </a:moveTo>
                      <a:lnTo>
                        <a:pt x="766" y="16"/>
                      </a:lnTo>
                      <a:lnTo>
                        <a:pt x="776" y="16"/>
                      </a:lnTo>
                      <a:lnTo>
                        <a:pt x="776" y="28"/>
                      </a:lnTo>
                      <a:lnTo>
                        <a:pt x="613" y="192"/>
                      </a:lnTo>
                      <a:lnTo>
                        <a:pt x="591" y="192"/>
                      </a:lnTo>
                      <a:close/>
                      <a:moveTo>
                        <a:pt x="548" y="192"/>
                      </a:moveTo>
                      <a:lnTo>
                        <a:pt x="723" y="16"/>
                      </a:lnTo>
                      <a:lnTo>
                        <a:pt x="745" y="16"/>
                      </a:lnTo>
                      <a:lnTo>
                        <a:pt x="569" y="192"/>
                      </a:lnTo>
                      <a:lnTo>
                        <a:pt x="548" y="192"/>
                      </a:lnTo>
                      <a:close/>
                      <a:moveTo>
                        <a:pt x="504" y="192"/>
                      </a:moveTo>
                      <a:lnTo>
                        <a:pt x="680" y="16"/>
                      </a:lnTo>
                      <a:lnTo>
                        <a:pt x="701" y="16"/>
                      </a:lnTo>
                      <a:lnTo>
                        <a:pt x="526" y="192"/>
                      </a:lnTo>
                      <a:lnTo>
                        <a:pt x="504" y="192"/>
                      </a:lnTo>
                      <a:close/>
                      <a:moveTo>
                        <a:pt x="461" y="192"/>
                      </a:moveTo>
                      <a:lnTo>
                        <a:pt x="636" y="16"/>
                      </a:lnTo>
                      <a:lnTo>
                        <a:pt x="658" y="16"/>
                      </a:lnTo>
                      <a:lnTo>
                        <a:pt x="483" y="192"/>
                      </a:lnTo>
                      <a:lnTo>
                        <a:pt x="461" y="192"/>
                      </a:lnTo>
                      <a:close/>
                      <a:moveTo>
                        <a:pt x="417" y="192"/>
                      </a:moveTo>
                      <a:lnTo>
                        <a:pt x="593" y="16"/>
                      </a:lnTo>
                      <a:lnTo>
                        <a:pt x="614" y="16"/>
                      </a:lnTo>
                      <a:lnTo>
                        <a:pt x="439" y="192"/>
                      </a:lnTo>
                      <a:lnTo>
                        <a:pt x="417" y="192"/>
                      </a:lnTo>
                      <a:close/>
                      <a:moveTo>
                        <a:pt x="374" y="192"/>
                      </a:moveTo>
                      <a:lnTo>
                        <a:pt x="549" y="16"/>
                      </a:lnTo>
                      <a:lnTo>
                        <a:pt x="571" y="16"/>
                      </a:lnTo>
                      <a:lnTo>
                        <a:pt x="396" y="192"/>
                      </a:lnTo>
                      <a:lnTo>
                        <a:pt x="374" y="192"/>
                      </a:lnTo>
                      <a:close/>
                      <a:moveTo>
                        <a:pt x="331" y="192"/>
                      </a:moveTo>
                      <a:lnTo>
                        <a:pt x="506" y="16"/>
                      </a:lnTo>
                      <a:lnTo>
                        <a:pt x="528" y="16"/>
                      </a:lnTo>
                      <a:lnTo>
                        <a:pt x="352" y="192"/>
                      </a:lnTo>
                      <a:lnTo>
                        <a:pt x="331" y="192"/>
                      </a:lnTo>
                      <a:close/>
                      <a:moveTo>
                        <a:pt x="287" y="192"/>
                      </a:moveTo>
                      <a:lnTo>
                        <a:pt x="462" y="16"/>
                      </a:lnTo>
                      <a:lnTo>
                        <a:pt x="484" y="16"/>
                      </a:lnTo>
                      <a:lnTo>
                        <a:pt x="309" y="192"/>
                      </a:lnTo>
                      <a:lnTo>
                        <a:pt x="287" y="192"/>
                      </a:lnTo>
                      <a:close/>
                      <a:moveTo>
                        <a:pt x="244" y="192"/>
                      </a:moveTo>
                      <a:lnTo>
                        <a:pt x="419" y="16"/>
                      </a:lnTo>
                      <a:lnTo>
                        <a:pt x="441" y="16"/>
                      </a:lnTo>
                      <a:lnTo>
                        <a:pt x="265" y="192"/>
                      </a:lnTo>
                      <a:lnTo>
                        <a:pt x="244" y="192"/>
                      </a:lnTo>
                      <a:close/>
                      <a:moveTo>
                        <a:pt x="200" y="192"/>
                      </a:moveTo>
                      <a:lnTo>
                        <a:pt x="376" y="16"/>
                      </a:lnTo>
                      <a:lnTo>
                        <a:pt x="397" y="16"/>
                      </a:lnTo>
                      <a:lnTo>
                        <a:pt x="222" y="192"/>
                      </a:lnTo>
                      <a:lnTo>
                        <a:pt x="200" y="192"/>
                      </a:lnTo>
                      <a:close/>
                      <a:moveTo>
                        <a:pt x="157" y="192"/>
                      </a:moveTo>
                      <a:lnTo>
                        <a:pt x="332" y="16"/>
                      </a:lnTo>
                      <a:lnTo>
                        <a:pt x="354" y="16"/>
                      </a:lnTo>
                      <a:lnTo>
                        <a:pt x="178" y="192"/>
                      </a:lnTo>
                      <a:lnTo>
                        <a:pt x="157" y="192"/>
                      </a:lnTo>
                      <a:close/>
                      <a:moveTo>
                        <a:pt x="113" y="192"/>
                      </a:moveTo>
                      <a:lnTo>
                        <a:pt x="289" y="16"/>
                      </a:lnTo>
                      <a:lnTo>
                        <a:pt x="310" y="16"/>
                      </a:lnTo>
                      <a:lnTo>
                        <a:pt x="135" y="192"/>
                      </a:lnTo>
                      <a:lnTo>
                        <a:pt x="113" y="192"/>
                      </a:lnTo>
                      <a:close/>
                      <a:moveTo>
                        <a:pt x="70" y="192"/>
                      </a:moveTo>
                      <a:lnTo>
                        <a:pt x="245" y="16"/>
                      </a:lnTo>
                      <a:lnTo>
                        <a:pt x="267" y="16"/>
                      </a:lnTo>
                      <a:lnTo>
                        <a:pt x="92" y="192"/>
                      </a:lnTo>
                      <a:lnTo>
                        <a:pt x="70" y="192"/>
                      </a:lnTo>
                      <a:close/>
                      <a:moveTo>
                        <a:pt x="26" y="192"/>
                      </a:moveTo>
                      <a:lnTo>
                        <a:pt x="202" y="16"/>
                      </a:lnTo>
                      <a:lnTo>
                        <a:pt x="224" y="16"/>
                      </a:lnTo>
                      <a:lnTo>
                        <a:pt x="48" y="192"/>
                      </a:lnTo>
                      <a:lnTo>
                        <a:pt x="26" y="192"/>
                      </a:lnTo>
                      <a:close/>
                      <a:moveTo>
                        <a:pt x="17" y="158"/>
                      </a:moveTo>
                      <a:lnTo>
                        <a:pt x="158" y="16"/>
                      </a:lnTo>
                      <a:lnTo>
                        <a:pt x="180" y="16"/>
                      </a:lnTo>
                      <a:lnTo>
                        <a:pt x="17" y="180"/>
                      </a:lnTo>
                      <a:lnTo>
                        <a:pt x="17" y="158"/>
                      </a:lnTo>
                      <a:close/>
                      <a:moveTo>
                        <a:pt x="17" y="115"/>
                      </a:moveTo>
                      <a:lnTo>
                        <a:pt x="115" y="16"/>
                      </a:lnTo>
                      <a:lnTo>
                        <a:pt x="137" y="16"/>
                      </a:lnTo>
                      <a:lnTo>
                        <a:pt x="17" y="136"/>
                      </a:lnTo>
                      <a:lnTo>
                        <a:pt x="17" y="115"/>
                      </a:lnTo>
                      <a:close/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8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8"/>
                      </a:lnTo>
                      <a:close/>
                      <a:moveTo>
                        <a:pt x="9" y="0"/>
                      </a:moveTo>
                      <a:lnTo>
                        <a:pt x="776" y="0"/>
                      </a:lnTo>
                      <a:lnTo>
                        <a:pt x="785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208"/>
                      </a:lnTo>
                      <a:lnTo>
                        <a:pt x="793" y="208"/>
                      </a:lnTo>
                      <a:lnTo>
                        <a:pt x="785" y="208"/>
                      </a:lnTo>
                      <a:lnTo>
                        <a:pt x="776" y="208"/>
                      </a:lnTo>
                      <a:lnTo>
                        <a:pt x="9" y="208"/>
                      </a:lnTo>
                      <a:lnTo>
                        <a:pt x="0" y="208"/>
                      </a:lnTo>
                      <a:lnTo>
                        <a:pt x="0" y="200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2" name="Freeform 878"/>
                <p:cNvSpPr>
                  <a:spLocks noEditPoints="1"/>
                </p:cNvSpPr>
                <p:nvPr/>
              </p:nvSpPr>
              <p:spPr bwMode="auto">
                <a:xfrm>
                  <a:off x="1347" y="2020"/>
                  <a:ext cx="250" cy="25"/>
                </a:xfrm>
                <a:custGeom>
                  <a:avLst/>
                  <a:gdLst/>
                  <a:ahLst/>
                  <a:cxnLst>
                    <a:cxn ang="0">
                      <a:pos x="71" y="16"/>
                    </a:cxn>
                    <a:cxn ang="0">
                      <a:pos x="17" y="93"/>
                    </a:cxn>
                    <a:cxn ang="0">
                      <a:pos x="17" y="28"/>
                    </a:cxn>
                    <a:cxn ang="0">
                      <a:pos x="50" y="16"/>
                    </a:cxn>
                    <a:cxn ang="0">
                      <a:pos x="17" y="28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104"/>
                    </a:cxn>
                    <a:cxn ang="0">
                      <a:pos x="776" y="93"/>
                    </a:cxn>
                    <a:cxn ang="0">
                      <a:pos x="744" y="104"/>
                    </a:cxn>
                    <a:cxn ang="0">
                      <a:pos x="776" y="50"/>
                    </a:cxn>
                    <a:cxn ang="0">
                      <a:pos x="700" y="104"/>
                    </a:cxn>
                    <a:cxn ang="0">
                      <a:pos x="776" y="16"/>
                    </a:cxn>
                    <a:cxn ang="0">
                      <a:pos x="679" y="104"/>
                    </a:cxn>
                    <a:cxn ang="0">
                      <a:pos x="745" y="16"/>
                    </a:cxn>
                    <a:cxn ang="0">
                      <a:pos x="635" y="104"/>
                    </a:cxn>
                    <a:cxn ang="0">
                      <a:pos x="701" y="16"/>
                    </a:cxn>
                    <a:cxn ang="0">
                      <a:pos x="592" y="104"/>
                    </a:cxn>
                    <a:cxn ang="0">
                      <a:pos x="658" y="16"/>
                    </a:cxn>
                    <a:cxn ang="0">
                      <a:pos x="548" y="104"/>
                    </a:cxn>
                    <a:cxn ang="0">
                      <a:pos x="614" y="16"/>
                    </a:cxn>
                    <a:cxn ang="0">
                      <a:pos x="505" y="104"/>
                    </a:cxn>
                    <a:cxn ang="0">
                      <a:pos x="571" y="16"/>
                    </a:cxn>
                    <a:cxn ang="0">
                      <a:pos x="462" y="104"/>
                    </a:cxn>
                    <a:cxn ang="0">
                      <a:pos x="528" y="16"/>
                    </a:cxn>
                    <a:cxn ang="0">
                      <a:pos x="418" y="104"/>
                    </a:cxn>
                    <a:cxn ang="0">
                      <a:pos x="484" y="16"/>
                    </a:cxn>
                    <a:cxn ang="0">
                      <a:pos x="375" y="104"/>
                    </a:cxn>
                    <a:cxn ang="0">
                      <a:pos x="441" y="16"/>
                    </a:cxn>
                    <a:cxn ang="0">
                      <a:pos x="331" y="104"/>
                    </a:cxn>
                    <a:cxn ang="0">
                      <a:pos x="397" y="16"/>
                    </a:cxn>
                    <a:cxn ang="0">
                      <a:pos x="288" y="104"/>
                    </a:cxn>
                    <a:cxn ang="0">
                      <a:pos x="354" y="16"/>
                    </a:cxn>
                    <a:cxn ang="0">
                      <a:pos x="244" y="104"/>
                    </a:cxn>
                    <a:cxn ang="0">
                      <a:pos x="310" y="16"/>
                    </a:cxn>
                    <a:cxn ang="0">
                      <a:pos x="201" y="104"/>
                    </a:cxn>
                    <a:cxn ang="0">
                      <a:pos x="267" y="16"/>
                    </a:cxn>
                    <a:cxn ang="0">
                      <a:pos x="158" y="104"/>
                    </a:cxn>
                    <a:cxn ang="0">
                      <a:pos x="224" y="16"/>
                    </a:cxn>
                    <a:cxn ang="0">
                      <a:pos x="114" y="104"/>
                    </a:cxn>
                    <a:cxn ang="0">
                      <a:pos x="180" y="16"/>
                    </a:cxn>
                    <a:cxn ang="0">
                      <a:pos x="71" y="104"/>
                    </a:cxn>
                    <a:cxn ang="0">
                      <a:pos x="137" y="16"/>
                    </a:cxn>
                    <a:cxn ang="0">
                      <a:pos x="27" y="104"/>
                    </a:cxn>
                    <a:cxn ang="0">
                      <a:pos x="0" y="8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1027" h="104">
                      <a:moveTo>
                        <a:pt x="17" y="71"/>
                      </a:moveTo>
                      <a:lnTo>
                        <a:pt x="71" y="16"/>
                      </a:lnTo>
                      <a:lnTo>
                        <a:pt x="93" y="16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8"/>
                      </a:moveTo>
                      <a:lnTo>
                        <a:pt x="28" y="16"/>
                      </a:lnTo>
                      <a:lnTo>
                        <a:pt x="50" y="16"/>
                      </a:lnTo>
                      <a:lnTo>
                        <a:pt x="17" y="49"/>
                      </a:lnTo>
                      <a:lnTo>
                        <a:pt x="17" y="28"/>
                      </a:lnTo>
                      <a:close/>
                      <a:moveTo>
                        <a:pt x="9" y="0"/>
                      </a:moveTo>
                      <a:lnTo>
                        <a:pt x="776" y="0"/>
                      </a:lnTo>
                      <a:lnTo>
                        <a:pt x="785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104"/>
                      </a:lnTo>
                      <a:lnTo>
                        <a:pt x="776" y="104"/>
                      </a:lnTo>
                      <a:lnTo>
                        <a:pt x="776" y="93"/>
                      </a:lnTo>
                      <a:lnTo>
                        <a:pt x="766" y="104"/>
                      </a:lnTo>
                      <a:lnTo>
                        <a:pt x="744" y="104"/>
                      </a:lnTo>
                      <a:lnTo>
                        <a:pt x="776" y="71"/>
                      </a:lnTo>
                      <a:lnTo>
                        <a:pt x="776" y="50"/>
                      </a:lnTo>
                      <a:lnTo>
                        <a:pt x="722" y="104"/>
                      </a:lnTo>
                      <a:lnTo>
                        <a:pt x="700" y="104"/>
                      </a:lnTo>
                      <a:lnTo>
                        <a:pt x="776" y="28"/>
                      </a:lnTo>
                      <a:lnTo>
                        <a:pt x="776" y="16"/>
                      </a:lnTo>
                      <a:lnTo>
                        <a:pt x="766" y="16"/>
                      </a:lnTo>
                      <a:lnTo>
                        <a:pt x="679" y="104"/>
                      </a:lnTo>
                      <a:lnTo>
                        <a:pt x="657" y="104"/>
                      </a:lnTo>
                      <a:lnTo>
                        <a:pt x="745" y="16"/>
                      </a:lnTo>
                      <a:lnTo>
                        <a:pt x="723" y="16"/>
                      </a:lnTo>
                      <a:lnTo>
                        <a:pt x="635" y="104"/>
                      </a:lnTo>
                      <a:lnTo>
                        <a:pt x="614" y="104"/>
                      </a:lnTo>
                      <a:lnTo>
                        <a:pt x="701" y="16"/>
                      </a:lnTo>
                      <a:lnTo>
                        <a:pt x="680" y="16"/>
                      </a:lnTo>
                      <a:lnTo>
                        <a:pt x="592" y="104"/>
                      </a:lnTo>
                      <a:lnTo>
                        <a:pt x="570" y="104"/>
                      </a:lnTo>
                      <a:lnTo>
                        <a:pt x="658" y="16"/>
                      </a:lnTo>
                      <a:lnTo>
                        <a:pt x="636" y="16"/>
                      </a:lnTo>
                      <a:lnTo>
                        <a:pt x="548" y="104"/>
                      </a:lnTo>
                      <a:lnTo>
                        <a:pt x="527" y="104"/>
                      </a:lnTo>
                      <a:lnTo>
                        <a:pt x="614" y="16"/>
                      </a:lnTo>
                      <a:lnTo>
                        <a:pt x="593" y="16"/>
                      </a:lnTo>
                      <a:lnTo>
                        <a:pt x="505" y="104"/>
                      </a:lnTo>
                      <a:lnTo>
                        <a:pt x="483" y="104"/>
                      </a:lnTo>
                      <a:lnTo>
                        <a:pt x="571" y="16"/>
                      </a:lnTo>
                      <a:lnTo>
                        <a:pt x="549" y="16"/>
                      </a:lnTo>
                      <a:lnTo>
                        <a:pt x="462" y="104"/>
                      </a:lnTo>
                      <a:lnTo>
                        <a:pt x="440" y="104"/>
                      </a:lnTo>
                      <a:lnTo>
                        <a:pt x="528" y="16"/>
                      </a:lnTo>
                      <a:lnTo>
                        <a:pt x="506" y="16"/>
                      </a:lnTo>
                      <a:lnTo>
                        <a:pt x="418" y="104"/>
                      </a:lnTo>
                      <a:lnTo>
                        <a:pt x="396" y="104"/>
                      </a:lnTo>
                      <a:lnTo>
                        <a:pt x="484" y="16"/>
                      </a:lnTo>
                      <a:lnTo>
                        <a:pt x="462" y="16"/>
                      </a:lnTo>
                      <a:lnTo>
                        <a:pt x="375" y="104"/>
                      </a:lnTo>
                      <a:lnTo>
                        <a:pt x="353" y="104"/>
                      </a:lnTo>
                      <a:lnTo>
                        <a:pt x="441" y="16"/>
                      </a:lnTo>
                      <a:lnTo>
                        <a:pt x="419" y="16"/>
                      </a:lnTo>
                      <a:lnTo>
                        <a:pt x="331" y="104"/>
                      </a:lnTo>
                      <a:lnTo>
                        <a:pt x="310" y="104"/>
                      </a:lnTo>
                      <a:lnTo>
                        <a:pt x="397" y="16"/>
                      </a:lnTo>
                      <a:lnTo>
                        <a:pt x="376" y="16"/>
                      </a:lnTo>
                      <a:lnTo>
                        <a:pt x="288" y="104"/>
                      </a:lnTo>
                      <a:lnTo>
                        <a:pt x="266" y="104"/>
                      </a:lnTo>
                      <a:lnTo>
                        <a:pt x="354" y="16"/>
                      </a:lnTo>
                      <a:lnTo>
                        <a:pt x="332" y="16"/>
                      </a:lnTo>
                      <a:lnTo>
                        <a:pt x="244" y="104"/>
                      </a:lnTo>
                      <a:lnTo>
                        <a:pt x="223" y="104"/>
                      </a:lnTo>
                      <a:lnTo>
                        <a:pt x="310" y="16"/>
                      </a:lnTo>
                      <a:lnTo>
                        <a:pt x="289" y="16"/>
                      </a:lnTo>
                      <a:lnTo>
                        <a:pt x="201" y="104"/>
                      </a:lnTo>
                      <a:lnTo>
                        <a:pt x="179" y="104"/>
                      </a:lnTo>
                      <a:lnTo>
                        <a:pt x="267" y="16"/>
                      </a:lnTo>
                      <a:lnTo>
                        <a:pt x="245" y="16"/>
                      </a:lnTo>
                      <a:lnTo>
                        <a:pt x="158" y="104"/>
                      </a:lnTo>
                      <a:lnTo>
                        <a:pt x="136" y="104"/>
                      </a:lnTo>
                      <a:lnTo>
                        <a:pt x="224" y="16"/>
                      </a:lnTo>
                      <a:lnTo>
                        <a:pt x="202" y="16"/>
                      </a:lnTo>
                      <a:lnTo>
                        <a:pt x="114" y="104"/>
                      </a:lnTo>
                      <a:lnTo>
                        <a:pt x="92" y="104"/>
                      </a:lnTo>
                      <a:lnTo>
                        <a:pt x="180" y="16"/>
                      </a:lnTo>
                      <a:lnTo>
                        <a:pt x="158" y="16"/>
                      </a:lnTo>
                      <a:lnTo>
                        <a:pt x="71" y="104"/>
                      </a:lnTo>
                      <a:lnTo>
                        <a:pt x="49" y="104"/>
                      </a:lnTo>
                      <a:lnTo>
                        <a:pt x="137" y="16"/>
                      </a:lnTo>
                      <a:lnTo>
                        <a:pt x="115" y="16"/>
                      </a:lnTo>
                      <a:lnTo>
                        <a:pt x="27" y="104"/>
                      </a:lnTo>
                      <a:lnTo>
                        <a:pt x="0" y="10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3" name="Rectangle 879"/>
                <p:cNvSpPr>
                  <a:spLocks noChangeArrowheads="1"/>
                </p:cNvSpPr>
                <p:nvPr/>
              </p:nvSpPr>
              <p:spPr bwMode="auto">
                <a:xfrm>
                  <a:off x="1597" y="2020"/>
                  <a:ext cx="43" cy="51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4" name="Rectangle 880"/>
                <p:cNvSpPr>
                  <a:spLocks noChangeArrowheads="1"/>
                </p:cNvSpPr>
                <p:nvPr/>
              </p:nvSpPr>
              <p:spPr bwMode="auto">
                <a:xfrm>
                  <a:off x="1597" y="2020"/>
                  <a:ext cx="43" cy="25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5" name="Freeform 881"/>
                <p:cNvSpPr>
                  <a:spLocks/>
                </p:cNvSpPr>
                <p:nvPr/>
              </p:nvSpPr>
              <p:spPr bwMode="auto">
                <a:xfrm>
                  <a:off x="1604" y="2058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7" y="0"/>
                    </a:cxn>
                    <a:cxn ang="0">
                      <a:pos x="47" y="26"/>
                    </a:cxn>
                    <a:cxn ang="0">
                      <a:pos x="34" y="26"/>
                    </a:cxn>
                    <a:cxn ang="0">
                      <a:pos x="34" y="19"/>
                    </a:cxn>
                    <a:cxn ang="0">
                      <a:pos x="13" y="19"/>
                    </a:cxn>
                    <a:cxn ang="0">
                      <a:pos x="13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7" h="26">
                      <a:moveTo>
                        <a:pt x="0" y="0"/>
                      </a:moveTo>
                      <a:lnTo>
                        <a:pt x="47" y="0"/>
                      </a:lnTo>
                      <a:lnTo>
                        <a:pt x="47" y="26"/>
                      </a:lnTo>
                      <a:lnTo>
                        <a:pt x="34" y="26"/>
                      </a:lnTo>
                      <a:lnTo>
                        <a:pt x="34" y="19"/>
                      </a:lnTo>
                      <a:lnTo>
                        <a:pt x="13" y="19"/>
                      </a:lnTo>
                      <a:lnTo>
                        <a:pt x="13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6" name="Freeform 882"/>
                <p:cNvSpPr>
                  <a:spLocks/>
                </p:cNvSpPr>
                <p:nvPr/>
              </p:nvSpPr>
              <p:spPr bwMode="auto">
                <a:xfrm>
                  <a:off x="1622" y="2058"/>
                  <a:ext cx="11" cy="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6"/>
                    </a:cxn>
                    <a:cxn ang="0">
                      <a:pos x="33" y="26"/>
                    </a:cxn>
                    <a:cxn ang="0">
                      <a:pos x="33" y="19"/>
                    </a:cxn>
                    <a:cxn ang="0">
                      <a:pos x="12" y="19"/>
                    </a:cxn>
                    <a:cxn ang="0">
                      <a:pos x="12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6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6"/>
                      </a:lnTo>
                      <a:lnTo>
                        <a:pt x="33" y="26"/>
                      </a:lnTo>
                      <a:lnTo>
                        <a:pt x="33" y="19"/>
                      </a:lnTo>
                      <a:lnTo>
                        <a:pt x="12" y="19"/>
                      </a:lnTo>
                      <a:lnTo>
                        <a:pt x="12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7" name="Rectangle 883"/>
                <p:cNvSpPr>
                  <a:spLocks noChangeArrowheads="1"/>
                </p:cNvSpPr>
                <p:nvPr/>
              </p:nvSpPr>
              <p:spPr bwMode="auto">
                <a:xfrm>
                  <a:off x="1604" y="2044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8" name="Rectangle 884"/>
                <p:cNvSpPr>
                  <a:spLocks noChangeArrowheads="1"/>
                </p:cNvSpPr>
                <p:nvPr/>
              </p:nvSpPr>
              <p:spPr bwMode="auto">
                <a:xfrm>
                  <a:off x="1604" y="2044"/>
                  <a:ext cx="29" cy="1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59" name="Rectangle 885"/>
                <p:cNvSpPr>
                  <a:spLocks noChangeArrowheads="1"/>
                </p:cNvSpPr>
                <p:nvPr/>
              </p:nvSpPr>
              <p:spPr bwMode="auto">
                <a:xfrm>
                  <a:off x="1604" y="2026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0" name="Rectangle 886"/>
                <p:cNvSpPr>
                  <a:spLocks noChangeArrowheads="1"/>
                </p:cNvSpPr>
                <p:nvPr/>
              </p:nvSpPr>
              <p:spPr bwMode="auto">
                <a:xfrm>
                  <a:off x="1604" y="2035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1" name="Rectangle 887"/>
                <p:cNvSpPr>
                  <a:spLocks noChangeArrowheads="1"/>
                </p:cNvSpPr>
                <p:nvPr/>
              </p:nvSpPr>
              <p:spPr bwMode="auto">
                <a:xfrm>
                  <a:off x="1604" y="2039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2" name="Rectangle 888"/>
                <p:cNvSpPr>
                  <a:spLocks noChangeArrowheads="1"/>
                </p:cNvSpPr>
                <p:nvPr/>
              </p:nvSpPr>
              <p:spPr bwMode="auto">
                <a:xfrm>
                  <a:off x="1604" y="2030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3" name="Rectangle 889"/>
                <p:cNvSpPr>
                  <a:spLocks noChangeArrowheads="1"/>
                </p:cNvSpPr>
                <p:nvPr/>
              </p:nvSpPr>
              <p:spPr bwMode="auto">
                <a:xfrm>
                  <a:off x="1604" y="2054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4" name="Rectangle 890"/>
                <p:cNvSpPr>
                  <a:spLocks noChangeArrowheads="1"/>
                </p:cNvSpPr>
                <p:nvPr/>
              </p:nvSpPr>
              <p:spPr bwMode="auto">
                <a:xfrm>
                  <a:off x="1622" y="2054"/>
                  <a:ext cx="4" cy="2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5" name="Rectangle 891"/>
                <p:cNvSpPr>
                  <a:spLocks noChangeArrowheads="1"/>
                </p:cNvSpPr>
                <p:nvPr/>
              </p:nvSpPr>
              <p:spPr bwMode="auto">
                <a:xfrm>
                  <a:off x="1541" y="2024"/>
                  <a:ext cx="51" cy="43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6" name="Rectangle 892"/>
                <p:cNvSpPr>
                  <a:spLocks noChangeArrowheads="1"/>
                </p:cNvSpPr>
                <p:nvPr/>
              </p:nvSpPr>
              <p:spPr bwMode="auto">
                <a:xfrm>
                  <a:off x="1541" y="2045"/>
                  <a:ext cx="51" cy="22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7" name="Rectangle 893"/>
                <p:cNvSpPr>
                  <a:spLocks noChangeArrowheads="1"/>
                </p:cNvSpPr>
                <p:nvPr/>
              </p:nvSpPr>
              <p:spPr bwMode="auto">
                <a:xfrm>
                  <a:off x="1542" y="2025"/>
                  <a:ext cx="49" cy="40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8" name="Rectangle 894"/>
                <p:cNvSpPr>
                  <a:spLocks noChangeArrowheads="1"/>
                </p:cNvSpPr>
                <p:nvPr/>
              </p:nvSpPr>
              <p:spPr bwMode="auto">
                <a:xfrm>
                  <a:off x="1542" y="2025"/>
                  <a:ext cx="49" cy="20"/>
                </a:xfrm>
                <a:prstGeom prst="rect">
                  <a:avLst/>
                </a:prstGeom>
                <a:solidFill>
                  <a:srgbClr val="4DAD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69" name="Rectangle 895"/>
                <p:cNvSpPr>
                  <a:spLocks noChangeArrowheads="1"/>
                </p:cNvSpPr>
                <p:nvPr/>
              </p:nvSpPr>
              <p:spPr bwMode="auto">
                <a:xfrm>
                  <a:off x="1052" y="2073"/>
                  <a:ext cx="293" cy="5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0" name="Freeform 896"/>
                <p:cNvSpPr>
                  <a:spLocks noEditPoints="1"/>
                </p:cNvSpPr>
                <p:nvPr/>
              </p:nvSpPr>
              <p:spPr bwMode="auto">
                <a:xfrm>
                  <a:off x="1050" y="2071"/>
                  <a:ext cx="297" cy="54"/>
                </a:xfrm>
                <a:custGeom>
                  <a:avLst/>
                  <a:gdLst/>
                  <a:ahLst/>
                  <a:cxnLst>
                    <a:cxn ang="0">
                      <a:pos x="1206" y="16"/>
                    </a:cxn>
                    <a:cxn ang="0">
                      <a:pos x="16" y="16"/>
                    </a:cxn>
                    <a:cxn ang="0">
                      <a:pos x="16" y="208"/>
                    </a:cxn>
                    <a:cxn ang="0">
                      <a:pos x="1206" y="208"/>
                    </a:cxn>
                    <a:cxn ang="0">
                      <a:pos x="1206" y="16"/>
                    </a:cxn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2" y="0"/>
                    </a:cxn>
                    <a:cxn ang="0">
                      <a:pos x="1222" y="8"/>
                    </a:cxn>
                    <a:cxn ang="0">
                      <a:pos x="1222" y="216"/>
                    </a:cxn>
                    <a:cxn ang="0">
                      <a:pos x="1222" y="224"/>
                    </a:cxn>
                    <a:cxn ang="0">
                      <a:pos x="1214" y="224"/>
                    </a:cxn>
                    <a:cxn ang="0">
                      <a:pos x="8" y="224"/>
                    </a:cxn>
                    <a:cxn ang="0">
                      <a:pos x="0" y="224"/>
                    </a:cxn>
                    <a:cxn ang="0">
                      <a:pos x="0" y="216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2" h="224">
                      <a:moveTo>
                        <a:pt x="1206" y="16"/>
                      </a:moveTo>
                      <a:lnTo>
                        <a:pt x="16" y="16"/>
                      </a:lnTo>
                      <a:lnTo>
                        <a:pt x="16" y="208"/>
                      </a:lnTo>
                      <a:lnTo>
                        <a:pt x="1206" y="208"/>
                      </a:lnTo>
                      <a:lnTo>
                        <a:pt x="1206" y="16"/>
                      </a:lnTo>
                      <a:close/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2" y="0"/>
                      </a:lnTo>
                      <a:lnTo>
                        <a:pt x="1222" y="8"/>
                      </a:lnTo>
                      <a:lnTo>
                        <a:pt x="1222" y="216"/>
                      </a:lnTo>
                      <a:lnTo>
                        <a:pt x="1222" y="224"/>
                      </a:lnTo>
                      <a:lnTo>
                        <a:pt x="1214" y="224"/>
                      </a:lnTo>
                      <a:lnTo>
                        <a:pt x="8" y="224"/>
                      </a:lnTo>
                      <a:lnTo>
                        <a:pt x="0" y="224"/>
                      </a:lnTo>
                      <a:lnTo>
                        <a:pt x="0" y="2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1" name="Freeform 897"/>
                <p:cNvSpPr>
                  <a:spLocks/>
                </p:cNvSpPr>
                <p:nvPr/>
              </p:nvSpPr>
              <p:spPr bwMode="auto">
                <a:xfrm>
                  <a:off x="1050" y="2071"/>
                  <a:ext cx="297" cy="27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2" y="0"/>
                    </a:cxn>
                    <a:cxn ang="0">
                      <a:pos x="1222" y="8"/>
                    </a:cxn>
                    <a:cxn ang="0">
                      <a:pos x="1222" y="112"/>
                    </a:cxn>
                    <a:cxn ang="0">
                      <a:pos x="1206" y="112"/>
                    </a:cxn>
                    <a:cxn ang="0">
                      <a:pos x="1206" y="16"/>
                    </a:cxn>
                    <a:cxn ang="0">
                      <a:pos x="16" y="16"/>
                    </a:cxn>
                    <a:cxn ang="0">
                      <a:pos x="16" y="112"/>
                    </a:cxn>
                    <a:cxn ang="0">
                      <a:pos x="0" y="112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2" h="112"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2" y="0"/>
                      </a:lnTo>
                      <a:lnTo>
                        <a:pt x="1222" y="8"/>
                      </a:lnTo>
                      <a:lnTo>
                        <a:pt x="1222" y="112"/>
                      </a:lnTo>
                      <a:lnTo>
                        <a:pt x="1206" y="112"/>
                      </a:lnTo>
                      <a:lnTo>
                        <a:pt x="1206" y="16"/>
                      </a:lnTo>
                      <a:lnTo>
                        <a:pt x="16" y="16"/>
                      </a:lnTo>
                      <a:lnTo>
                        <a:pt x="16" y="112"/>
                      </a:lnTo>
                      <a:lnTo>
                        <a:pt x="0" y="112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2" name="Freeform 898"/>
                <p:cNvSpPr>
                  <a:spLocks noEditPoints="1"/>
                </p:cNvSpPr>
                <p:nvPr/>
              </p:nvSpPr>
              <p:spPr bwMode="auto">
                <a:xfrm>
                  <a:off x="1052" y="2073"/>
                  <a:ext cx="250" cy="50"/>
                </a:xfrm>
                <a:custGeom>
                  <a:avLst/>
                  <a:gdLst/>
                  <a:ahLst/>
                  <a:cxnLst>
                    <a:cxn ang="0">
                      <a:pos x="776" y="180"/>
                    </a:cxn>
                    <a:cxn ang="0">
                      <a:pos x="765" y="192"/>
                    </a:cxn>
                    <a:cxn ang="0">
                      <a:pos x="776" y="137"/>
                    </a:cxn>
                    <a:cxn ang="0">
                      <a:pos x="743" y="192"/>
                    </a:cxn>
                    <a:cxn ang="0">
                      <a:pos x="678" y="192"/>
                    </a:cxn>
                    <a:cxn ang="0">
                      <a:pos x="776" y="115"/>
                    </a:cxn>
                    <a:cxn ang="0">
                      <a:pos x="678" y="192"/>
                    </a:cxn>
                    <a:cxn ang="0">
                      <a:pos x="776" y="50"/>
                    </a:cxn>
                    <a:cxn ang="0">
                      <a:pos x="656" y="192"/>
                    </a:cxn>
                    <a:cxn ang="0">
                      <a:pos x="591" y="192"/>
                    </a:cxn>
                    <a:cxn ang="0">
                      <a:pos x="776" y="17"/>
                    </a:cxn>
                    <a:cxn ang="0">
                      <a:pos x="613" y="192"/>
                    </a:cxn>
                    <a:cxn ang="0">
                      <a:pos x="547" y="192"/>
                    </a:cxn>
                    <a:cxn ang="0">
                      <a:pos x="745" y="17"/>
                    </a:cxn>
                    <a:cxn ang="0">
                      <a:pos x="547" y="192"/>
                    </a:cxn>
                    <a:cxn ang="0">
                      <a:pos x="679" y="17"/>
                    </a:cxn>
                    <a:cxn ang="0">
                      <a:pos x="526" y="192"/>
                    </a:cxn>
                    <a:cxn ang="0">
                      <a:pos x="461" y="192"/>
                    </a:cxn>
                    <a:cxn ang="0">
                      <a:pos x="658" y="17"/>
                    </a:cxn>
                    <a:cxn ang="0">
                      <a:pos x="461" y="192"/>
                    </a:cxn>
                    <a:cxn ang="0">
                      <a:pos x="593" y="17"/>
                    </a:cxn>
                    <a:cxn ang="0">
                      <a:pos x="439" y="192"/>
                    </a:cxn>
                    <a:cxn ang="0">
                      <a:pos x="374" y="192"/>
                    </a:cxn>
                    <a:cxn ang="0">
                      <a:pos x="571" y="17"/>
                    </a:cxn>
                    <a:cxn ang="0">
                      <a:pos x="374" y="192"/>
                    </a:cxn>
                    <a:cxn ang="0">
                      <a:pos x="506" y="17"/>
                    </a:cxn>
                    <a:cxn ang="0">
                      <a:pos x="352" y="192"/>
                    </a:cxn>
                    <a:cxn ang="0">
                      <a:pos x="287" y="192"/>
                    </a:cxn>
                    <a:cxn ang="0">
                      <a:pos x="484" y="17"/>
                    </a:cxn>
                    <a:cxn ang="0">
                      <a:pos x="287" y="192"/>
                    </a:cxn>
                    <a:cxn ang="0">
                      <a:pos x="419" y="17"/>
                    </a:cxn>
                    <a:cxn ang="0">
                      <a:pos x="265" y="192"/>
                    </a:cxn>
                    <a:cxn ang="0">
                      <a:pos x="200" y="192"/>
                    </a:cxn>
                    <a:cxn ang="0">
                      <a:pos x="397" y="17"/>
                    </a:cxn>
                    <a:cxn ang="0">
                      <a:pos x="200" y="192"/>
                    </a:cxn>
                    <a:cxn ang="0">
                      <a:pos x="332" y="17"/>
                    </a:cxn>
                    <a:cxn ang="0">
                      <a:pos x="178" y="192"/>
                    </a:cxn>
                    <a:cxn ang="0">
                      <a:pos x="113" y="192"/>
                    </a:cxn>
                    <a:cxn ang="0">
                      <a:pos x="310" y="17"/>
                    </a:cxn>
                    <a:cxn ang="0">
                      <a:pos x="113" y="192"/>
                    </a:cxn>
                    <a:cxn ang="0">
                      <a:pos x="245" y="17"/>
                    </a:cxn>
                    <a:cxn ang="0">
                      <a:pos x="91" y="192"/>
                    </a:cxn>
                    <a:cxn ang="0">
                      <a:pos x="26" y="192"/>
                    </a:cxn>
                    <a:cxn ang="0">
                      <a:pos x="223" y="17"/>
                    </a:cxn>
                    <a:cxn ang="0">
                      <a:pos x="26" y="192"/>
                    </a:cxn>
                    <a:cxn ang="0">
                      <a:pos x="158" y="17"/>
                    </a:cxn>
                    <a:cxn ang="0">
                      <a:pos x="17" y="180"/>
                    </a:cxn>
                    <a:cxn ang="0">
                      <a:pos x="17" y="115"/>
                    </a:cxn>
                    <a:cxn ang="0">
                      <a:pos x="136" y="17"/>
                    </a:cxn>
                    <a:cxn ang="0">
                      <a:pos x="17" y="115"/>
                    </a:cxn>
                    <a:cxn ang="0">
                      <a:pos x="71" y="17"/>
                    </a:cxn>
                    <a:cxn ang="0">
                      <a:pos x="17" y="93"/>
                    </a:cxn>
                    <a:cxn ang="0">
                      <a:pos x="17" y="28"/>
                    </a:cxn>
                    <a:cxn ang="0">
                      <a:pos x="50" y="17"/>
                    </a:cxn>
                    <a:cxn ang="0">
                      <a:pos x="17" y="28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208"/>
                    </a:cxn>
                    <a:cxn ang="0">
                      <a:pos x="784" y="208"/>
                    </a:cxn>
                    <a:cxn ang="0">
                      <a:pos x="8" y="208"/>
                    </a:cxn>
                    <a:cxn ang="0">
                      <a:pos x="0" y="20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27" h="208">
                      <a:moveTo>
                        <a:pt x="765" y="192"/>
                      </a:moveTo>
                      <a:lnTo>
                        <a:pt x="776" y="180"/>
                      </a:lnTo>
                      <a:lnTo>
                        <a:pt x="776" y="192"/>
                      </a:lnTo>
                      <a:lnTo>
                        <a:pt x="765" y="192"/>
                      </a:lnTo>
                      <a:close/>
                      <a:moveTo>
                        <a:pt x="721" y="192"/>
                      </a:moveTo>
                      <a:lnTo>
                        <a:pt x="776" y="137"/>
                      </a:lnTo>
                      <a:lnTo>
                        <a:pt x="776" y="159"/>
                      </a:lnTo>
                      <a:lnTo>
                        <a:pt x="743" y="192"/>
                      </a:lnTo>
                      <a:lnTo>
                        <a:pt x="721" y="192"/>
                      </a:lnTo>
                      <a:close/>
                      <a:moveTo>
                        <a:pt x="678" y="192"/>
                      </a:moveTo>
                      <a:lnTo>
                        <a:pt x="776" y="93"/>
                      </a:lnTo>
                      <a:lnTo>
                        <a:pt x="776" y="115"/>
                      </a:lnTo>
                      <a:lnTo>
                        <a:pt x="700" y="192"/>
                      </a:lnTo>
                      <a:lnTo>
                        <a:pt x="678" y="192"/>
                      </a:lnTo>
                      <a:close/>
                      <a:moveTo>
                        <a:pt x="634" y="192"/>
                      </a:moveTo>
                      <a:lnTo>
                        <a:pt x="776" y="50"/>
                      </a:lnTo>
                      <a:lnTo>
                        <a:pt x="776" y="72"/>
                      </a:lnTo>
                      <a:lnTo>
                        <a:pt x="656" y="192"/>
                      </a:lnTo>
                      <a:lnTo>
                        <a:pt x="634" y="192"/>
                      </a:lnTo>
                      <a:close/>
                      <a:moveTo>
                        <a:pt x="591" y="192"/>
                      </a:moveTo>
                      <a:lnTo>
                        <a:pt x="766" y="17"/>
                      </a:lnTo>
                      <a:lnTo>
                        <a:pt x="776" y="17"/>
                      </a:lnTo>
                      <a:lnTo>
                        <a:pt x="776" y="28"/>
                      </a:lnTo>
                      <a:lnTo>
                        <a:pt x="613" y="192"/>
                      </a:lnTo>
                      <a:lnTo>
                        <a:pt x="591" y="192"/>
                      </a:lnTo>
                      <a:close/>
                      <a:moveTo>
                        <a:pt x="547" y="192"/>
                      </a:moveTo>
                      <a:lnTo>
                        <a:pt x="723" y="17"/>
                      </a:lnTo>
                      <a:lnTo>
                        <a:pt x="745" y="17"/>
                      </a:lnTo>
                      <a:lnTo>
                        <a:pt x="569" y="192"/>
                      </a:lnTo>
                      <a:lnTo>
                        <a:pt x="547" y="192"/>
                      </a:lnTo>
                      <a:close/>
                      <a:moveTo>
                        <a:pt x="504" y="192"/>
                      </a:moveTo>
                      <a:lnTo>
                        <a:pt x="679" y="17"/>
                      </a:lnTo>
                      <a:lnTo>
                        <a:pt x="701" y="17"/>
                      </a:lnTo>
                      <a:lnTo>
                        <a:pt x="526" y="192"/>
                      </a:lnTo>
                      <a:lnTo>
                        <a:pt x="504" y="192"/>
                      </a:lnTo>
                      <a:close/>
                      <a:moveTo>
                        <a:pt x="461" y="192"/>
                      </a:moveTo>
                      <a:lnTo>
                        <a:pt x="636" y="17"/>
                      </a:lnTo>
                      <a:lnTo>
                        <a:pt x="658" y="17"/>
                      </a:lnTo>
                      <a:lnTo>
                        <a:pt x="482" y="192"/>
                      </a:lnTo>
                      <a:lnTo>
                        <a:pt x="461" y="192"/>
                      </a:lnTo>
                      <a:close/>
                      <a:moveTo>
                        <a:pt x="417" y="192"/>
                      </a:moveTo>
                      <a:lnTo>
                        <a:pt x="593" y="17"/>
                      </a:lnTo>
                      <a:lnTo>
                        <a:pt x="614" y="17"/>
                      </a:lnTo>
                      <a:lnTo>
                        <a:pt x="439" y="192"/>
                      </a:lnTo>
                      <a:lnTo>
                        <a:pt x="417" y="192"/>
                      </a:lnTo>
                      <a:close/>
                      <a:moveTo>
                        <a:pt x="374" y="192"/>
                      </a:moveTo>
                      <a:lnTo>
                        <a:pt x="549" y="17"/>
                      </a:lnTo>
                      <a:lnTo>
                        <a:pt x="571" y="17"/>
                      </a:lnTo>
                      <a:lnTo>
                        <a:pt x="395" y="192"/>
                      </a:lnTo>
                      <a:lnTo>
                        <a:pt x="374" y="192"/>
                      </a:lnTo>
                      <a:close/>
                      <a:moveTo>
                        <a:pt x="330" y="192"/>
                      </a:moveTo>
                      <a:lnTo>
                        <a:pt x="506" y="17"/>
                      </a:lnTo>
                      <a:lnTo>
                        <a:pt x="527" y="17"/>
                      </a:lnTo>
                      <a:lnTo>
                        <a:pt x="352" y="192"/>
                      </a:lnTo>
                      <a:lnTo>
                        <a:pt x="330" y="192"/>
                      </a:lnTo>
                      <a:close/>
                      <a:moveTo>
                        <a:pt x="287" y="192"/>
                      </a:moveTo>
                      <a:lnTo>
                        <a:pt x="462" y="17"/>
                      </a:lnTo>
                      <a:lnTo>
                        <a:pt x="484" y="17"/>
                      </a:lnTo>
                      <a:lnTo>
                        <a:pt x="309" y="192"/>
                      </a:lnTo>
                      <a:lnTo>
                        <a:pt x="287" y="192"/>
                      </a:lnTo>
                      <a:close/>
                      <a:moveTo>
                        <a:pt x="243" y="192"/>
                      </a:moveTo>
                      <a:lnTo>
                        <a:pt x="419" y="17"/>
                      </a:lnTo>
                      <a:lnTo>
                        <a:pt x="440" y="17"/>
                      </a:lnTo>
                      <a:lnTo>
                        <a:pt x="265" y="192"/>
                      </a:lnTo>
                      <a:lnTo>
                        <a:pt x="243" y="192"/>
                      </a:lnTo>
                      <a:close/>
                      <a:moveTo>
                        <a:pt x="200" y="192"/>
                      </a:moveTo>
                      <a:lnTo>
                        <a:pt x="375" y="17"/>
                      </a:lnTo>
                      <a:lnTo>
                        <a:pt x="397" y="17"/>
                      </a:lnTo>
                      <a:lnTo>
                        <a:pt x="222" y="192"/>
                      </a:lnTo>
                      <a:lnTo>
                        <a:pt x="200" y="192"/>
                      </a:lnTo>
                      <a:close/>
                      <a:moveTo>
                        <a:pt x="157" y="192"/>
                      </a:moveTo>
                      <a:lnTo>
                        <a:pt x="332" y="17"/>
                      </a:lnTo>
                      <a:lnTo>
                        <a:pt x="354" y="17"/>
                      </a:lnTo>
                      <a:lnTo>
                        <a:pt x="178" y="192"/>
                      </a:lnTo>
                      <a:lnTo>
                        <a:pt x="157" y="192"/>
                      </a:lnTo>
                      <a:close/>
                      <a:moveTo>
                        <a:pt x="113" y="192"/>
                      </a:moveTo>
                      <a:lnTo>
                        <a:pt x="288" y="17"/>
                      </a:lnTo>
                      <a:lnTo>
                        <a:pt x="310" y="17"/>
                      </a:lnTo>
                      <a:lnTo>
                        <a:pt x="135" y="192"/>
                      </a:lnTo>
                      <a:lnTo>
                        <a:pt x="113" y="192"/>
                      </a:lnTo>
                      <a:close/>
                      <a:moveTo>
                        <a:pt x="70" y="192"/>
                      </a:moveTo>
                      <a:lnTo>
                        <a:pt x="245" y="17"/>
                      </a:lnTo>
                      <a:lnTo>
                        <a:pt x="267" y="17"/>
                      </a:lnTo>
                      <a:lnTo>
                        <a:pt x="91" y="192"/>
                      </a:lnTo>
                      <a:lnTo>
                        <a:pt x="70" y="192"/>
                      </a:lnTo>
                      <a:close/>
                      <a:moveTo>
                        <a:pt x="26" y="192"/>
                      </a:moveTo>
                      <a:lnTo>
                        <a:pt x="202" y="17"/>
                      </a:lnTo>
                      <a:lnTo>
                        <a:pt x="223" y="17"/>
                      </a:lnTo>
                      <a:lnTo>
                        <a:pt x="48" y="192"/>
                      </a:lnTo>
                      <a:lnTo>
                        <a:pt x="26" y="192"/>
                      </a:lnTo>
                      <a:close/>
                      <a:moveTo>
                        <a:pt x="17" y="158"/>
                      </a:moveTo>
                      <a:lnTo>
                        <a:pt x="158" y="17"/>
                      </a:lnTo>
                      <a:lnTo>
                        <a:pt x="180" y="17"/>
                      </a:lnTo>
                      <a:lnTo>
                        <a:pt x="17" y="180"/>
                      </a:lnTo>
                      <a:lnTo>
                        <a:pt x="17" y="158"/>
                      </a:lnTo>
                      <a:close/>
                      <a:moveTo>
                        <a:pt x="17" y="115"/>
                      </a:moveTo>
                      <a:lnTo>
                        <a:pt x="115" y="17"/>
                      </a:lnTo>
                      <a:lnTo>
                        <a:pt x="136" y="17"/>
                      </a:lnTo>
                      <a:lnTo>
                        <a:pt x="17" y="137"/>
                      </a:lnTo>
                      <a:lnTo>
                        <a:pt x="17" y="115"/>
                      </a:lnTo>
                      <a:close/>
                      <a:moveTo>
                        <a:pt x="17" y="71"/>
                      </a:moveTo>
                      <a:lnTo>
                        <a:pt x="71" y="17"/>
                      </a:lnTo>
                      <a:lnTo>
                        <a:pt x="93" y="17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8"/>
                      </a:moveTo>
                      <a:lnTo>
                        <a:pt x="28" y="17"/>
                      </a:lnTo>
                      <a:lnTo>
                        <a:pt x="50" y="17"/>
                      </a:lnTo>
                      <a:lnTo>
                        <a:pt x="17" y="50"/>
                      </a:lnTo>
                      <a:lnTo>
                        <a:pt x="17" y="28"/>
                      </a:lnTo>
                      <a:close/>
                      <a:moveTo>
                        <a:pt x="8" y="0"/>
                      </a:move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208"/>
                      </a:lnTo>
                      <a:lnTo>
                        <a:pt x="793" y="208"/>
                      </a:lnTo>
                      <a:lnTo>
                        <a:pt x="784" y="208"/>
                      </a:lnTo>
                      <a:lnTo>
                        <a:pt x="776" y="208"/>
                      </a:lnTo>
                      <a:lnTo>
                        <a:pt x="8" y="208"/>
                      </a:lnTo>
                      <a:lnTo>
                        <a:pt x="0" y="208"/>
                      </a:lnTo>
                      <a:lnTo>
                        <a:pt x="0" y="200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3" name="Freeform 899"/>
                <p:cNvSpPr>
                  <a:spLocks noEditPoints="1"/>
                </p:cNvSpPr>
                <p:nvPr/>
              </p:nvSpPr>
              <p:spPr bwMode="auto">
                <a:xfrm>
                  <a:off x="1052" y="2073"/>
                  <a:ext cx="250" cy="25"/>
                </a:xfrm>
                <a:custGeom>
                  <a:avLst/>
                  <a:gdLst/>
                  <a:ahLst/>
                  <a:cxnLst>
                    <a:cxn ang="0">
                      <a:pos x="71" y="17"/>
                    </a:cxn>
                    <a:cxn ang="0">
                      <a:pos x="17" y="93"/>
                    </a:cxn>
                    <a:cxn ang="0">
                      <a:pos x="17" y="28"/>
                    </a:cxn>
                    <a:cxn ang="0">
                      <a:pos x="50" y="17"/>
                    </a:cxn>
                    <a:cxn ang="0">
                      <a:pos x="17" y="28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104"/>
                    </a:cxn>
                    <a:cxn ang="0">
                      <a:pos x="776" y="93"/>
                    </a:cxn>
                    <a:cxn ang="0">
                      <a:pos x="744" y="104"/>
                    </a:cxn>
                    <a:cxn ang="0">
                      <a:pos x="776" y="50"/>
                    </a:cxn>
                    <a:cxn ang="0">
                      <a:pos x="700" y="104"/>
                    </a:cxn>
                    <a:cxn ang="0">
                      <a:pos x="776" y="17"/>
                    </a:cxn>
                    <a:cxn ang="0">
                      <a:pos x="679" y="104"/>
                    </a:cxn>
                    <a:cxn ang="0">
                      <a:pos x="745" y="17"/>
                    </a:cxn>
                    <a:cxn ang="0">
                      <a:pos x="635" y="104"/>
                    </a:cxn>
                    <a:cxn ang="0">
                      <a:pos x="701" y="17"/>
                    </a:cxn>
                    <a:cxn ang="0">
                      <a:pos x="592" y="104"/>
                    </a:cxn>
                    <a:cxn ang="0">
                      <a:pos x="658" y="17"/>
                    </a:cxn>
                    <a:cxn ang="0">
                      <a:pos x="548" y="104"/>
                    </a:cxn>
                    <a:cxn ang="0">
                      <a:pos x="614" y="17"/>
                    </a:cxn>
                    <a:cxn ang="0">
                      <a:pos x="505" y="104"/>
                    </a:cxn>
                    <a:cxn ang="0">
                      <a:pos x="571" y="17"/>
                    </a:cxn>
                    <a:cxn ang="0">
                      <a:pos x="461" y="104"/>
                    </a:cxn>
                    <a:cxn ang="0">
                      <a:pos x="527" y="17"/>
                    </a:cxn>
                    <a:cxn ang="0">
                      <a:pos x="418" y="104"/>
                    </a:cxn>
                    <a:cxn ang="0">
                      <a:pos x="484" y="17"/>
                    </a:cxn>
                    <a:cxn ang="0">
                      <a:pos x="375" y="104"/>
                    </a:cxn>
                    <a:cxn ang="0">
                      <a:pos x="440" y="17"/>
                    </a:cxn>
                    <a:cxn ang="0">
                      <a:pos x="331" y="104"/>
                    </a:cxn>
                    <a:cxn ang="0">
                      <a:pos x="397" y="17"/>
                    </a:cxn>
                    <a:cxn ang="0">
                      <a:pos x="288" y="104"/>
                    </a:cxn>
                    <a:cxn ang="0">
                      <a:pos x="354" y="17"/>
                    </a:cxn>
                    <a:cxn ang="0">
                      <a:pos x="244" y="104"/>
                    </a:cxn>
                    <a:cxn ang="0">
                      <a:pos x="310" y="17"/>
                    </a:cxn>
                    <a:cxn ang="0">
                      <a:pos x="201" y="104"/>
                    </a:cxn>
                    <a:cxn ang="0">
                      <a:pos x="267" y="17"/>
                    </a:cxn>
                    <a:cxn ang="0">
                      <a:pos x="157" y="104"/>
                    </a:cxn>
                    <a:cxn ang="0">
                      <a:pos x="223" y="17"/>
                    </a:cxn>
                    <a:cxn ang="0">
                      <a:pos x="114" y="104"/>
                    </a:cxn>
                    <a:cxn ang="0">
                      <a:pos x="180" y="17"/>
                    </a:cxn>
                    <a:cxn ang="0">
                      <a:pos x="71" y="104"/>
                    </a:cxn>
                    <a:cxn ang="0">
                      <a:pos x="136" y="17"/>
                    </a:cxn>
                    <a:cxn ang="0">
                      <a:pos x="27" y="104"/>
                    </a:cxn>
                    <a:cxn ang="0">
                      <a:pos x="0" y="8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027" h="104">
                      <a:moveTo>
                        <a:pt x="17" y="71"/>
                      </a:moveTo>
                      <a:lnTo>
                        <a:pt x="71" y="17"/>
                      </a:lnTo>
                      <a:lnTo>
                        <a:pt x="93" y="17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8"/>
                      </a:moveTo>
                      <a:lnTo>
                        <a:pt x="28" y="17"/>
                      </a:lnTo>
                      <a:lnTo>
                        <a:pt x="50" y="17"/>
                      </a:lnTo>
                      <a:lnTo>
                        <a:pt x="17" y="50"/>
                      </a:lnTo>
                      <a:lnTo>
                        <a:pt x="17" y="28"/>
                      </a:lnTo>
                      <a:close/>
                      <a:moveTo>
                        <a:pt x="8" y="0"/>
                      </a:move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104"/>
                      </a:lnTo>
                      <a:lnTo>
                        <a:pt x="776" y="104"/>
                      </a:lnTo>
                      <a:lnTo>
                        <a:pt x="776" y="93"/>
                      </a:lnTo>
                      <a:lnTo>
                        <a:pt x="765" y="104"/>
                      </a:lnTo>
                      <a:lnTo>
                        <a:pt x="744" y="104"/>
                      </a:lnTo>
                      <a:lnTo>
                        <a:pt x="776" y="72"/>
                      </a:lnTo>
                      <a:lnTo>
                        <a:pt x="776" y="50"/>
                      </a:lnTo>
                      <a:lnTo>
                        <a:pt x="722" y="104"/>
                      </a:lnTo>
                      <a:lnTo>
                        <a:pt x="700" y="104"/>
                      </a:lnTo>
                      <a:lnTo>
                        <a:pt x="776" y="28"/>
                      </a:lnTo>
                      <a:lnTo>
                        <a:pt x="776" y="17"/>
                      </a:lnTo>
                      <a:lnTo>
                        <a:pt x="766" y="17"/>
                      </a:lnTo>
                      <a:lnTo>
                        <a:pt x="679" y="104"/>
                      </a:lnTo>
                      <a:lnTo>
                        <a:pt x="657" y="104"/>
                      </a:lnTo>
                      <a:lnTo>
                        <a:pt x="745" y="17"/>
                      </a:lnTo>
                      <a:lnTo>
                        <a:pt x="723" y="17"/>
                      </a:lnTo>
                      <a:lnTo>
                        <a:pt x="635" y="104"/>
                      </a:lnTo>
                      <a:lnTo>
                        <a:pt x="613" y="104"/>
                      </a:lnTo>
                      <a:lnTo>
                        <a:pt x="701" y="17"/>
                      </a:lnTo>
                      <a:lnTo>
                        <a:pt x="679" y="17"/>
                      </a:lnTo>
                      <a:lnTo>
                        <a:pt x="592" y="104"/>
                      </a:lnTo>
                      <a:lnTo>
                        <a:pt x="570" y="104"/>
                      </a:lnTo>
                      <a:lnTo>
                        <a:pt x="658" y="17"/>
                      </a:lnTo>
                      <a:lnTo>
                        <a:pt x="636" y="17"/>
                      </a:lnTo>
                      <a:lnTo>
                        <a:pt x="548" y="104"/>
                      </a:lnTo>
                      <a:lnTo>
                        <a:pt x="527" y="104"/>
                      </a:lnTo>
                      <a:lnTo>
                        <a:pt x="614" y="17"/>
                      </a:lnTo>
                      <a:lnTo>
                        <a:pt x="593" y="17"/>
                      </a:lnTo>
                      <a:lnTo>
                        <a:pt x="505" y="104"/>
                      </a:lnTo>
                      <a:lnTo>
                        <a:pt x="483" y="104"/>
                      </a:lnTo>
                      <a:lnTo>
                        <a:pt x="571" y="17"/>
                      </a:lnTo>
                      <a:lnTo>
                        <a:pt x="549" y="17"/>
                      </a:lnTo>
                      <a:lnTo>
                        <a:pt x="461" y="104"/>
                      </a:lnTo>
                      <a:lnTo>
                        <a:pt x="440" y="104"/>
                      </a:lnTo>
                      <a:lnTo>
                        <a:pt x="527" y="17"/>
                      </a:lnTo>
                      <a:lnTo>
                        <a:pt x="506" y="17"/>
                      </a:lnTo>
                      <a:lnTo>
                        <a:pt x="418" y="104"/>
                      </a:lnTo>
                      <a:lnTo>
                        <a:pt x="396" y="104"/>
                      </a:lnTo>
                      <a:lnTo>
                        <a:pt x="484" y="17"/>
                      </a:lnTo>
                      <a:lnTo>
                        <a:pt x="462" y="17"/>
                      </a:lnTo>
                      <a:lnTo>
                        <a:pt x="375" y="104"/>
                      </a:lnTo>
                      <a:lnTo>
                        <a:pt x="353" y="104"/>
                      </a:lnTo>
                      <a:lnTo>
                        <a:pt x="440" y="17"/>
                      </a:lnTo>
                      <a:lnTo>
                        <a:pt x="419" y="17"/>
                      </a:lnTo>
                      <a:lnTo>
                        <a:pt x="331" y="104"/>
                      </a:lnTo>
                      <a:lnTo>
                        <a:pt x="309" y="104"/>
                      </a:lnTo>
                      <a:lnTo>
                        <a:pt x="397" y="17"/>
                      </a:lnTo>
                      <a:lnTo>
                        <a:pt x="375" y="17"/>
                      </a:lnTo>
                      <a:lnTo>
                        <a:pt x="288" y="104"/>
                      </a:lnTo>
                      <a:lnTo>
                        <a:pt x="266" y="104"/>
                      </a:lnTo>
                      <a:lnTo>
                        <a:pt x="354" y="17"/>
                      </a:lnTo>
                      <a:lnTo>
                        <a:pt x="332" y="17"/>
                      </a:lnTo>
                      <a:lnTo>
                        <a:pt x="244" y="104"/>
                      </a:lnTo>
                      <a:lnTo>
                        <a:pt x="223" y="104"/>
                      </a:lnTo>
                      <a:lnTo>
                        <a:pt x="310" y="17"/>
                      </a:lnTo>
                      <a:lnTo>
                        <a:pt x="288" y="17"/>
                      </a:lnTo>
                      <a:lnTo>
                        <a:pt x="201" y="104"/>
                      </a:lnTo>
                      <a:lnTo>
                        <a:pt x="179" y="104"/>
                      </a:lnTo>
                      <a:lnTo>
                        <a:pt x="267" y="17"/>
                      </a:lnTo>
                      <a:lnTo>
                        <a:pt x="245" y="17"/>
                      </a:lnTo>
                      <a:lnTo>
                        <a:pt x="157" y="104"/>
                      </a:lnTo>
                      <a:lnTo>
                        <a:pt x="136" y="104"/>
                      </a:lnTo>
                      <a:lnTo>
                        <a:pt x="223" y="17"/>
                      </a:lnTo>
                      <a:lnTo>
                        <a:pt x="202" y="17"/>
                      </a:lnTo>
                      <a:lnTo>
                        <a:pt x="114" y="104"/>
                      </a:lnTo>
                      <a:lnTo>
                        <a:pt x="92" y="104"/>
                      </a:lnTo>
                      <a:lnTo>
                        <a:pt x="180" y="17"/>
                      </a:lnTo>
                      <a:lnTo>
                        <a:pt x="158" y="17"/>
                      </a:lnTo>
                      <a:lnTo>
                        <a:pt x="71" y="104"/>
                      </a:lnTo>
                      <a:lnTo>
                        <a:pt x="49" y="104"/>
                      </a:lnTo>
                      <a:lnTo>
                        <a:pt x="136" y="17"/>
                      </a:lnTo>
                      <a:lnTo>
                        <a:pt x="115" y="17"/>
                      </a:lnTo>
                      <a:lnTo>
                        <a:pt x="27" y="104"/>
                      </a:lnTo>
                      <a:lnTo>
                        <a:pt x="0" y="10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4" name="Rectangle 900"/>
                <p:cNvSpPr>
                  <a:spLocks noChangeArrowheads="1"/>
                </p:cNvSpPr>
                <p:nvPr/>
              </p:nvSpPr>
              <p:spPr bwMode="auto">
                <a:xfrm>
                  <a:off x="1302" y="2073"/>
                  <a:ext cx="43" cy="50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5" name="Rectangle 901"/>
                <p:cNvSpPr>
                  <a:spLocks noChangeArrowheads="1"/>
                </p:cNvSpPr>
                <p:nvPr/>
              </p:nvSpPr>
              <p:spPr bwMode="auto">
                <a:xfrm>
                  <a:off x="1302" y="2073"/>
                  <a:ext cx="43" cy="25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6" name="Freeform 902"/>
                <p:cNvSpPr>
                  <a:spLocks/>
                </p:cNvSpPr>
                <p:nvPr/>
              </p:nvSpPr>
              <p:spPr bwMode="auto">
                <a:xfrm>
                  <a:off x="1309" y="2110"/>
                  <a:ext cx="11" cy="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6"/>
                    </a:cxn>
                    <a:cxn ang="0">
                      <a:pos x="34" y="26"/>
                    </a:cxn>
                    <a:cxn ang="0">
                      <a:pos x="34" y="19"/>
                    </a:cxn>
                    <a:cxn ang="0">
                      <a:pos x="13" y="19"/>
                    </a:cxn>
                    <a:cxn ang="0">
                      <a:pos x="13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6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6"/>
                      </a:lnTo>
                      <a:lnTo>
                        <a:pt x="34" y="26"/>
                      </a:lnTo>
                      <a:lnTo>
                        <a:pt x="34" y="19"/>
                      </a:lnTo>
                      <a:lnTo>
                        <a:pt x="13" y="19"/>
                      </a:lnTo>
                      <a:lnTo>
                        <a:pt x="13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7" name="Freeform 903"/>
                <p:cNvSpPr>
                  <a:spLocks/>
                </p:cNvSpPr>
                <p:nvPr/>
              </p:nvSpPr>
              <p:spPr bwMode="auto">
                <a:xfrm>
                  <a:off x="1327" y="2110"/>
                  <a:ext cx="11" cy="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6"/>
                    </a:cxn>
                    <a:cxn ang="0">
                      <a:pos x="33" y="26"/>
                    </a:cxn>
                    <a:cxn ang="0">
                      <a:pos x="33" y="19"/>
                    </a:cxn>
                    <a:cxn ang="0">
                      <a:pos x="12" y="19"/>
                    </a:cxn>
                    <a:cxn ang="0">
                      <a:pos x="12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6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6"/>
                      </a:lnTo>
                      <a:lnTo>
                        <a:pt x="33" y="26"/>
                      </a:lnTo>
                      <a:lnTo>
                        <a:pt x="33" y="19"/>
                      </a:lnTo>
                      <a:lnTo>
                        <a:pt x="12" y="19"/>
                      </a:lnTo>
                      <a:lnTo>
                        <a:pt x="12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8" name="Rectangle 904"/>
                <p:cNvSpPr>
                  <a:spLocks noChangeArrowheads="1"/>
                </p:cNvSpPr>
                <p:nvPr/>
              </p:nvSpPr>
              <p:spPr bwMode="auto">
                <a:xfrm>
                  <a:off x="1309" y="2097"/>
                  <a:ext cx="29" cy="2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79" name="Rectangle 905"/>
                <p:cNvSpPr>
                  <a:spLocks noChangeArrowheads="1"/>
                </p:cNvSpPr>
                <p:nvPr/>
              </p:nvSpPr>
              <p:spPr bwMode="auto">
                <a:xfrm>
                  <a:off x="1309" y="2097"/>
                  <a:ext cx="29" cy="1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0" name="Rectangle 906"/>
                <p:cNvSpPr>
                  <a:spLocks noChangeArrowheads="1"/>
                </p:cNvSpPr>
                <p:nvPr/>
              </p:nvSpPr>
              <p:spPr bwMode="auto">
                <a:xfrm>
                  <a:off x="1309" y="2079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1" name="Rectangle 907"/>
                <p:cNvSpPr>
                  <a:spLocks noChangeArrowheads="1"/>
                </p:cNvSpPr>
                <p:nvPr/>
              </p:nvSpPr>
              <p:spPr bwMode="auto">
                <a:xfrm>
                  <a:off x="1309" y="2088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2" name="Rectangle 908"/>
                <p:cNvSpPr>
                  <a:spLocks noChangeArrowheads="1"/>
                </p:cNvSpPr>
                <p:nvPr/>
              </p:nvSpPr>
              <p:spPr bwMode="auto">
                <a:xfrm>
                  <a:off x="1309" y="2092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3" name="Rectangle 909"/>
                <p:cNvSpPr>
                  <a:spLocks noChangeArrowheads="1"/>
                </p:cNvSpPr>
                <p:nvPr/>
              </p:nvSpPr>
              <p:spPr bwMode="auto">
                <a:xfrm>
                  <a:off x="1309" y="2083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4" name="Rectangle 910"/>
                <p:cNvSpPr>
                  <a:spLocks noChangeArrowheads="1"/>
                </p:cNvSpPr>
                <p:nvPr/>
              </p:nvSpPr>
              <p:spPr bwMode="auto">
                <a:xfrm>
                  <a:off x="1309" y="2106"/>
                  <a:ext cx="4" cy="3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5" name="Rectangle 911"/>
                <p:cNvSpPr>
                  <a:spLocks noChangeArrowheads="1"/>
                </p:cNvSpPr>
                <p:nvPr/>
              </p:nvSpPr>
              <p:spPr bwMode="auto">
                <a:xfrm>
                  <a:off x="1327" y="2106"/>
                  <a:ext cx="4" cy="3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6" name="Rectangle 912"/>
                <p:cNvSpPr>
                  <a:spLocks noChangeArrowheads="1"/>
                </p:cNvSpPr>
                <p:nvPr/>
              </p:nvSpPr>
              <p:spPr bwMode="auto">
                <a:xfrm>
                  <a:off x="1246" y="2077"/>
                  <a:ext cx="51" cy="43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7" name="Rectangle 913"/>
                <p:cNvSpPr>
                  <a:spLocks noChangeArrowheads="1"/>
                </p:cNvSpPr>
                <p:nvPr/>
              </p:nvSpPr>
              <p:spPr bwMode="auto">
                <a:xfrm>
                  <a:off x="1246" y="2098"/>
                  <a:ext cx="51" cy="22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8" name="Rectangle 914"/>
                <p:cNvSpPr>
                  <a:spLocks noChangeArrowheads="1"/>
                </p:cNvSpPr>
                <p:nvPr/>
              </p:nvSpPr>
              <p:spPr bwMode="auto">
                <a:xfrm>
                  <a:off x="1247" y="2078"/>
                  <a:ext cx="48" cy="40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89" name="Rectangle 915"/>
                <p:cNvSpPr>
                  <a:spLocks noChangeArrowheads="1"/>
                </p:cNvSpPr>
                <p:nvPr/>
              </p:nvSpPr>
              <p:spPr bwMode="auto">
                <a:xfrm>
                  <a:off x="1247" y="2078"/>
                  <a:ext cx="48" cy="20"/>
                </a:xfrm>
                <a:prstGeom prst="rect">
                  <a:avLst/>
                </a:prstGeom>
                <a:solidFill>
                  <a:srgbClr val="4DAD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0" name="Rectangle 916"/>
                <p:cNvSpPr>
                  <a:spLocks noChangeArrowheads="1"/>
                </p:cNvSpPr>
                <p:nvPr/>
              </p:nvSpPr>
              <p:spPr bwMode="auto">
                <a:xfrm>
                  <a:off x="1347" y="2073"/>
                  <a:ext cx="293" cy="50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1" name="Freeform 917"/>
                <p:cNvSpPr>
                  <a:spLocks noEditPoints="1"/>
                </p:cNvSpPr>
                <p:nvPr/>
              </p:nvSpPr>
              <p:spPr bwMode="auto">
                <a:xfrm>
                  <a:off x="1345" y="2071"/>
                  <a:ext cx="297" cy="54"/>
                </a:xfrm>
                <a:custGeom>
                  <a:avLst/>
                  <a:gdLst/>
                  <a:ahLst/>
                  <a:cxnLst>
                    <a:cxn ang="0">
                      <a:pos x="1206" y="16"/>
                    </a:cxn>
                    <a:cxn ang="0">
                      <a:pos x="17" y="16"/>
                    </a:cxn>
                    <a:cxn ang="0">
                      <a:pos x="17" y="208"/>
                    </a:cxn>
                    <a:cxn ang="0">
                      <a:pos x="1206" y="208"/>
                    </a:cxn>
                    <a:cxn ang="0">
                      <a:pos x="1206" y="16"/>
                    </a:cxn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3" y="0"/>
                    </a:cxn>
                    <a:cxn ang="0">
                      <a:pos x="1223" y="8"/>
                    </a:cxn>
                    <a:cxn ang="0">
                      <a:pos x="1223" y="216"/>
                    </a:cxn>
                    <a:cxn ang="0">
                      <a:pos x="1223" y="224"/>
                    </a:cxn>
                    <a:cxn ang="0">
                      <a:pos x="1214" y="224"/>
                    </a:cxn>
                    <a:cxn ang="0">
                      <a:pos x="8" y="224"/>
                    </a:cxn>
                    <a:cxn ang="0">
                      <a:pos x="0" y="224"/>
                    </a:cxn>
                    <a:cxn ang="0">
                      <a:pos x="0" y="216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3" h="224">
                      <a:moveTo>
                        <a:pt x="1206" y="16"/>
                      </a:moveTo>
                      <a:lnTo>
                        <a:pt x="17" y="16"/>
                      </a:lnTo>
                      <a:lnTo>
                        <a:pt x="17" y="208"/>
                      </a:lnTo>
                      <a:lnTo>
                        <a:pt x="1206" y="208"/>
                      </a:lnTo>
                      <a:lnTo>
                        <a:pt x="1206" y="16"/>
                      </a:lnTo>
                      <a:close/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3" y="0"/>
                      </a:lnTo>
                      <a:lnTo>
                        <a:pt x="1223" y="8"/>
                      </a:lnTo>
                      <a:lnTo>
                        <a:pt x="1223" y="216"/>
                      </a:lnTo>
                      <a:lnTo>
                        <a:pt x="1223" y="224"/>
                      </a:lnTo>
                      <a:lnTo>
                        <a:pt x="1214" y="224"/>
                      </a:lnTo>
                      <a:lnTo>
                        <a:pt x="8" y="224"/>
                      </a:lnTo>
                      <a:lnTo>
                        <a:pt x="0" y="224"/>
                      </a:lnTo>
                      <a:lnTo>
                        <a:pt x="0" y="2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2" name="Freeform 918"/>
                <p:cNvSpPr>
                  <a:spLocks/>
                </p:cNvSpPr>
                <p:nvPr/>
              </p:nvSpPr>
              <p:spPr bwMode="auto">
                <a:xfrm>
                  <a:off x="1345" y="2071"/>
                  <a:ext cx="297" cy="27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214" y="0"/>
                    </a:cxn>
                    <a:cxn ang="0">
                      <a:pos x="1223" y="0"/>
                    </a:cxn>
                    <a:cxn ang="0">
                      <a:pos x="1223" y="8"/>
                    </a:cxn>
                    <a:cxn ang="0">
                      <a:pos x="1223" y="112"/>
                    </a:cxn>
                    <a:cxn ang="0">
                      <a:pos x="1206" y="112"/>
                    </a:cxn>
                    <a:cxn ang="0">
                      <a:pos x="1206" y="16"/>
                    </a:cxn>
                    <a:cxn ang="0">
                      <a:pos x="17" y="16"/>
                    </a:cxn>
                    <a:cxn ang="0">
                      <a:pos x="17" y="112"/>
                    </a:cxn>
                    <a:cxn ang="0">
                      <a:pos x="0" y="112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223" h="112">
                      <a:moveTo>
                        <a:pt x="8" y="0"/>
                      </a:moveTo>
                      <a:lnTo>
                        <a:pt x="1214" y="0"/>
                      </a:lnTo>
                      <a:lnTo>
                        <a:pt x="1223" y="0"/>
                      </a:lnTo>
                      <a:lnTo>
                        <a:pt x="1223" y="8"/>
                      </a:lnTo>
                      <a:lnTo>
                        <a:pt x="1223" y="112"/>
                      </a:lnTo>
                      <a:lnTo>
                        <a:pt x="1206" y="112"/>
                      </a:lnTo>
                      <a:lnTo>
                        <a:pt x="1206" y="16"/>
                      </a:lnTo>
                      <a:lnTo>
                        <a:pt x="17" y="16"/>
                      </a:lnTo>
                      <a:lnTo>
                        <a:pt x="17" y="112"/>
                      </a:lnTo>
                      <a:lnTo>
                        <a:pt x="0" y="112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3" name="Freeform 919"/>
                <p:cNvSpPr>
                  <a:spLocks noEditPoints="1"/>
                </p:cNvSpPr>
                <p:nvPr/>
              </p:nvSpPr>
              <p:spPr bwMode="auto">
                <a:xfrm>
                  <a:off x="1347" y="2073"/>
                  <a:ext cx="250" cy="50"/>
                </a:xfrm>
                <a:custGeom>
                  <a:avLst/>
                  <a:gdLst/>
                  <a:ahLst/>
                  <a:cxnLst>
                    <a:cxn ang="0">
                      <a:pos x="776" y="180"/>
                    </a:cxn>
                    <a:cxn ang="0">
                      <a:pos x="765" y="192"/>
                    </a:cxn>
                    <a:cxn ang="0">
                      <a:pos x="776" y="137"/>
                    </a:cxn>
                    <a:cxn ang="0">
                      <a:pos x="743" y="192"/>
                    </a:cxn>
                    <a:cxn ang="0">
                      <a:pos x="678" y="192"/>
                    </a:cxn>
                    <a:cxn ang="0">
                      <a:pos x="776" y="115"/>
                    </a:cxn>
                    <a:cxn ang="0">
                      <a:pos x="678" y="192"/>
                    </a:cxn>
                    <a:cxn ang="0">
                      <a:pos x="776" y="50"/>
                    </a:cxn>
                    <a:cxn ang="0">
                      <a:pos x="656" y="192"/>
                    </a:cxn>
                    <a:cxn ang="0">
                      <a:pos x="591" y="192"/>
                    </a:cxn>
                    <a:cxn ang="0">
                      <a:pos x="776" y="17"/>
                    </a:cxn>
                    <a:cxn ang="0">
                      <a:pos x="613" y="192"/>
                    </a:cxn>
                    <a:cxn ang="0">
                      <a:pos x="548" y="192"/>
                    </a:cxn>
                    <a:cxn ang="0">
                      <a:pos x="745" y="17"/>
                    </a:cxn>
                    <a:cxn ang="0">
                      <a:pos x="548" y="192"/>
                    </a:cxn>
                    <a:cxn ang="0">
                      <a:pos x="680" y="17"/>
                    </a:cxn>
                    <a:cxn ang="0">
                      <a:pos x="526" y="192"/>
                    </a:cxn>
                    <a:cxn ang="0">
                      <a:pos x="461" y="192"/>
                    </a:cxn>
                    <a:cxn ang="0">
                      <a:pos x="658" y="17"/>
                    </a:cxn>
                    <a:cxn ang="0">
                      <a:pos x="461" y="192"/>
                    </a:cxn>
                    <a:cxn ang="0">
                      <a:pos x="593" y="17"/>
                    </a:cxn>
                    <a:cxn ang="0">
                      <a:pos x="439" y="192"/>
                    </a:cxn>
                    <a:cxn ang="0">
                      <a:pos x="374" y="192"/>
                    </a:cxn>
                    <a:cxn ang="0">
                      <a:pos x="571" y="17"/>
                    </a:cxn>
                    <a:cxn ang="0">
                      <a:pos x="374" y="192"/>
                    </a:cxn>
                    <a:cxn ang="0">
                      <a:pos x="506" y="17"/>
                    </a:cxn>
                    <a:cxn ang="0">
                      <a:pos x="352" y="192"/>
                    </a:cxn>
                    <a:cxn ang="0">
                      <a:pos x="287" y="192"/>
                    </a:cxn>
                    <a:cxn ang="0">
                      <a:pos x="484" y="17"/>
                    </a:cxn>
                    <a:cxn ang="0">
                      <a:pos x="287" y="192"/>
                    </a:cxn>
                    <a:cxn ang="0">
                      <a:pos x="419" y="17"/>
                    </a:cxn>
                    <a:cxn ang="0">
                      <a:pos x="265" y="192"/>
                    </a:cxn>
                    <a:cxn ang="0">
                      <a:pos x="200" y="192"/>
                    </a:cxn>
                    <a:cxn ang="0">
                      <a:pos x="397" y="17"/>
                    </a:cxn>
                    <a:cxn ang="0">
                      <a:pos x="200" y="192"/>
                    </a:cxn>
                    <a:cxn ang="0">
                      <a:pos x="332" y="17"/>
                    </a:cxn>
                    <a:cxn ang="0">
                      <a:pos x="178" y="192"/>
                    </a:cxn>
                    <a:cxn ang="0">
                      <a:pos x="113" y="192"/>
                    </a:cxn>
                    <a:cxn ang="0">
                      <a:pos x="310" y="17"/>
                    </a:cxn>
                    <a:cxn ang="0">
                      <a:pos x="113" y="192"/>
                    </a:cxn>
                    <a:cxn ang="0">
                      <a:pos x="245" y="17"/>
                    </a:cxn>
                    <a:cxn ang="0">
                      <a:pos x="92" y="192"/>
                    </a:cxn>
                    <a:cxn ang="0">
                      <a:pos x="26" y="192"/>
                    </a:cxn>
                    <a:cxn ang="0">
                      <a:pos x="224" y="17"/>
                    </a:cxn>
                    <a:cxn ang="0">
                      <a:pos x="26" y="192"/>
                    </a:cxn>
                    <a:cxn ang="0">
                      <a:pos x="158" y="17"/>
                    </a:cxn>
                    <a:cxn ang="0">
                      <a:pos x="17" y="180"/>
                    </a:cxn>
                    <a:cxn ang="0">
                      <a:pos x="17" y="115"/>
                    </a:cxn>
                    <a:cxn ang="0">
                      <a:pos x="137" y="17"/>
                    </a:cxn>
                    <a:cxn ang="0">
                      <a:pos x="17" y="115"/>
                    </a:cxn>
                    <a:cxn ang="0">
                      <a:pos x="71" y="17"/>
                    </a:cxn>
                    <a:cxn ang="0">
                      <a:pos x="17" y="93"/>
                    </a:cxn>
                    <a:cxn ang="0">
                      <a:pos x="17" y="28"/>
                    </a:cxn>
                    <a:cxn ang="0">
                      <a:pos x="50" y="17"/>
                    </a:cxn>
                    <a:cxn ang="0">
                      <a:pos x="17" y="28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208"/>
                    </a:cxn>
                    <a:cxn ang="0">
                      <a:pos x="785" y="208"/>
                    </a:cxn>
                    <a:cxn ang="0">
                      <a:pos x="9" y="208"/>
                    </a:cxn>
                    <a:cxn ang="0">
                      <a:pos x="0" y="20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27" h="208">
                      <a:moveTo>
                        <a:pt x="765" y="192"/>
                      </a:moveTo>
                      <a:lnTo>
                        <a:pt x="776" y="180"/>
                      </a:lnTo>
                      <a:lnTo>
                        <a:pt x="776" y="192"/>
                      </a:lnTo>
                      <a:lnTo>
                        <a:pt x="765" y="192"/>
                      </a:lnTo>
                      <a:close/>
                      <a:moveTo>
                        <a:pt x="721" y="192"/>
                      </a:moveTo>
                      <a:lnTo>
                        <a:pt x="776" y="137"/>
                      </a:lnTo>
                      <a:lnTo>
                        <a:pt x="776" y="159"/>
                      </a:lnTo>
                      <a:lnTo>
                        <a:pt x="743" y="192"/>
                      </a:lnTo>
                      <a:lnTo>
                        <a:pt x="721" y="192"/>
                      </a:lnTo>
                      <a:close/>
                      <a:moveTo>
                        <a:pt x="678" y="192"/>
                      </a:moveTo>
                      <a:lnTo>
                        <a:pt x="776" y="93"/>
                      </a:lnTo>
                      <a:lnTo>
                        <a:pt x="776" y="115"/>
                      </a:lnTo>
                      <a:lnTo>
                        <a:pt x="700" y="192"/>
                      </a:lnTo>
                      <a:lnTo>
                        <a:pt x="678" y="192"/>
                      </a:lnTo>
                      <a:close/>
                      <a:moveTo>
                        <a:pt x="635" y="192"/>
                      </a:moveTo>
                      <a:lnTo>
                        <a:pt x="776" y="50"/>
                      </a:lnTo>
                      <a:lnTo>
                        <a:pt x="776" y="72"/>
                      </a:lnTo>
                      <a:lnTo>
                        <a:pt x="656" y="192"/>
                      </a:lnTo>
                      <a:lnTo>
                        <a:pt x="635" y="192"/>
                      </a:lnTo>
                      <a:close/>
                      <a:moveTo>
                        <a:pt x="591" y="192"/>
                      </a:moveTo>
                      <a:lnTo>
                        <a:pt x="766" y="17"/>
                      </a:lnTo>
                      <a:lnTo>
                        <a:pt x="776" y="17"/>
                      </a:lnTo>
                      <a:lnTo>
                        <a:pt x="776" y="28"/>
                      </a:lnTo>
                      <a:lnTo>
                        <a:pt x="613" y="192"/>
                      </a:lnTo>
                      <a:lnTo>
                        <a:pt x="591" y="192"/>
                      </a:lnTo>
                      <a:close/>
                      <a:moveTo>
                        <a:pt x="548" y="192"/>
                      </a:moveTo>
                      <a:lnTo>
                        <a:pt x="723" y="17"/>
                      </a:lnTo>
                      <a:lnTo>
                        <a:pt x="745" y="17"/>
                      </a:lnTo>
                      <a:lnTo>
                        <a:pt x="569" y="192"/>
                      </a:lnTo>
                      <a:lnTo>
                        <a:pt x="548" y="192"/>
                      </a:lnTo>
                      <a:close/>
                      <a:moveTo>
                        <a:pt x="504" y="192"/>
                      </a:moveTo>
                      <a:lnTo>
                        <a:pt x="680" y="17"/>
                      </a:lnTo>
                      <a:lnTo>
                        <a:pt x="701" y="17"/>
                      </a:lnTo>
                      <a:lnTo>
                        <a:pt x="526" y="192"/>
                      </a:lnTo>
                      <a:lnTo>
                        <a:pt x="504" y="192"/>
                      </a:lnTo>
                      <a:close/>
                      <a:moveTo>
                        <a:pt x="461" y="192"/>
                      </a:moveTo>
                      <a:lnTo>
                        <a:pt x="636" y="17"/>
                      </a:lnTo>
                      <a:lnTo>
                        <a:pt x="658" y="17"/>
                      </a:lnTo>
                      <a:lnTo>
                        <a:pt x="483" y="192"/>
                      </a:lnTo>
                      <a:lnTo>
                        <a:pt x="461" y="192"/>
                      </a:lnTo>
                      <a:close/>
                      <a:moveTo>
                        <a:pt x="417" y="192"/>
                      </a:moveTo>
                      <a:lnTo>
                        <a:pt x="593" y="17"/>
                      </a:lnTo>
                      <a:lnTo>
                        <a:pt x="614" y="17"/>
                      </a:lnTo>
                      <a:lnTo>
                        <a:pt x="439" y="192"/>
                      </a:lnTo>
                      <a:lnTo>
                        <a:pt x="417" y="192"/>
                      </a:lnTo>
                      <a:close/>
                      <a:moveTo>
                        <a:pt x="374" y="192"/>
                      </a:moveTo>
                      <a:lnTo>
                        <a:pt x="549" y="17"/>
                      </a:lnTo>
                      <a:lnTo>
                        <a:pt x="571" y="17"/>
                      </a:lnTo>
                      <a:lnTo>
                        <a:pt x="396" y="192"/>
                      </a:lnTo>
                      <a:lnTo>
                        <a:pt x="374" y="192"/>
                      </a:lnTo>
                      <a:close/>
                      <a:moveTo>
                        <a:pt x="331" y="192"/>
                      </a:moveTo>
                      <a:lnTo>
                        <a:pt x="506" y="17"/>
                      </a:lnTo>
                      <a:lnTo>
                        <a:pt x="528" y="17"/>
                      </a:lnTo>
                      <a:lnTo>
                        <a:pt x="352" y="192"/>
                      </a:lnTo>
                      <a:lnTo>
                        <a:pt x="331" y="192"/>
                      </a:lnTo>
                      <a:close/>
                      <a:moveTo>
                        <a:pt x="287" y="192"/>
                      </a:moveTo>
                      <a:lnTo>
                        <a:pt x="462" y="17"/>
                      </a:lnTo>
                      <a:lnTo>
                        <a:pt x="484" y="17"/>
                      </a:lnTo>
                      <a:lnTo>
                        <a:pt x="309" y="192"/>
                      </a:lnTo>
                      <a:lnTo>
                        <a:pt x="287" y="192"/>
                      </a:lnTo>
                      <a:close/>
                      <a:moveTo>
                        <a:pt x="244" y="192"/>
                      </a:moveTo>
                      <a:lnTo>
                        <a:pt x="419" y="17"/>
                      </a:lnTo>
                      <a:lnTo>
                        <a:pt x="441" y="17"/>
                      </a:lnTo>
                      <a:lnTo>
                        <a:pt x="265" y="192"/>
                      </a:lnTo>
                      <a:lnTo>
                        <a:pt x="244" y="192"/>
                      </a:lnTo>
                      <a:close/>
                      <a:moveTo>
                        <a:pt x="200" y="192"/>
                      </a:moveTo>
                      <a:lnTo>
                        <a:pt x="376" y="17"/>
                      </a:lnTo>
                      <a:lnTo>
                        <a:pt x="397" y="17"/>
                      </a:lnTo>
                      <a:lnTo>
                        <a:pt x="222" y="192"/>
                      </a:lnTo>
                      <a:lnTo>
                        <a:pt x="200" y="192"/>
                      </a:lnTo>
                      <a:close/>
                      <a:moveTo>
                        <a:pt x="157" y="192"/>
                      </a:moveTo>
                      <a:lnTo>
                        <a:pt x="332" y="17"/>
                      </a:lnTo>
                      <a:lnTo>
                        <a:pt x="354" y="17"/>
                      </a:lnTo>
                      <a:lnTo>
                        <a:pt x="178" y="192"/>
                      </a:lnTo>
                      <a:lnTo>
                        <a:pt x="157" y="192"/>
                      </a:lnTo>
                      <a:close/>
                      <a:moveTo>
                        <a:pt x="113" y="192"/>
                      </a:moveTo>
                      <a:lnTo>
                        <a:pt x="289" y="17"/>
                      </a:lnTo>
                      <a:lnTo>
                        <a:pt x="310" y="17"/>
                      </a:lnTo>
                      <a:lnTo>
                        <a:pt x="135" y="192"/>
                      </a:lnTo>
                      <a:lnTo>
                        <a:pt x="113" y="192"/>
                      </a:lnTo>
                      <a:close/>
                      <a:moveTo>
                        <a:pt x="70" y="192"/>
                      </a:moveTo>
                      <a:lnTo>
                        <a:pt x="245" y="17"/>
                      </a:lnTo>
                      <a:lnTo>
                        <a:pt x="267" y="17"/>
                      </a:lnTo>
                      <a:lnTo>
                        <a:pt x="92" y="192"/>
                      </a:lnTo>
                      <a:lnTo>
                        <a:pt x="70" y="192"/>
                      </a:lnTo>
                      <a:close/>
                      <a:moveTo>
                        <a:pt x="26" y="192"/>
                      </a:moveTo>
                      <a:lnTo>
                        <a:pt x="202" y="17"/>
                      </a:lnTo>
                      <a:lnTo>
                        <a:pt x="224" y="17"/>
                      </a:lnTo>
                      <a:lnTo>
                        <a:pt x="48" y="192"/>
                      </a:lnTo>
                      <a:lnTo>
                        <a:pt x="26" y="192"/>
                      </a:lnTo>
                      <a:close/>
                      <a:moveTo>
                        <a:pt x="17" y="158"/>
                      </a:moveTo>
                      <a:lnTo>
                        <a:pt x="158" y="17"/>
                      </a:lnTo>
                      <a:lnTo>
                        <a:pt x="180" y="17"/>
                      </a:lnTo>
                      <a:lnTo>
                        <a:pt x="17" y="180"/>
                      </a:lnTo>
                      <a:lnTo>
                        <a:pt x="17" y="158"/>
                      </a:lnTo>
                      <a:close/>
                      <a:moveTo>
                        <a:pt x="17" y="115"/>
                      </a:moveTo>
                      <a:lnTo>
                        <a:pt x="115" y="17"/>
                      </a:lnTo>
                      <a:lnTo>
                        <a:pt x="137" y="17"/>
                      </a:lnTo>
                      <a:lnTo>
                        <a:pt x="17" y="137"/>
                      </a:lnTo>
                      <a:lnTo>
                        <a:pt x="17" y="115"/>
                      </a:lnTo>
                      <a:close/>
                      <a:moveTo>
                        <a:pt x="17" y="71"/>
                      </a:moveTo>
                      <a:lnTo>
                        <a:pt x="71" y="17"/>
                      </a:lnTo>
                      <a:lnTo>
                        <a:pt x="93" y="17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8"/>
                      </a:moveTo>
                      <a:lnTo>
                        <a:pt x="28" y="17"/>
                      </a:lnTo>
                      <a:lnTo>
                        <a:pt x="50" y="17"/>
                      </a:lnTo>
                      <a:lnTo>
                        <a:pt x="17" y="50"/>
                      </a:lnTo>
                      <a:lnTo>
                        <a:pt x="17" y="28"/>
                      </a:lnTo>
                      <a:close/>
                      <a:moveTo>
                        <a:pt x="9" y="0"/>
                      </a:moveTo>
                      <a:lnTo>
                        <a:pt x="776" y="0"/>
                      </a:lnTo>
                      <a:lnTo>
                        <a:pt x="785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208"/>
                      </a:lnTo>
                      <a:lnTo>
                        <a:pt x="793" y="208"/>
                      </a:lnTo>
                      <a:lnTo>
                        <a:pt x="785" y="208"/>
                      </a:lnTo>
                      <a:lnTo>
                        <a:pt x="776" y="208"/>
                      </a:lnTo>
                      <a:lnTo>
                        <a:pt x="9" y="208"/>
                      </a:lnTo>
                      <a:lnTo>
                        <a:pt x="0" y="208"/>
                      </a:lnTo>
                      <a:lnTo>
                        <a:pt x="0" y="200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7F7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4" name="Freeform 920"/>
                <p:cNvSpPr>
                  <a:spLocks noEditPoints="1"/>
                </p:cNvSpPr>
                <p:nvPr/>
              </p:nvSpPr>
              <p:spPr bwMode="auto">
                <a:xfrm>
                  <a:off x="1347" y="2073"/>
                  <a:ext cx="250" cy="25"/>
                </a:xfrm>
                <a:custGeom>
                  <a:avLst/>
                  <a:gdLst/>
                  <a:ahLst/>
                  <a:cxnLst>
                    <a:cxn ang="0">
                      <a:pos x="71" y="17"/>
                    </a:cxn>
                    <a:cxn ang="0">
                      <a:pos x="17" y="93"/>
                    </a:cxn>
                    <a:cxn ang="0">
                      <a:pos x="17" y="28"/>
                    </a:cxn>
                    <a:cxn ang="0">
                      <a:pos x="50" y="17"/>
                    </a:cxn>
                    <a:cxn ang="0">
                      <a:pos x="17" y="28"/>
                    </a:cxn>
                    <a:cxn ang="0">
                      <a:pos x="776" y="0"/>
                    </a:cxn>
                    <a:cxn ang="0">
                      <a:pos x="793" y="0"/>
                    </a:cxn>
                    <a:cxn ang="0">
                      <a:pos x="1027" y="104"/>
                    </a:cxn>
                    <a:cxn ang="0">
                      <a:pos x="776" y="93"/>
                    </a:cxn>
                    <a:cxn ang="0">
                      <a:pos x="744" y="104"/>
                    </a:cxn>
                    <a:cxn ang="0">
                      <a:pos x="776" y="50"/>
                    </a:cxn>
                    <a:cxn ang="0">
                      <a:pos x="700" y="104"/>
                    </a:cxn>
                    <a:cxn ang="0">
                      <a:pos x="776" y="17"/>
                    </a:cxn>
                    <a:cxn ang="0">
                      <a:pos x="679" y="104"/>
                    </a:cxn>
                    <a:cxn ang="0">
                      <a:pos x="745" y="17"/>
                    </a:cxn>
                    <a:cxn ang="0">
                      <a:pos x="635" y="104"/>
                    </a:cxn>
                    <a:cxn ang="0">
                      <a:pos x="701" y="17"/>
                    </a:cxn>
                    <a:cxn ang="0">
                      <a:pos x="592" y="104"/>
                    </a:cxn>
                    <a:cxn ang="0">
                      <a:pos x="658" y="17"/>
                    </a:cxn>
                    <a:cxn ang="0">
                      <a:pos x="548" y="104"/>
                    </a:cxn>
                    <a:cxn ang="0">
                      <a:pos x="614" y="17"/>
                    </a:cxn>
                    <a:cxn ang="0">
                      <a:pos x="505" y="104"/>
                    </a:cxn>
                    <a:cxn ang="0">
                      <a:pos x="571" y="17"/>
                    </a:cxn>
                    <a:cxn ang="0">
                      <a:pos x="462" y="104"/>
                    </a:cxn>
                    <a:cxn ang="0">
                      <a:pos x="528" y="17"/>
                    </a:cxn>
                    <a:cxn ang="0">
                      <a:pos x="418" y="104"/>
                    </a:cxn>
                    <a:cxn ang="0">
                      <a:pos x="484" y="17"/>
                    </a:cxn>
                    <a:cxn ang="0">
                      <a:pos x="375" y="104"/>
                    </a:cxn>
                    <a:cxn ang="0">
                      <a:pos x="441" y="17"/>
                    </a:cxn>
                    <a:cxn ang="0">
                      <a:pos x="331" y="104"/>
                    </a:cxn>
                    <a:cxn ang="0">
                      <a:pos x="397" y="17"/>
                    </a:cxn>
                    <a:cxn ang="0">
                      <a:pos x="288" y="104"/>
                    </a:cxn>
                    <a:cxn ang="0">
                      <a:pos x="354" y="17"/>
                    </a:cxn>
                    <a:cxn ang="0">
                      <a:pos x="244" y="104"/>
                    </a:cxn>
                    <a:cxn ang="0">
                      <a:pos x="310" y="17"/>
                    </a:cxn>
                    <a:cxn ang="0">
                      <a:pos x="201" y="104"/>
                    </a:cxn>
                    <a:cxn ang="0">
                      <a:pos x="267" y="17"/>
                    </a:cxn>
                    <a:cxn ang="0">
                      <a:pos x="158" y="104"/>
                    </a:cxn>
                    <a:cxn ang="0">
                      <a:pos x="224" y="17"/>
                    </a:cxn>
                    <a:cxn ang="0">
                      <a:pos x="114" y="104"/>
                    </a:cxn>
                    <a:cxn ang="0">
                      <a:pos x="180" y="17"/>
                    </a:cxn>
                    <a:cxn ang="0">
                      <a:pos x="71" y="104"/>
                    </a:cxn>
                    <a:cxn ang="0">
                      <a:pos x="137" y="17"/>
                    </a:cxn>
                    <a:cxn ang="0">
                      <a:pos x="27" y="104"/>
                    </a:cxn>
                    <a:cxn ang="0">
                      <a:pos x="0" y="8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1027" h="104">
                      <a:moveTo>
                        <a:pt x="17" y="71"/>
                      </a:moveTo>
                      <a:lnTo>
                        <a:pt x="71" y="17"/>
                      </a:lnTo>
                      <a:lnTo>
                        <a:pt x="93" y="17"/>
                      </a:lnTo>
                      <a:lnTo>
                        <a:pt x="17" y="93"/>
                      </a:lnTo>
                      <a:lnTo>
                        <a:pt x="17" y="71"/>
                      </a:lnTo>
                      <a:close/>
                      <a:moveTo>
                        <a:pt x="17" y="28"/>
                      </a:moveTo>
                      <a:lnTo>
                        <a:pt x="28" y="17"/>
                      </a:lnTo>
                      <a:lnTo>
                        <a:pt x="50" y="17"/>
                      </a:lnTo>
                      <a:lnTo>
                        <a:pt x="17" y="50"/>
                      </a:lnTo>
                      <a:lnTo>
                        <a:pt x="17" y="28"/>
                      </a:lnTo>
                      <a:close/>
                      <a:moveTo>
                        <a:pt x="9" y="0"/>
                      </a:moveTo>
                      <a:lnTo>
                        <a:pt x="776" y="0"/>
                      </a:lnTo>
                      <a:lnTo>
                        <a:pt x="785" y="0"/>
                      </a:lnTo>
                      <a:lnTo>
                        <a:pt x="793" y="0"/>
                      </a:lnTo>
                      <a:lnTo>
                        <a:pt x="1027" y="0"/>
                      </a:lnTo>
                      <a:lnTo>
                        <a:pt x="1027" y="104"/>
                      </a:lnTo>
                      <a:lnTo>
                        <a:pt x="776" y="104"/>
                      </a:lnTo>
                      <a:lnTo>
                        <a:pt x="776" y="93"/>
                      </a:lnTo>
                      <a:lnTo>
                        <a:pt x="766" y="104"/>
                      </a:lnTo>
                      <a:lnTo>
                        <a:pt x="744" y="104"/>
                      </a:lnTo>
                      <a:lnTo>
                        <a:pt x="776" y="72"/>
                      </a:lnTo>
                      <a:lnTo>
                        <a:pt x="776" y="50"/>
                      </a:lnTo>
                      <a:lnTo>
                        <a:pt x="722" y="104"/>
                      </a:lnTo>
                      <a:lnTo>
                        <a:pt x="700" y="104"/>
                      </a:lnTo>
                      <a:lnTo>
                        <a:pt x="776" y="28"/>
                      </a:lnTo>
                      <a:lnTo>
                        <a:pt x="776" y="17"/>
                      </a:lnTo>
                      <a:lnTo>
                        <a:pt x="766" y="17"/>
                      </a:lnTo>
                      <a:lnTo>
                        <a:pt x="679" y="104"/>
                      </a:lnTo>
                      <a:lnTo>
                        <a:pt x="657" y="104"/>
                      </a:lnTo>
                      <a:lnTo>
                        <a:pt x="745" y="17"/>
                      </a:lnTo>
                      <a:lnTo>
                        <a:pt x="723" y="17"/>
                      </a:lnTo>
                      <a:lnTo>
                        <a:pt x="635" y="104"/>
                      </a:lnTo>
                      <a:lnTo>
                        <a:pt x="614" y="104"/>
                      </a:lnTo>
                      <a:lnTo>
                        <a:pt x="701" y="17"/>
                      </a:lnTo>
                      <a:lnTo>
                        <a:pt x="680" y="17"/>
                      </a:lnTo>
                      <a:lnTo>
                        <a:pt x="592" y="104"/>
                      </a:lnTo>
                      <a:lnTo>
                        <a:pt x="570" y="104"/>
                      </a:lnTo>
                      <a:lnTo>
                        <a:pt x="658" y="17"/>
                      </a:lnTo>
                      <a:lnTo>
                        <a:pt x="636" y="17"/>
                      </a:lnTo>
                      <a:lnTo>
                        <a:pt x="548" y="104"/>
                      </a:lnTo>
                      <a:lnTo>
                        <a:pt x="527" y="104"/>
                      </a:lnTo>
                      <a:lnTo>
                        <a:pt x="614" y="17"/>
                      </a:lnTo>
                      <a:lnTo>
                        <a:pt x="593" y="17"/>
                      </a:lnTo>
                      <a:lnTo>
                        <a:pt x="505" y="104"/>
                      </a:lnTo>
                      <a:lnTo>
                        <a:pt x="483" y="104"/>
                      </a:lnTo>
                      <a:lnTo>
                        <a:pt x="571" y="17"/>
                      </a:lnTo>
                      <a:lnTo>
                        <a:pt x="549" y="17"/>
                      </a:lnTo>
                      <a:lnTo>
                        <a:pt x="462" y="104"/>
                      </a:lnTo>
                      <a:lnTo>
                        <a:pt x="440" y="104"/>
                      </a:lnTo>
                      <a:lnTo>
                        <a:pt x="528" y="17"/>
                      </a:lnTo>
                      <a:lnTo>
                        <a:pt x="506" y="17"/>
                      </a:lnTo>
                      <a:lnTo>
                        <a:pt x="418" y="104"/>
                      </a:lnTo>
                      <a:lnTo>
                        <a:pt x="396" y="104"/>
                      </a:lnTo>
                      <a:lnTo>
                        <a:pt x="484" y="17"/>
                      </a:lnTo>
                      <a:lnTo>
                        <a:pt x="462" y="17"/>
                      </a:lnTo>
                      <a:lnTo>
                        <a:pt x="375" y="104"/>
                      </a:lnTo>
                      <a:lnTo>
                        <a:pt x="353" y="104"/>
                      </a:lnTo>
                      <a:lnTo>
                        <a:pt x="441" y="17"/>
                      </a:lnTo>
                      <a:lnTo>
                        <a:pt x="419" y="17"/>
                      </a:lnTo>
                      <a:lnTo>
                        <a:pt x="331" y="104"/>
                      </a:lnTo>
                      <a:lnTo>
                        <a:pt x="310" y="104"/>
                      </a:lnTo>
                      <a:lnTo>
                        <a:pt x="397" y="17"/>
                      </a:lnTo>
                      <a:lnTo>
                        <a:pt x="376" y="17"/>
                      </a:lnTo>
                      <a:lnTo>
                        <a:pt x="288" y="104"/>
                      </a:lnTo>
                      <a:lnTo>
                        <a:pt x="266" y="104"/>
                      </a:lnTo>
                      <a:lnTo>
                        <a:pt x="354" y="17"/>
                      </a:lnTo>
                      <a:lnTo>
                        <a:pt x="332" y="17"/>
                      </a:lnTo>
                      <a:lnTo>
                        <a:pt x="244" y="104"/>
                      </a:lnTo>
                      <a:lnTo>
                        <a:pt x="223" y="104"/>
                      </a:lnTo>
                      <a:lnTo>
                        <a:pt x="310" y="17"/>
                      </a:lnTo>
                      <a:lnTo>
                        <a:pt x="289" y="17"/>
                      </a:lnTo>
                      <a:lnTo>
                        <a:pt x="201" y="104"/>
                      </a:lnTo>
                      <a:lnTo>
                        <a:pt x="179" y="104"/>
                      </a:lnTo>
                      <a:lnTo>
                        <a:pt x="267" y="17"/>
                      </a:lnTo>
                      <a:lnTo>
                        <a:pt x="245" y="17"/>
                      </a:lnTo>
                      <a:lnTo>
                        <a:pt x="158" y="104"/>
                      </a:lnTo>
                      <a:lnTo>
                        <a:pt x="136" y="104"/>
                      </a:lnTo>
                      <a:lnTo>
                        <a:pt x="224" y="17"/>
                      </a:lnTo>
                      <a:lnTo>
                        <a:pt x="202" y="17"/>
                      </a:lnTo>
                      <a:lnTo>
                        <a:pt x="114" y="104"/>
                      </a:lnTo>
                      <a:lnTo>
                        <a:pt x="92" y="104"/>
                      </a:lnTo>
                      <a:lnTo>
                        <a:pt x="180" y="17"/>
                      </a:lnTo>
                      <a:lnTo>
                        <a:pt x="158" y="17"/>
                      </a:lnTo>
                      <a:lnTo>
                        <a:pt x="71" y="104"/>
                      </a:lnTo>
                      <a:lnTo>
                        <a:pt x="49" y="104"/>
                      </a:lnTo>
                      <a:lnTo>
                        <a:pt x="137" y="17"/>
                      </a:lnTo>
                      <a:lnTo>
                        <a:pt x="115" y="17"/>
                      </a:lnTo>
                      <a:lnTo>
                        <a:pt x="27" y="104"/>
                      </a:lnTo>
                      <a:lnTo>
                        <a:pt x="0" y="10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solidFill>
                  <a:srgbClr val="9999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5" name="Rectangle 921"/>
                <p:cNvSpPr>
                  <a:spLocks noChangeArrowheads="1"/>
                </p:cNvSpPr>
                <p:nvPr/>
              </p:nvSpPr>
              <p:spPr bwMode="auto">
                <a:xfrm>
                  <a:off x="1597" y="2073"/>
                  <a:ext cx="43" cy="50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6" name="Rectangle 922"/>
                <p:cNvSpPr>
                  <a:spLocks noChangeArrowheads="1"/>
                </p:cNvSpPr>
                <p:nvPr/>
              </p:nvSpPr>
              <p:spPr bwMode="auto">
                <a:xfrm>
                  <a:off x="1597" y="2073"/>
                  <a:ext cx="43" cy="25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7" name="Freeform 923"/>
                <p:cNvSpPr>
                  <a:spLocks/>
                </p:cNvSpPr>
                <p:nvPr/>
              </p:nvSpPr>
              <p:spPr bwMode="auto">
                <a:xfrm>
                  <a:off x="1604" y="2110"/>
                  <a:ext cx="11" cy="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7" y="0"/>
                    </a:cxn>
                    <a:cxn ang="0">
                      <a:pos x="47" y="26"/>
                    </a:cxn>
                    <a:cxn ang="0">
                      <a:pos x="34" y="26"/>
                    </a:cxn>
                    <a:cxn ang="0">
                      <a:pos x="34" y="19"/>
                    </a:cxn>
                    <a:cxn ang="0">
                      <a:pos x="13" y="19"/>
                    </a:cxn>
                    <a:cxn ang="0">
                      <a:pos x="13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7" h="26">
                      <a:moveTo>
                        <a:pt x="0" y="0"/>
                      </a:moveTo>
                      <a:lnTo>
                        <a:pt x="47" y="0"/>
                      </a:lnTo>
                      <a:lnTo>
                        <a:pt x="47" y="26"/>
                      </a:lnTo>
                      <a:lnTo>
                        <a:pt x="34" y="26"/>
                      </a:lnTo>
                      <a:lnTo>
                        <a:pt x="34" y="19"/>
                      </a:lnTo>
                      <a:lnTo>
                        <a:pt x="13" y="19"/>
                      </a:lnTo>
                      <a:lnTo>
                        <a:pt x="13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8" name="Freeform 924"/>
                <p:cNvSpPr>
                  <a:spLocks/>
                </p:cNvSpPr>
                <p:nvPr/>
              </p:nvSpPr>
              <p:spPr bwMode="auto">
                <a:xfrm>
                  <a:off x="1622" y="2110"/>
                  <a:ext cx="11" cy="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6" y="0"/>
                    </a:cxn>
                    <a:cxn ang="0">
                      <a:pos x="46" y="26"/>
                    </a:cxn>
                    <a:cxn ang="0">
                      <a:pos x="33" y="26"/>
                    </a:cxn>
                    <a:cxn ang="0">
                      <a:pos x="33" y="19"/>
                    </a:cxn>
                    <a:cxn ang="0">
                      <a:pos x="12" y="19"/>
                    </a:cxn>
                    <a:cxn ang="0">
                      <a:pos x="12" y="26"/>
                    </a:cxn>
                    <a:cxn ang="0">
                      <a:pos x="0" y="2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6" h="26">
                      <a:moveTo>
                        <a:pt x="0" y="0"/>
                      </a:moveTo>
                      <a:lnTo>
                        <a:pt x="46" y="0"/>
                      </a:lnTo>
                      <a:lnTo>
                        <a:pt x="46" y="26"/>
                      </a:lnTo>
                      <a:lnTo>
                        <a:pt x="33" y="26"/>
                      </a:lnTo>
                      <a:lnTo>
                        <a:pt x="33" y="19"/>
                      </a:lnTo>
                      <a:lnTo>
                        <a:pt x="12" y="19"/>
                      </a:lnTo>
                      <a:lnTo>
                        <a:pt x="12" y="26"/>
                      </a:lnTo>
                      <a:lnTo>
                        <a:pt x="0" y="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399" name="Rectangle 925"/>
                <p:cNvSpPr>
                  <a:spLocks noChangeArrowheads="1"/>
                </p:cNvSpPr>
                <p:nvPr/>
              </p:nvSpPr>
              <p:spPr bwMode="auto">
                <a:xfrm>
                  <a:off x="1604" y="2097"/>
                  <a:ext cx="29" cy="2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0" name="Rectangle 926"/>
                <p:cNvSpPr>
                  <a:spLocks noChangeArrowheads="1"/>
                </p:cNvSpPr>
                <p:nvPr/>
              </p:nvSpPr>
              <p:spPr bwMode="auto">
                <a:xfrm>
                  <a:off x="1604" y="2097"/>
                  <a:ext cx="29" cy="1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1" name="Rectangle 927"/>
                <p:cNvSpPr>
                  <a:spLocks noChangeArrowheads="1"/>
                </p:cNvSpPr>
                <p:nvPr/>
              </p:nvSpPr>
              <p:spPr bwMode="auto">
                <a:xfrm>
                  <a:off x="1604" y="2079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2" name="Rectangle 928"/>
                <p:cNvSpPr>
                  <a:spLocks noChangeArrowheads="1"/>
                </p:cNvSpPr>
                <p:nvPr/>
              </p:nvSpPr>
              <p:spPr bwMode="auto">
                <a:xfrm>
                  <a:off x="1604" y="2088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3" name="Rectangle 929"/>
                <p:cNvSpPr>
                  <a:spLocks noChangeArrowheads="1"/>
                </p:cNvSpPr>
                <p:nvPr/>
              </p:nvSpPr>
              <p:spPr bwMode="auto">
                <a:xfrm>
                  <a:off x="1604" y="2092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4" name="Rectangle 930"/>
                <p:cNvSpPr>
                  <a:spLocks noChangeArrowheads="1"/>
                </p:cNvSpPr>
                <p:nvPr/>
              </p:nvSpPr>
              <p:spPr bwMode="auto">
                <a:xfrm>
                  <a:off x="1604" y="2083"/>
                  <a:ext cx="29" cy="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5" name="Rectangle 931"/>
                <p:cNvSpPr>
                  <a:spLocks noChangeArrowheads="1"/>
                </p:cNvSpPr>
                <p:nvPr/>
              </p:nvSpPr>
              <p:spPr bwMode="auto">
                <a:xfrm>
                  <a:off x="1604" y="2106"/>
                  <a:ext cx="4" cy="3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6" name="Rectangle 932"/>
                <p:cNvSpPr>
                  <a:spLocks noChangeArrowheads="1"/>
                </p:cNvSpPr>
                <p:nvPr/>
              </p:nvSpPr>
              <p:spPr bwMode="auto">
                <a:xfrm>
                  <a:off x="1622" y="2106"/>
                  <a:ext cx="4" cy="3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7" name="Rectangle 933"/>
                <p:cNvSpPr>
                  <a:spLocks noChangeArrowheads="1"/>
                </p:cNvSpPr>
                <p:nvPr/>
              </p:nvSpPr>
              <p:spPr bwMode="auto">
                <a:xfrm>
                  <a:off x="1541" y="2077"/>
                  <a:ext cx="51" cy="43"/>
                </a:xfrm>
                <a:prstGeom prst="rect">
                  <a:avLst/>
                </a:prstGeom>
                <a:solidFill>
                  <a:srgbClr val="7F7F7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8" name="Rectangle 934"/>
                <p:cNvSpPr>
                  <a:spLocks noChangeArrowheads="1"/>
                </p:cNvSpPr>
                <p:nvPr/>
              </p:nvSpPr>
              <p:spPr bwMode="auto">
                <a:xfrm>
                  <a:off x="1541" y="2098"/>
                  <a:ext cx="51" cy="22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09" name="Rectangle 935"/>
                <p:cNvSpPr>
                  <a:spLocks noChangeArrowheads="1"/>
                </p:cNvSpPr>
                <p:nvPr/>
              </p:nvSpPr>
              <p:spPr bwMode="auto">
                <a:xfrm>
                  <a:off x="1542" y="2078"/>
                  <a:ext cx="49" cy="40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0" name="Rectangle 936"/>
                <p:cNvSpPr>
                  <a:spLocks noChangeArrowheads="1"/>
                </p:cNvSpPr>
                <p:nvPr/>
              </p:nvSpPr>
              <p:spPr bwMode="auto">
                <a:xfrm>
                  <a:off x="1542" y="2078"/>
                  <a:ext cx="49" cy="20"/>
                </a:xfrm>
                <a:prstGeom prst="rect">
                  <a:avLst/>
                </a:prstGeom>
                <a:solidFill>
                  <a:srgbClr val="4DADC7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1" name="Rectangle 937"/>
                <p:cNvSpPr>
                  <a:spLocks noChangeArrowheads="1"/>
                </p:cNvSpPr>
                <p:nvPr/>
              </p:nvSpPr>
              <p:spPr bwMode="auto">
                <a:xfrm>
                  <a:off x="864" y="1806"/>
                  <a:ext cx="559" cy="102"/>
                </a:xfrm>
                <a:prstGeom prst="rect">
                  <a:avLst/>
                </a:prstGeom>
                <a:solidFill>
                  <a:srgbClr val="00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2" name="Freeform 938"/>
                <p:cNvSpPr>
                  <a:spLocks noEditPoints="1"/>
                </p:cNvSpPr>
                <p:nvPr/>
              </p:nvSpPr>
              <p:spPr bwMode="auto">
                <a:xfrm>
                  <a:off x="856" y="1801"/>
                  <a:ext cx="576" cy="111"/>
                </a:xfrm>
                <a:custGeom>
                  <a:avLst/>
                  <a:gdLst/>
                  <a:ahLst/>
                  <a:cxnLst>
                    <a:cxn ang="0">
                      <a:pos x="2337" y="34"/>
                    </a:cxn>
                    <a:cxn ang="0">
                      <a:pos x="33" y="34"/>
                    </a:cxn>
                    <a:cxn ang="0">
                      <a:pos x="33" y="419"/>
                    </a:cxn>
                    <a:cxn ang="0">
                      <a:pos x="2337" y="419"/>
                    </a:cxn>
                    <a:cxn ang="0">
                      <a:pos x="2337" y="34"/>
                    </a:cxn>
                    <a:cxn ang="0">
                      <a:pos x="16" y="0"/>
                    </a:cxn>
                    <a:cxn ang="0">
                      <a:pos x="2354" y="0"/>
                    </a:cxn>
                    <a:cxn ang="0">
                      <a:pos x="2371" y="0"/>
                    </a:cxn>
                    <a:cxn ang="0">
                      <a:pos x="2371" y="17"/>
                    </a:cxn>
                    <a:cxn ang="0">
                      <a:pos x="2371" y="436"/>
                    </a:cxn>
                    <a:cxn ang="0">
                      <a:pos x="2371" y="452"/>
                    </a:cxn>
                    <a:cxn ang="0">
                      <a:pos x="2354" y="452"/>
                    </a:cxn>
                    <a:cxn ang="0">
                      <a:pos x="16" y="452"/>
                    </a:cxn>
                    <a:cxn ang="0">
                      <a:pos x="0" y="452"/>
                    </a:cxn>
                    <a:cxn ang="0">
                      <a:pos x="0" y="436"/>
                    </a:cxn>
                    <a:cxn ang="0">
                      <a:pos x="0" y="17"/>
                    </a:cxn>
                    <a:cxn ang="0">
                      <a:pos x="0" y="0"/>
                    </a:cxn>
                    <a:cxn ang="0">
                      <a:pos x="16" y="0"/>
                    </a:cxn>
                  </a:cxnLst>
                  <a:rect l="0" t="0" r="r" b="b"/>
                  <a:pathLst>
                    <a:path w="2371" h="452">
                      <a:moveTo>
                        <a:pt x="2337" y="34"/>
                      </a:moveTo>
                      <a:lnTo>
                        <a:pt x="33" y="34"/>
                      </a:lnTo>
                      <a:lnTo>
                        <a:pt x="33" y="419"/>
                      </a:lnTo>
                      <a:lnTo>
                        <a:pt x="2337" y="419"/>
                      </a:lnTo>
                      <a:lnTo>
                        <a:pt x="2337" y="34"/>
                      </a:lnTo>
                      <a:close/>
                      <a:moveTo>
                        <a:pt x="16" y="0"/>
                      </a:moveTo>
                      <a:lnTo>
                        <a:pt x="2354" y="0"/>
                      </a:lnTo>
                      <a:lnTo>
                        <a:pt x="2371" y="0"/>
                      </a:lnTo>
                      <a:lnTo>
                        <a:pt x="2371" y="17"/>
                      </a:lnTo>
                      <a:lnTo>
                        <a:pt x="2371" y="436"/>
                      </a:lnTo>
                      <a:lnTo>
                        <a:pt x="2371" y="452"/>
                      </a:lnTo>
                      <a:lnTo>
                        <a:pt x="2354" y="452"/>
                      </a:lnTo>
                      <a:lnTo>
                        <a:pt x="16" y="452"/>
                      </a:lnTo>
                      <a:lnTo>
                        <a:pt x="0" y="452"/>
                      </a:lnTo>
                      <a:lnTo>
                        <a:pt x="0" y="436"/>
                      </a:lnTo>
                      <a:lnTo>
                        <a:pt x="0" y="17"/>
                      </a:lnTo>
                      <a:lnTo>
                        <a:pt x="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19191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3" name="Freeform 939"/>
                <p:cNvSpPr>
                  <a:spLocks/>
                </p:cNvSpPr>
                <p:nvPr/>
              </p:nvSpPr>
              <p:spPr bwMode="auto">
                <a:xfrm>
                  <a:off x="856" y="1801"/>
                  <a:ext cx="576" cy="56"/>
                </a:xfrm>
                <a:custGeom>
                  <a:avLst/>
                  <a:gdLst/>
                  <a:ahLst/>
                  <a:cxnLst>
                    <a:cxn ang="0">
                      <a:pos x="16" y="0"/>
                    </a:cxn>
                    <a:cxn ang="0">
                      <a:pos x="2354" y="0"/>
                    </a:cxn>
                    <a:cxn ang="0">
                      <a:pos x="2371" y="0"/>
                    </a:cxn>
                    <a:cxn ang="0">
                      <a:pos x="2371" y="17"/>
                    </a:cxn>
                    <a:cxn ang="0">
                      <a:pos x="2371" y="226"/>
                    </a:cxn>
                    <a:cxn ang="0">
                      <a:pos x="2337" y="226"/>
                    </a:cxn>
                    <a:cxn ang="0">
                      <a:pos x="2337" y="34"/>
                    </a:cxn>
                    <a:cxn ang="0">
                      <a:pos x="33" y="34"/>
                    </a:cxn>
                    <a:cxn ang="0">
                      <a:pos x="33" y="226"/>
                    </a:cxn>
                    <a:cxn ang="0">
                      <a:pos x="0" y="226"/>
                    </a:cxn>
                    <a:cxn ang="0">
                      <a:pos x="0" y="17"/>
                    </a:cxn>
                    <a:cxn ang="0">
                      <a:pos x="0" y="0"/>
                    </a:cxn>
                    <a:cxn ang="0">
                      <a:pos x="16" y="0"/>
                    </a:cxn>
                  </a:cxnLst>
                  <a:rect l="0" t="0" r="r" b="b"/>
                  <a:pathLst>
                    <a:path w="2371" h="226">
                      <a:moveTo>
                        <a:pt x="16" y="0"/>
                      </a:moveTo>
                      <a:lnTo>
                        <a:pt x="2354" y="0"/>
                      </a:lnTo>
                      <a:lnTo>
                        <a:pt x="2371" y="0"/>
                      </a:lnTo>
                      <a:lnTo>
                        <a:pt x="2371" y="17"/>
                      </a:lnTo>
                      <a:lnTo>
                        <a:pt x="2371" y="226"/>
                      </a:lnTo>
                      <a:lnTo>
                        <a:pt x="2337" y="226"/>
                      </a:lnTo>
                      <a:lnTo>
                        <a:pt x="2337" y="34"/>
                      </a:lnTo>
                      <a:lnTo>
                        <a:pt x="33" y="34"/>
                      </a:lnTo>
                      <a:lnTo>
                        <a:pt x="33" y="226"/>
                      </a:lnTo>
                      <a:lnTo>
                        <a:pt x="0" y="226"/>
                      </a:lnTo>
                      <a:lnTo>
                        <a:pt x="0" y="17"/>
                      </a:lnTo>
                      <a:lnTo>
                        <a:pt x="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rgbClr val="33333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4" name="Rectangle 940"/>
                <p:cNvSpPr>
                  <a:spLocks noChangeArrowheads="1"/>
                </p:cNvSpPr>
                <p:nvPr/>
              </p:nvSpPr>
              <p:spPr bwMode="auto">
                <a:xfrm>
                  <a:off x="1336" y="1806"/>
                  <a:ext cx="87" cy="102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5" name="Rectangle 941"/>
                <p:cNvSpPr>
                  <a:spLocks noChangeArrowheads="1"/>
                </p:cNvSpPr>
                <p:nvPr/>
              </p:nvSpPr>
              <p:spPr bwMode="auto">
                <a:xfrm>
                  <a:off x="1241" y="1806"/>
                  <a:ext cx="88" cy="102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6" name="Rectangle 942"/>
                <p:cNvSpPr>
                  <a:spLocks noChangeArrowheads="1"/>
                </p:cNvSpPr>
                <p:nvPr/>
              </p:nvSpPr>
              <p:spPr bwMode="auto">
                <a:xfrm>
                  <a:off x="1147" y="1806"/>
                  <a:ext cx="88" cy="102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7" name="Rectangle 943"/>
                <p:cNvSpPr>
                  <a:spLocks noChangeArrowheads="1"/>
                </p:cNvSpPr>
                <p:nvPr/>
              </p:nvSpPr>
              <p:spPr bwMode="auto">
                <a:xfrm>
                  <a:off x="1052" y="1806"/>
                  <a:ext cx="88" cy="102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8" name="Rectangle 944"/>
                <p:cNvSpPr>
                  <a:spLocks noChangeArrowheads="1"/>
                </p:cNvSpPr>
                <p:nvPr/>
              </p:nvSpPr>
              <p:spPr bwMode="auto">
                <a:xfrm>
                  <a:off x="958" y="1806"/>
                  <a:ext cx="88" cy="102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19" name="Rectangle 945"/>
                <p:cNvSpPr>
                  <a:spLocks noChangeArrowheads="1"/>
                </p:cNvSpPr>
                <p:nvPr/>
              </p:nvSpPr>
              <p:spPr bwMode="auto">
                <a:xfrm>
                  <a:off x="864" y="1806"/>
                  <a:ext cx="87" cy="102"/>
                </a:xfrm>
                <a:prstGeom prst="rect">
                  <a:avLst/>
                </a:prstGeom>
                <a:solidFill>
                  <a:srgbClr val="33333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0" name="Rectangle 946"/>
                <p:cNvSpPr>
                  <a:spLocks noChangeArrowheads="1"/>
                </p:cNvSpPr>
                <p:nvPr/>
              </p:nvSpPr>
              <p:spPr bwMode="auto">
                <a:xfrm>
                  <a:off x="1336" y="1806"/>
                  <a:ext cx="87" cy="51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1" name="Rectangle 947"/>
                <p:cNvSpPr>
                  <a:spLocks noChangeArrowheads="1"/>
                </p:cNvSpPr>
                <p:nvPr/>
              </p:nvSpPr>
              <p:spPr bwMode="auto">
                <a:xfrm>
                  <a:off x="1241" y="1806"/>
                  <a:ext cx="88" cy="51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2" name="Rectangle 948"/>
                <p:cNvSpPr>
                  <a:spLocks noChangeArrowheads="1"/>
                </p:cNvSpPr>
                <p:nvPr/>
              </p:nvSpPr>
              <p:spPr bwMode="auto">
                <a:xfrm>
                  <a:off x="1147" y="1806"/>
                  <a:ext cx="88" cy="51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3" name="Rectangle 949"/>
                <p:cNvSpPr>
                  <a:spLocks noChangeArrowheads="1"/>
                </p:cNvSpPr>
                <p:nvPr/>
              </p:nvSpPr>
              <p:spPr bwMode="auto">
                <a:xfrm>
                  <a:off x="1052" y="1806"/>
                  <a:ext cx="88" cy="51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4" name="Rectangle 950"/>
                <p:cNvSpPr>
                  <a:spLocks noChangeArrowheads="1"/>
                </p:cNvSpPr>
                <p:nvPr/>
              </p:nvSpPr>
              <p:spPr bwMode="auto">
                <a:xfrm>
                  <a:off x="958" y="1806"/>
                  <a:ext cx="88" cy="51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5" name="Rectangle 951"/>
                <p:cNvSpPr>
                  <a:spLocks noChangeArrowheads="1"/>
                </p:cNvSpPr>
                <p:nvPr/>
              </p:nvSpPr>
              <p:spPr bwMode="auto">
                <a:xfrm>
                  <a:off x="864" y="1806"/>
                  <a:ext cx="87" cy="51"/>
                </a:xfrm>
                <a:prstGeom prst="rect">
                  <a:avLst/>
                </a:prstGeom>
                <a:solidFill>
                  <a:srgbClr val="4C4C4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6" name="Freeform 952"/>
                <p:cNvSpPr>
                  <a:spLocks/>
                </p:cNvSpPr>
                <p:nvPr/>
              </p:nvSpPr>
              <p:spPr bwMode="auto">
                <a:xfrm>
                  <a:off x="1350" y="1878"/>
                  <a:ext cx="23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2" y="0"/>
                    </a:cxn>
                    <a:cxn ang="0">
                      <a:pos x="92" y="53"/>
                    </a:cxn>
                    <a:cxn ang="0">
                      <a:pos x="67" y="53"/>
                    </a:cxn>
                    <a:cxn ang="0">
                      <a:pos x="67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2" h="53">
                      <a:moveTo>
                        <a:pt x="0" y="0"/>
                      </a:moveTo>
                      <a:lnTo>
                        <a:pt x="92" y="0"/>
                      </a:lnTo>
                      <a:lnTo>
                        <a:pt x="92" y="53"/>
                      </a:lnTo>
                      <a:lnTo>
                        <a:pt x="67" y="53"/>
                      </a:lnTo>
                      <a:lnTo>
                        <a:pt x="67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7" name="Freeform 953"/>
                <p:cNvSpPr>
                  <a:spLocks/>
                </p:cNvSpPr>
                <p:nvPr/>
              </p:nvSpPr>
              <p:spPr bwMode="auto">
                <a:xfrm>
                  <a:off x="1386" y="1878"/>
                  <a:ext cx="23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3" y="0"/>
                    </a:cxn>
                    <a:cxn ang="0">
                      <a:pos x="93" y="53"/>
                    </a:cxn>
                    <a:cxn ang="0">
                      <a:pos x="68" y="53"/>
                    </a:cxn>
                    <a:cxn ang="0">
                      <a:pos x="68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3" h="53">
                      <a:moveTo>
                        <a:pt x="0" y="0"/>
                      </a:moveTo>
                      <a:lnTo>
                        <a:pt x="93" y="0"/>
                      </a:lnTo>
                      <a:lnTo>
                        <a:pt x="93" y="53"/>
                      </a:lnTo>
                      <a:lnTo>
                        <a:pt x="68" y="53"/>
                      </a:lnTo>
                      <a:lnTo>
                        <a:pt x="68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8" name="Freeform 954"/>
                <p:cNvSpPr>
                  <a:spLocks/>
                </p:cNvSpPr>
                <p:nvPr/>
              </p:nvSpPr>
              <p:spPr bwMode="auto">
                <a:xfrm>
                  <a:off x="1256" y="1878"/>
                  <a:ext cx="22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3" y="0"/>
                    </a:cxn>
                    <a:cxn ang="0">
                      <a:pos x="93" y="53"/>
                    </a:cxn>
                    <a:cxn ang="0">
                      <a:pos x="68" y="53"/>
                    </a:cxn>
                    <a:cxn ang="0">
                      <a:pos x="68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3" h="53">
                      <a:moveTo>
                        <a:pt x="0" y="0"/>
                      </a:moveTo>
                      <a:lnTo>
                        <a:pt x="93" y="0"/>
                      </a:lnTo>
                      <a:lnTo>
                        <a:pt x="93" y="53"/>
                      </a:lnTo>
                      <a:lnTo>
                        <a:pt x="68" y="53"/>
                      </a:lnTo>
                      <a:lnTo>
                        <a:pt x="68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29" name="Freeform 955"/>
                <p:cNvSpPr>
                  <a:spLocks/>
                </p:cNvSpPr>
                <p:nvPr/>
              </p:nvSpPr>
              <p:spPr bwMode="auto">
                <a:xfrm>
                  <a:off x="1292" y="1878"/>
                  <a:ext cx="23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3" y="0"/>
                    </a:cxn>
                    <a:cxn ang="0">
                      <a:pos x="93" y="53"/>
                    </a:cxn>
                    <a:cxn ang="0">
                      <a:pos x="68" y="53"/>
                    </a:cxn>
                    <a:cxn ang="0">
                      <a:pos x="68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3" h="53">
                      <a:moveTo>
                        <a:pt x="0" y="0"/>
                      </a:moveTo>
                      <a:lnTo>
                        <a:pt x="93" y="0"/>
                      </a:lnTo>
                      <a:lnTo>
                        <a:pt x="93" y="53"/>
                      </a:lnTo>
                      <a:lnTo>
                        <a:pt x="68" y="53"/>
                      </a:lnTo>
                      <a:lnTo>
                        <a:pt x="68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0" name="Freeform 956"/>
                <p:cNvSpPr>
                  <a:spLocks/>
                </p:cNvSpPr>
                <p:nvPr/>
              </p:nvSpPr>
              <p:spPr bwMode="auto">
                <a:xfrm>
                  <a:off x="1161" y="1878"/>
                  <a:ext cx="23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3" y="0"/>
                    </a:cxn>
                    <a:cxn ang="0">
                      <a:pos x="93" y="53"/>
                    </a:cxn>
                    <a:cxn ang="0">
                      <a:pos x="68" y="53"/>
                    </a:cxn>
                    <a:cxn ang="0">
                      <a:pos x="68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3" h="53">
                      <a:moveTo>
                        <a:pt x="0" y="0"/>
                      </a:moveTo>
                      <a:lnTo>
                        <a:pt x="93" y="0"/>
                      </a:lnTo>
                      <a:lnTo>
                        <a:pt x="93" y="53"/>
                      </a:lnTo>
                      <a:lnTo>
                        <a:pt x="68" y="53"/>
                      </a:lnTo>
                      <a:lnTo>
                        <a:pt x="68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1" name="Freeform 957"/>
                <p:cNvSpPr>
                  <a:spLocks/>
                </p:cNvSpPr>
                <p:nvPr/>
              </p:nvSpPr>
              <p:spPr bwMode="auto">
                <a:xfrm>
                  <a:off x="1198" y="1878"/>
                  <a:ext cx="22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3" y="0"/>
                    </a:cxn>
                    <a:cxn ang="0">
                      <a:pos x="93" y="53"/>
                    </a:cxn>
                    <a:cxn ang="0">
                      <a:pos x="68" y="53"/>
                    </a:cxn>
                    <a:cxn ang="0">
                      <a:pos x="68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3" h="53">
                      <a:moveTo>
                        <a:pt x="0" y="0"/>
                      </a:moveTo>
                      <a:lnTo>
                        <a:pt x="93" y="0"/>
                      </a:lnTo>
                      <a:lnTo>
                        <a:pt x="93" y="53"/>
                      </a:lnTo>
                      <a:lnTo>
                        <a:pt x="68" y="53"/>
                      </a:lnTo>
                      <a:lnTo>
                        <a:pt x="68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2" name="Freeform 958"/>
                <p:cNvSpPr>
                  <a:spLocks/>
                </p:cNvSpPr>
                <p:nvPr/>
              </p:nvSpPr>
              <p:spPr bwMode="auto">
                <a:xfrm>
                  <a:off x="1067" y="1878"/>
                  <a:ext cx="23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3" y="0"/>
                    </a:cxn>
                    <a:cxn ang="0">
                      <a:pos x="93" y="53"/>
                    </a:cxn>
                    <a:cxn ang="0">
                      <a:pos x="68" y="53"/>
                    </a:cxn>
                    <a:cxn ang="0">
                      <a:pos x="68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3" h="53">
                      <a:moveTo>
                        <a:pt x="0" y="0"/>
                      </a:moveTo>
                      <a:lnTo>
                        <a:pt x="93" y="0"/>
                      </a:lnTo>
                      <a:lnTo>
                        <a:pt x="93" y="53"/>
                      </a:lnTo>
                      <a:lnTo>
                        <a:pt x="68" y="53"/>
                      </a:lnTo>
                      <a:lnTo>
                        <a:pt x="68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3" name="Freeform 959"/>
                <p:cNvSpPr>
                  <a:spLocks/>
                </p:cNvSpPr>
                <p:nvPr/>
              </p:nvSpPr>
              <p:spPr bwMode="auto">
                <a:xfrm>
                  <a:off x="1103" y="1878"/>
                  <a:ext cx="23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3" y="0"/>
                    </a:cxn>
                    <a:cxn ang="0">
                      <a:pos x="93" y="53"/>
                    </a:cxn>
                    <a:cxn ang="0">
                      <a:pos x="68" y="53"/>
                    </a:cxn>
                    <a:cxn ang="0">
                      <a:pos x="68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3" h="53">
                      <a:moveTo>
                        <a:pt x="0" y="0"/>
                      </a:moveTo>
                      <a:lnTo>
                        <a:pt x="93" y="0"/>
                      </a:lnTo>
                      <a:lnTo>
                        <a:pt x="93" y="53"/>
                      </a:lnTo>
                      <a:lnTo>
                        <a:pt x="68" y="53"/>
                      </a:lnTo>
                      <a:lnTo>
                        <a:pt x="68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4" name="Freeform 960"/>
                <p:cNvSpPr>
                  <a:spLocks/>
                </p:cNvSpPr>
                <p:nvPr/>
              </p:nvSpPr>
              <p:spPr bwMode="auto">
                <a:xfrm>
                  <a:off x="973" y="1878"/>
                  <a:ext cx="22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3" y="0"/>
                    </a:cxn>
                    <a:cxn ang="0">
                      <a:pos x="93" y="53"/>
                    </a:cxn>
                    <a:cxn ang="0">
                      <a:pos x="68" y="53"/>
                    </a:cxn>
                    <a:cxn ang="0">
                      <a:pos x="68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3" h="53">
                      <a:moveTo>
                        <a:pt x="0" y="0"/>
                      </a:moveTo>
                      <a:lnTo>
                        <a:pt x="93" y="0"/>
                      </a:lnTo>
                      <a:lnTo>
                        <a:pt x="93" y="53"/>
                      </a:lnTo>
                      <a:lnTo>
                        <a:pt x="68" y="53"/>
                      </a:lnTo>
                      <a:lnTo>
                        <a:pt x="68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5" name="Freeform 961"/>
                <p:cNvSpPr>
                  <a:spLocks/>
                </p:cNvSpPr>
                <p:nvPr/>
              </p:nvSpPr>
              <p:spPr bwMode="auto">
                <a:xfrm>
                  <a:off x="1009" y="1878"/>
                  <a:ext cx="22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2" y="0"/>
                    </a:cxn>
                    <a:cxn ang="0">
                      <a:pos x="92" y="53"/>
                    </a:cxn>
                    <a:cxn ang="0">
                      <a:pos x="67" y="53"/>
                    </a:cxn>
                    <a:cxn ang="0">
                      <a:pos x="67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2" h="53">
                      <a:moveTo>
                        <a:pt x="0" y="0"/>
                      </a:moveTo>
                      <a:lnTo>
                        <a:pt x="92" y="0"/>
                      </a:lnTo>
                      <a:lnTo>
                        <a:pt x="92" y="53"/>
                      </a:lnTo>
                      <a:lnTo>
                        <a:pt x="67" y="53"/>
                      </a:lnTo>
                      <a:lnTo>
                        <a:pt x="67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6" name="Freeform 962"/>
                <p:cNvSpPr>
                  <a:spLocks/>
                </p:cNvSpPr>
                <p:nvPr/>
              </p:nvSpPr>
              <p:spPr bwMode="auto">
                <a:xfrm>
                  <a:off x="878" y="1878"/>
                  <a:ext cx="23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2" y="0"/>
                    </a:cxn>
                    <a:cxn ang="0">
                      <a:pos x="92" y="53"/>
                    </a:cxn>
                    <a:cxn ang="0">
                      <a:pos x="67" y="53"/>
                    </a:cxn>
                    <a:cxn ang="0">
                      <a:pos x="67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2" h="53">
                      <a:moveTo>
                        <a:pt x="0" y="0"/>
                      </a:moveTo>
                      <a:lnTo>
                        <a:pt x="92" y="0"/>
                      </a:lnTo>
                      <a:lnTo>
                        <a:pt x="92" y="53"/>
                      </a:lnTo>
                      <a:lnTo>
                        <a:pt x="67" y="53"/>
                      </a:lnTo>
                      <a:lnTo>
                        <a:pt x="67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7" name="Freeform 963"/>
                <p:cNvSpPr>
                  <a:spLocks/>
                </p:cNvSpPr>
                <p:nvPr/>
              </p:nvSpPr>
              <p:spPr bwMode="auto">
                <a:xfrm>
                  <a:off x="914" y="1878"/>
                  <a:ext cx="23" cy="1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3" y="0"/>
                    </a:cxn>
                    <a:cxn ang="0">
                      <a:pos x="93" y="53"/>
                    </a:cxn>
                    <a:cxn ang="0">
                      <a:pos x="68" y="53"/>
                    </a:cxn>
                    <a:cxn ang="0">
                      <a:pos x="68" y="39"/>
                    </a:cxn>
                    <a:cxn ang="0">
                      <a:pos x="25" y="39"/>
                    </a:cxn>
                    <a:cxn ang="0">
                      <a:pos x="25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93" h="53">
                      <a:moveTo>
                        <a:pt x="0" y="0"/>
                      </a:moveTo>
                      <a:lnTo>
                        <a:pt x="93" y="0"/>
                      </a:lnTo>
                      <a:lnTo>
                        <a:pt x="93" y="53"/>
                      </a:lnTo>
                      <a:lnTo>
                        <a:pt x="68" y="53"/>
                      </a:lnTo>
                      <a:lnTo>
                        <a:pt x="68" y="39"/>
                      </a:lnTo>
                      <a:lnTo>
                        <a:pt x="25" y="39"/>
                      </a:lnTo>
                      <a:lnTo>
                        <a:pt x="25" y="53"/>
                      </a:ln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8" name="Rectangle 964"/>
                <p:cNvSpPr>
                  <a:spLocks noChangeArrowheads="1"/>
                </p:cNvSpPr>
                <p:nvPr/>
              </p:nvSpPr>
              <p:spPr bwMode="auto">
                <a:xfrm>
                  <a:off x="1350" y="1818"/>
                  <a:ext cx="59" cy="3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39" name="Rectangle 965"/>
                <p:cNvSpPr>
                  <a:spLocks noChangeArrowheads="1"/>
                </p:cNvSpPr>
                <p:nvPr/>
              </p:nvSpPr>
              <p:spPr bwMode="auto">
                <a:xfrm>
                  <a:off x="1256" y="1818"/>
                  <a:ext cx="59" cy="3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0" name="Rectangle 966"/>
                <p:cNvSpPr>
                  <a:spLocks noChangeArrowheads="1"/>
                </p:cNvSpPr>
                <p:nvPr/>
              </p:nvSpPr>
              <p:spPr bwMode="auto">
                <a:xfrm>
                  <a:off x="1161" y="1818"/>
                  <a:ext cx="59" cy="3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1" name="Rectangle 967"/>
                <p:cNvSpPr>
                  <a:spLocks noChangeArrowheads="1"/>
                </p:cNvSpPr>
                <p:nvPr/>
              </p:nvSpPr>
              <p:spPr bwMode="auto">
                <a:xfrm>
                  <a:off x="1067" y="1818"/>
                  <a:ext cx="59" cy="3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2" name="Rectangle 968"/>
                <p:cNvSpPr>
                  <a:spLocks noChangeArrowheads="1"/>
                </p:cNvSpPr>
                <p:nvPr/>
              </p:nvSpPr>
              <p:spPr bwMode="auto">
                <a:xfrm>
                  <a:off x="973" y="1818"/>
                  <a:ext cx="58" cy="3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3" name="Rectangle 969"/>
                <p:cNvSpPr>
                  <a:spLocks noChangeArrowheads="1"/>
                </p:cNvSpPr>
                <p:nvPr/>
              </p:nvSpPr>
              <p:spPr bwMode="auto">
                <a:xfrm>
                  <a:off x="878" y="1818"/>
                  <a:ext cx="59" cy="33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4" name="Rectangle 970"/>
                <p:cNvSpPr>
                  <a:spLocks noChangeArrowheads="1"/>
                </p:cNvSpPr>
                <p:nvPr/>
              </p:nvSpPr>
              <p:spPr bwMode="auto">
                <a:xfrm>
                  <a:off x="1350" y="1870"/>
                  <a:ext cx="9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5" name="Rectangle 971"/>
                <p:cNvSpPr>
                  <a:spLocks noChangeArrowheads="1"/>
                </p:cNvSpPr>
                <p:nvPr/>
              </p:nvSpPr>
              <p:spPr bwMode="auto">
                <a:xfrm>
                  <a:off x="1256" y="1870"/>
                  <a:ext cx="8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6" name="Rectangle 972"/>
                <p:cNvSpPr>
                  <a:spLocks noChangeArrowheads="1"/>
                </p:cNvSpPr>
                <p:nvPr/>
              </p:nvSpPr>
              <p:spPr bwMode="auto">
                <a:xfrm>
                  <a:off x="1161" y="1870"/>
                  <a:ext cx="9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7" name="Rectangle 973"/>
                <p:cNvSpPr>
                  <a:spLocks noChangeArrowheads="1"/>
                </p:cNvSpPr>
                <p:nvPr/>
              </p:nvSpPr>
              <p:spPr bwMode="auto">
                <a:xfrm>
                  <a:off x="1067" y="1870"/>
                  <a:ext cx="9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8" name="Rectangle 974"/>
                <p:cNvSpPr>
                  <a:spLocks noChangeArrowheads="1"/>
                </p:cNvSpPr>
                <p:nvPr/>
              </p:nvSpPr>
              <p:spPr bwMode="auto">
                <a:xfrm>
                  <a:off x="973" y="1870"/>
                  <a:ext cx="8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49" name="Rectangle 975"/>
                <p:cNvSpPr>
                  <a:spLocks noChangeArrowheads="1"/>
                </p:cNvSpPr>
                <p:nvPr/>
              </p:nvSpPr>
              <p:spPr bwMode="auto">
                <a:xfrm>
                  <a:off x="878" y="1870"/>
                  <a:ext cx="9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0" name="Rectangle 976"/>
                <p:cNvSpPr>
                  <a:spLocks noChangeArrowheads="1"/>
                </p:cNvSpPr>
                <p:nvPr/>
              </p:nvSpPr>
              <p:spPr bwMode="auto">
                <a:xfrm>
                  <a:off x="1386" y="1870"/>
                  <a:ext cx="9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1" name="Rectangle 977"/>
                <p:cNvSpPr>
                  <a:spLocks noChangeArrowheads="1"/>
                </p:cNvSpPr>
                <p:nvPr/>
              </p:nvSpPr>
              <p:spPr bwMode="auto">
                <a:xfrm>
                  <a:off x="1292" y="1870"/>
                  <a:ext cx="9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2" name="Rectangle 978"/>
                <p:cNvSpPr>
                  <a:spLocks noChangeArrowheads="1"/>
                </p:cNvSpPr>
                <p:nvPr/>
              </p:nvSpPr>
              <p:spPr bwMode="auto">
                <a:xfrm>
                  <a:off x="1198" y="1870"/>
                  <a:ext cx="8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3" name="Rectangle 979"/>
                <p:cNvSpPr>
                  <a:spLocks noChangeArrowheads="1"/>
                </p:cNvSpPr>
                <p:nvPr/>
              </p:nvSpPr>
              <p:spPr bwMode="auto">
                <a:xfrm>
                  <a:off x="1103" y="1870"/>
                  <a:ext cx="9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4" name="Rectangle 980"/>
                <p:cNvSpPr>
                  <a:spLocks noChangeArrowheads="1"/>
                </p:cNvSpPr>
                <p:nvPr/>
              </p:nvSpPr>
              <p:spPr bwMode="auto">
                <a:xfrm>
                  <a:off x="1009" y="1870"/>
                  <a:ext cx="8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5" name="Rectangle 981"/>
                <p:cNvSpPr>
                  <a:spLocks noChangeArrowheads="1"/>
                </p:cNvSpPr>
                <p:nvPr/>
              </p:nvSpPr>
              <p:spPr bwMode="auto">
                <a:xfrm>
                  <a:off x="914" y="1870"/>
                  <a:ext cx="9" cy="5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6" name="Rectangle 982"/>
                <p:cNvSpPr>
                  <a:spLocks noChangeArrowheads="1"/>
                </p:cNvSpPr>
                <p:nvPr/>
              </p:nvSpPr>
              <p:spPr bwMode="auto">
                <a:xfrm>
                  <a:off x="892" y="1870"/>
                  <a:ext cx="9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7" name="Rectangle 983"/>
                <p:cNvSpPr>
                  <a:spLocks noChangeArrowheads="1"/>
                </p:cNvSpPr>
                <p:nvPr/>
              </p:nvSpPr>
              <p:spPr bwMode="auto">
                <a:xfrm>
                  <a:off x="929" y="1870"/>
                  <a:ext cx="8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8" name="Rectangle 984"/>
                <p:cNvSpPr>
                  <a:spLocks noChangeArrowheads="1"/>
                </p:cNvSpPr>
                <p:nvPr/>
              </p:nvSpPr>
              <p:spPr bwMode="auto">
                <a:xfrm>
                  <a:off x="987" y="1870"/>
                  <a:ext cx="8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59" name="Rectangle 985"/>
                <p:cNvSpPr>
                  <a:spLocks noChangeArrowheads="1"/>
                </p:cNvSpPr>
                <p:nvPr/>
              </p:nvSpPr>
              <p:spPr bwMode="auto">
                <a:xfrm>
                  <a:off x="1023" y="1870"/>
                  <a:ext cx="8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0" name="Rectangle 986"/>
                <p:cNvSpPr>
                  <a:spLocks noChangeArrowheads="1"/>
                </p:cNvSpPr>
                <p:nvPr/>
              </p:nvSpPr>
              <p:spPr bwMode="auto">
                <a:xfrm>
                  <a:off x="1081" y="1870"/>
                  <a:ext cx="9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1" name="Rectangle 987"/>
                <p:cNvSpPr>
                  <a:spLocks noChangeArrowheads="1"/>
                </p:cNvSpPr>
                <p:nvPr/>
              </p:nvSpPr>
              <p:spPr bwMode="auto">
                <a:xfrm>
                  <a:off x="1117" y="1870"/>
                  <a:ext cx="9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2" name="Rectangle 988"/>
                <p:cNvSpPr>
                  <a:spLocks noChangeArrowheads="1"/>
                </p:cNvSpPr>
                <p:nvPr/>
              </p:nvSpPr>
              <p:spPr bwMode="auto">
                <a:xfrm>
                  <a:off x="1175" y="1870"/>
                  <a:ext cx="9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3" name="Rectangle 989"/>
                <p:cNvSpPr>
                  <a:spLocks noChangeArrowheads="1"/>
                </p:cNvSpPr>
                <p:nvPr/>
              </p:nvSpPr>
              <p:spPr bwMode="auto">
                <a:xfrm>
                  <a:off x="1212" y="1870"/>
                  <a:ext cx="8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4" name="Rectangle 990"/>
                <p:cNvSpPr>
                  <a:spLocks noChangeArrowheads="1"/>
                </p:cNvSpPr>
                <p:nvPr/>
              </p:nvSpPr>
              <p:spPr bwMode="auto">
                <a:xfrm>
                  <a:off x="1270" y="1870"/>
                  <a:ext cx="8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5" name="Rectangle 991"/>
                <p:cNvSpPr>
                  <a:spLocks noChangeArrowheads="1"/>
                </p:cNvSpPr>
                <p:nvPr/>
              </p:nvSpPr>
              <p:spPr bwMode="auto">
                <a:xfrm>
                  <a:off x="1306" y="1870"/>
                  <a:ext cx="9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6" name="Rectangle 992"/>
                <p:cNvSpPr>
                  <a:spLocks noChangeArrowheads="1"/>
                </p:cNvSpPr>
                <p:nvPr/>
              </p:nvSpPr>
              <p:spPr bwMode="auto">
                <a:xfrm>
                  <a:off x="1364" y="1870"/>
                  <a:ext cx="9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7" name="Rectangle 993"/>
                <p:cNvSpPr>
                  <a:spLocks noChangeArrowheads="1"/>
                </p:cNvSpPr>
                <p:nvPr/>
              </p:nvSpPr>
              <p:spPr bwMode="auto">
                <a:xfrm>
                  <a:off x="1401" y="1870"/>
                  <a:ext cx="8" cy="5"/>
                </a:xfrm>
                <a:prstGeom prst="rect">
                  <a:avLst/>
                </a:prstGeom>
                <a:solidFill>
                  <a:srgbClr val="3B9CB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8" name="Freeform 994"/>
                <p:cNvSpPr>
                  <a:spLocks/>
                </p:cNvSpPr>
                <p:nvPr/>
              </p:nvSpPr>
              <p:spPr bwMode="auto">
                <a:xfrm>
                  <a:off x="1386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4" y="0"/>
                    </a:cxn>
                    <a:cxn ang="0">
                      <a:pos x="54" y="25"/>
                    </a:cxn>
                    <a:cxn ang="0">
                      <a:pos x="39" y="25"/>
                    </a:cxn>
                    <a:cxn ang="0">
                      <a:pos x="39" y="68"/>
                    </a:cxn>
                    <a:cxn ang="0">
                      <a:pos x="54" y="68"/>
                    </a:cxn>
                    <a:cxn ang="0">
                      <a:pos x="54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4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54" y="25"/>
                      </a:lnTo>
                      <a:lnTo>
                        <a:pt x="39" y="25"/>
                      </a:lnTo>
                      <a:lnTo>
                        <a:pt x="39" y="68"/>
                      </a:lnTo>
                      <a:lnTo>
                        <a:pt x="54" y="68"/>
                      </a:lnTo>
                      <a:lnTo>
                        <a:pt x="54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69" name="Freeform 995"/>
                <p:cNvSpPr>
                  <a:spLocks/>
                </p:cNvSpPr>
                <p:nvPr/>
              </p:nvSpPr>
              <p:spPr bwMode="auto">
                <a:xfrm>
                  <a:off x="1360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3" y="0"/>
                    </a:cxn>
                    <a:cxn ang="0">
                      <a:pos x="53" y="25"/>
                    </a:cxn>
                    <a:cxn ang="0">
                      <a:pos x="38" y="25"/>
                    </a:cxn>
                    <a:cxn ang="0">
                      <a:pos x="38" y="68"/>
                    </a:cxn>
                    <a:cxn ang="0">
                      <a:pos x="53" y="68"/>
                    </a:cxn>
                    <a:cxn ang="0">
                      <a:pos x="53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3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53" y="25"/>
                      </a:lnTo>
                      <a:lnTo>
                        <a:pt x="38" y="25"/>
                      </a:lnTo>
                      <a:lnTo>
                        <a:pt x="38" y="68"/>
                      </a:lnTo>
                      <a:lnTo>
                        <a:pt x="53" y="68"/>
                      </a:lnTo>
                      <a:lnTo>
                        <a:pt x="53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0" name="Freeform 996"/>
                <p:cNvSpPr>
                  <a:spLocks/>
                </p:cNvSpPr>
                <p:nvPr/>
              </p:nvSpPr>
              <p:spPr bwMode="auto">
                <a:xfrm>
                  <a:off x="1292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3" y="0"/>
                    </a:cxn>
                    <a:cxn ang="0">
                      <a:pos x="53" y="25"/>
                    </a:cxn>
                    <a:cxn ang="0">
                      <a:pos x="38" y="25"/>
                    </a:cxn>
                    <a:cxn ang="0">
                      <a:pos x="38" y="68"/>
                    </a:cxn>
                    <a:cxn ang="0">
                      <a:pos x="53" y="68"/>
                    </a:cxn>
                    <a:cxn ang="0">
                      <a:pos x="53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3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53" y="25"/>
                      </a:lnTo>
                      <a:lnTo>
                        <a:pt x="38" y="25"/>
                      </a:lnTo>
                      <a:lnTo>
                        <a:pt x="38" y="68"/>
                      </a:lnTo>
                      <a:lnTo>
                        <a:pt x="53" y="68"/>
                      </a:lnTo>
                      <a:lnTo>
                        <a:pt x="53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1" name="Freeform 997"/>
                <p:cNvSpPr>
                  <a:spLocks/>
                </p:cNvSpPr>
                <p:nvPr/>
              </p:nvSpPr>
              <p:spPr bwMode="auto">
                <a:xfrm>
                  <a:off x="1266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3" y="0"/>
                    </a:cxn>
                    <a:cxn ang="0">
                      <a:pos x="53" y="25"/>
                    </a:cxn>
                    <a:cxn ang="0">
                      <a:pos x="39" y="25"/>
                    </a:cxn>
                    <a:cxn ang="0">
                      <a:pos x="39" y="68"/>
                    </a:cxn>
                    <a:cxn ang="0">
                      <a:pos x="53" y="68"/>
                    </a:cxn>
                    <a:cxn ang="0">
                      <a:pos x="53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3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53" y="25"/>
                      </a:lnTo>
                      <a:lnTo>
                        <a:pt x="39" y="25"/>
                      </a:lnTo>
                      <a:lnTo>
                        <a:pt x="39" y="68"/>
                      </a:lnTo>
                      <a:lnTo>
                        <a:pt x="53" y="68"/>
                      </a:lnTo>
                      <a:lnTo>
                        <a:pt x="53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2" name="Freeform 998"/>
                <p:cNvSpPr>
                  <a:spLocks/>
                </p:cNvSpPr>
                <p:nvPr/>
              </p:nvSpPr>
              <p:spPr bwMode="auto">
                <a:xfrm>
                  <a:off x="1197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3" y="0"/>
                    </a:cxn>
                    <a:cxn ang="0">
                      <a:pos x="53" y="25"/>
                    </a:cxn>
                    <a:cxn ang="0">
                      <a:pos x="39" y="25"/>
                    </a:cxn>
                    <a:cxn ang="0">
                      <a:pos x="39" y="68"/>
                    </a:cxn>
                    <a:cxn ang="0">
                      <a:pos x="53" y="68"/>
                    </a:cxn>
                    <a:cxn ang="0">
                      <a:pos x="53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3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53" y="25"/>
                      </a:lnTo>
                      <a:lnTo>
                        <a:pt x="39" y="25"/>
                      </a:lnTo>
                      <a:lnTo>
                        <a:pt x="39" y="68"/>
                      </a:lnTo>
                      <a:lnTo>
                        <a:pt x="53" y="68"/>
                      </a:lnTo>
                      <a:lnTo>
                        <a:pt x="53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3" name="Freeform 999"/>
                <p:cNvSpPr>
                  <a:spLocks/>
                </p:cNvSpPr>
                <p:nvPr/>
              </p:nvSpPr>
              <p:spPr bwMode="auto">
                <a:xfrm>
                  <a:off x="1171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3" y="0"/>
                    </a:cxn>
                    <a:cxn ang="0">
                      <a:pos x="53" y="25"/>
                    </a:cxn>
                    <a:cxn ang="0">
                      <a:pos x="38" y="25"/>
                    </a:cxn>
                    <a:cxn ang="0">
                      <a:pos x="38" y="68"/>
                    </a:cxn>
                    <a:cxn ang="0">
                      <a:pos x="53" y="68"/>
                    </a:cxn>
                    <a:cxn ang="0">
                      <a:pos x="53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3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53" y="25"/>
                      </a:lnTo>
                      <a:lnTo>
                        <a:pt x="38" y="25"/>
                      </a:lnTo>
                      <a:lnTo>
                        <a:pt x="38" y="68"/>
                      </a:lnTo>
                      <a:lnTo>
                        <a:pt x="53" y="68"/>
                      </a:lnTo>
                      <a:lnTo>
                        <a:pt x="53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4" name="Freeform 1000"/>
                <p:cNvSpPr>
                  <a:spLocks/>
                </p:cNvSpPr>
                <p:nvPr/>
              </p:nvSpPr>
              <p:spPr bwMode="auto">
                <a:xfrm>
                  <a:off x="1103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3" y="0"/>
                    </a:cxn>
                    <a:cxn ang="0">
                      <a:pos x="53" y="25"/>
                    </a:cxn>
                    <a:cxn ang="0">
                      <a:pos x="38" y="25"/>
                    </a:cxn>
                    <a:cxn ang="0">
                      <a:pos x="38" y="68"/>
                    </a:cxn>
                    <a:cxn ang="0">
                      <a:pos x="53" y="68"/>
                    </a:cxn>
                    <a:cxn ang="0">
                      <a:pos x="53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3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53" y="25"/>
                      </a:lnTo>
                      <a:lnTo>
                        <a:pt x="38" y="25"/>
                      </a:lnTo>
                      <a:lnTo>
                        <a:pt x="38" y="68"/>
                      </a:lnTo>
                      <a:lnTo>
                        <a:pt x="53" y="68"/>
                      </a:lnTo>
                      <a:lnTo>
                        <a:pt x="53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5" name="Freeform 1001"/>
                <p:cNvSpPr>
                  <a:spLocks/>
                </p:cNvSpPr>
                <p:nvPr/>
              </p:nvSpPr>
              <p:spPr bwMode="auto">
                <a:xfrm>
                  <a:off x="1077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3" y="0"/>
                    </a:cxn>
                    <a:cxn ang="0">
                      <a:pos x="53" y="25"/>
                    </a:cxn>
                    <a:cxn ang="0">
                      <a:pos x="39" y="25"/>
                    </a:cxn>
                    <a:cxn ang="0">
                      <a:pos x="39" y="68"/>
                    </a:cxn>
                    <a:cxn ang="0">
                      <a:pos x="53" y="68"/>
                    </a:cxn>
                    <a:cxn ang="0">
                      <a:pos x="53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3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53" y="25"/>
                      </a:lnTo>
                      <a:lnTo>
                        <a:pt x="39" y="25"/>
                      </a:lnTo>
                      <a:lnTo>
                        <a:pt x="39" y="68"/>
                      </a:lnTo>
                      <a:lnTo>
                        <a:pt x="53" y="68"/>
                      </a:lnTo>
                      <a:lnTo>
                        <a:pt x="53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6" name="Freeform 1002"/>
                <p:cNvSpPr>
                  <a:spLocks/>
                </p:cNvSpPr>
                <p:nvPr/>
              </p:nvSpPr>
              <p:spPr bwMode="auto">
                <a:xfrm>
                  <a:off x="1008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3" y="0"/>
                    </a:cxn>
                    <a:cxn ang="0">
                      <a:pos x="53" y="25"/>
                    </a:cxn>
                    <a:cxn ang="0">
                      <a:pos x="39" y="25"/>
                    </a:cxn>
                    <a:cxn ang="0">
                      <a:pos x="39" y="68"/>
                    </a:cxn>
                    <a:cxn ang="0">
                      <a:pos x="53" y="68"/>
                    </a:cxn>
                    <a:cxn ang="0">
                      <a:pos x="53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3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53" y="25"/>
                      </a:lnTo>
                      <a:lnTo>
                        <a:pt x="39" y="25"/>
                      </a:lnTo>
                      <a:lnTo>
                        <a:pt x="39" y="68"/>
                      </a:lnTo>
                      <a:lnTo>
                        <a:pt x="53" y="68"/>
                      </a:lnTo>
                      <a:lnTo>
                        <a:pt x="53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7" name="Freeform 1003"/>
                <p:cNvSpPr>
                  <a:spLocks/>
                </p:cNvSpPr>
                <p:nvPr/>
              </p:nvSpPr>
              <p:spPr bwMode="auto">
                <a:xfrm>
                  <a:off x="982" y="1823"/>
                  <a:ext cx="14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4" y="0"/>
                    </a:cxn>
                    <a:cxn ang="0">
                      <a:pos x="54" y="25"/>
                    </a:cxn>
                    <a:cxn ang="0">
                      <a:pos x="39" y="25"/>
                    </a:cxn>
                    <a:cxn ang="0">
                      <a:pos x="39" y="68"/>
                    </a:cxn>
                    <a:cxn ang="0">
                      <a:pos x="54" y="68"/>
                    </a:cxn>
                    <a:cxn ang="0">
                      <a:pos x="54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4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54" y="25"/>
                      </a:lnTo>
                      <a:lnTo>
                        <a:pt x="39" y="25"/>
                      </a:lnTo>
                      <a:lnTo>
                        <a:pt x="39" y="68"/>
                      </a:lnTo>
                      <a:lnTo>
                        <a:pt x="54" y="68"/>
                      </a:lnTo>
                      <a:lnTo>
                        <a:pt x="54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8" name="Freeform 1004"/>
                <p:cNvSpPr>
                  <a:spLocks/>
                </p:cNvSpPr>
                <p:nvPr/>
              </p:nvSpPr>
              <p:spPr bwMode="auto">
                <a:xfrm>
                  <a:off x="914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4" y="0"/>
                    </a:cxn>
                    <a:cxn ang="0">
                      <a:pos x="54" y="25"/>
                    </a:cxn>
                    <a:cxn ang="0">
                      <a:pos x="39" y="25"/>
                    </a:cxn>
                    <a:cxn ang="0">
                      <a:pos x="39" y="68"/>
                    </a:cxn>
                    <a:cxn ang="0">
                      <a:pos x="54" y="68"/>
                    </a:cxn>
                    <a:cxn ang="0">
                      <a:pos x="54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4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4" y="0"/>
                      </a:lnTo>
                      <a:lnTo>
                        <a:pt x="54" y="25"/>
                      </a:lnTo>
                      <a:lnTo>
                        <a:pt x="39" y="25"/>
                      </a:lnTo>
                      <a:lnTo>
                        <a:pt x="39" y="68"/>
                      </a:lnTo>
                      <a:lnTo>
                        <a:pt x="54" y="68"/>
                      </a:lnTo>
                      <a:lnTo>
                        <a:pt x="54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79" name="Freeform 1005"/>
                <p:cNvSpPr>
                  <a:spLocks/>
                </p:cNvSpPr>
                <p:nvPr/>
              </p:nvSpPr>
              <p:spPr bwMode="auto">
                <a:xfrm>
                  <a:off x="888" y="1823"/>
                  <a:ext cx="13" cy="23"/>
                </a:xfrm>
                <a:custGeom>
                  <a:avLst/>
                  <a:gdLst/>
                  <a:ahLst/>
                  <a:cxnLst>
                    <a:cxn ang="0">
                      <a:pos x="0" y="93"/>
                    </a:cxn>
                    <a:cxn ang="0">
                      <a:pos x="0" y="0"/>
                    </a:cxn>
                    <a:cxn ang="0">
                      <a:pos x="53" y="0"/>
                    </a:cxn>
                    <a:cxn ang="0">
                      <a:pos x="53" y="25"/>
                    </a:cxn>
                    <a:cxn ang="0">
                      <a:pos x="38" y="25"/>
                    </a:cxn>
                    <a:cxn ang="0">
                      <a:pos x="38" y="68"/>
                    </a:cxn>
                    <a:cxn ang="0">
                      <a:pos x="53" y="68"/>
                    </a:cxn>
                    <a:cxn ang="0">
                      <a:pos x="53" y="93"/>
                    </a:cxn>
                    <a:cxn ang="0">
                      <a:pos x="0" y="93"/>
                    </a:cxn>
                  </a:cxnLst>
                  <a:rect l="0" t="0" r="r" b="b"/>
                  <a:pathLst>
                    <a:path w="53" h="93">
                      <a:moveTo>
                        <a:pt x="0" y="93"/>
                      </a:moveTo>
                      <a:lnTo>
                        <a:pt x="0" y="0"/>
                      </a:lnTo>
                      <a:lnTo>
                        <a:pt x="53" y="0"/>
                      </a:lnTo>
                      <a:lnTo>
                        <a:pt x="53" y="25"/>
                      </a:lnTo>
                      <a:lnTo>
                        <a:pt x="38" y="25"/>
                      </a:lnTo>
                      <a:lnTo>
                        <a:pt x="38" y="68"/>
                      </a:lnTo>
                      <a:lnTo>
                        <a:pt x="53" y="68"/>
                      </a:lnTo>
                      <a:lnTo>
                        <a:pt x="53" y="93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80" name="Rectangle 1006"/>
                <p:cNvSpPr>
                  <a:spLocks noChangeArrowheads="1"/>
                </p:cNvSpPr>
                <p:nvPr/>
              </p:nvSpPr>
              <p:spPr bwMode="auto">
                <a:xfrm>
                  <a:off x="1329" y="1810"/>
                  <a:ext cx="3" cy="94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81" name="Rectangle 1007"/>
                <p:cNvSpPr>
                  <a:spLocks noChangeArrowheads="1"/>
                </p:cNvSpPr>
                <p:nvPr/>
              </p:nvSpPr>
              <p:spPr bwMode="auto">
                <a:xfrm>
                  <a:off x="1235" y="1810"/>
                  <a:ext cx="3" cy="94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82" name="Rectangle 1008"/>
                <p:cNvSpPr>
                  <a:spLocks noChangeArrowheads="1"/>
                </p:cNvSpPr>
                <p:nvPr/>
              </p:nvSpPr>
              <p:spPr bwMode="auto">
                <a:xfrm>
                  <a:off x="1140" y="1810"/>
                  <a:ext cx="4" cy="94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83" name="Rectangle 1009"/>
                <p:cNvSpPr>
                  <a:spLocks noChangeArrowheads="1"/>
                </p:cNvSpPr>
                <p:nvPr/>
              </p:nvSpPr>
              <p:spPr bwMode="auto">
                <a:xfrm>
                  <a:off x="1046" y="1810"/>
                  <a:ext cx="3" cy="94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84" name="Rectangle 1010"/>
                <p:cNvSpPr>
                  <a:spLocks noChangeArrowheads="1"/>
                </p:cNvSpPr>
                <p:nvPr/>
              </p:nvSpPr>
              <p:spPr bwMode="auto">
                <a:xfrm>
                  <a:off x="951" y="1810"/>
                  <a:ext cx="4" cy="94"/>
                </a:xfrm>
                <a:prstGeom prst="rect">
                  <a:avLst/>
                </a:prstGeom>
                <a:solidFill>
                  <a:srgbClr val="19191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85" name="Rectangle 1011"/>
                <p:cNvSpPr>
                  <a:spLocks noChangeArrowheads="1"/>
                </p:cNvSpPr>
                <p:nvPr/>
              </p:nvSpPr>
              <p:spPr bwMode="auto">
                <a:xfrm>
                  <a:off x="1332" y="1810"/>
                  <a:ext cx="4" cy="94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86" name="Rectangle 1012"/>
                <p:cNvSpPr>
                  <a:spLocks noChangeArrowheads="1"/>
                </p:cNvSpPr>
                <p:nvPr/>
              </p:nvSpPr>
              <p:spPr bwMode="auto">
                <a:xfrm>
                  <a:off x="1238" y="1810"/>
                  <a:ext cx="3" cy="94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487" name="Rectangle 1013"/>
                <p:cNvSpPr>
                  <a:spLocks noChangeArrowheads="1"/>
                </p:cNvSpPr>
                <p:nvPr/>
              </p:nvSpPr>
              <p:spPr bwMode="auto">
                <a:xfrm>
                  <a:off x="1144" y="1810"/>
                  <a:ext cx="3" cy="94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</p:grpSp>
          <p:grpSp>
            <p:nvGrpSpPr>
              <p:cNvPr id="21" name="Group 1215"/>
              <p:cNvGrpSpPr>
                <a:grpSpLocks/>
              </p:cNvGrpSpPr>
              <p:nvPr/>
            </p:nvGrpSpPr>
            <p:grpSpPr bwMode="auto">
              <a:xfrm>
                <a:off x="337" y="1640"/>
                <a:ext cx="1288" cy="519"/>
                <a:chOff x="337" y="1640"/>
                <a:chExt cx="1288" cy="519"/>
              </a:xfrm>
            </p:grpSpPr>
            <p:sp>
              <p:nvSpPr>
                <p:cNvPr id="88" name="Rectangle 1015"/>
                <p:cNvSpPr>
                  <a:spLocks noChangeArrowheads="1"/>
                </p:cNvSpPr>
                <p:nvPr/>
              </p:nvSpPr>
              <p:spPr bwMode="auto">
                <a:xfrm>
                  <a:off x="1049" y="1810"/>
                  <a:ext cx="3" cy="94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89" name="Rectangle 1016"/>
                <p:cNvSpPr>
                  <a:spLocks noChangeArrowheads="1"/>
                </p:cNvSpPr>
                <p:nvPr/>
              </p:nvSpPr>
              <p:spPr bwMode="auto">
                <a:xfrm>
                  <a:off x="955" y="1810"/>
                  <a:ext cx="3" cy="94"/>
                </a:xfrm>
                <a:prstGeom prst="rect">
                  <a:avLst/>
                </a:prstGeom>
                <a:solidFill>
                  <a:srgbClr val="66666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0" name="Freeform 1017"/>
                <p:cNvSpPr>
                  <a:spLocks noEditPoints="1"/>
                </p:cNvSpPr>
                <p:nvPr/>
              </p:nvSpPr>
              <p:spPr bwMode="auto">
                <a:xfrm>
                  <a:off x="1107" y="1653"/>
                  <a:ext cx="346" cy="462"/>
                </a:xfrm>
                <a:custGeom>
                  <a:avLst/>
                  <a:gdLst/>
                  <a:ahLst/>
                  <a:cxnLst>
                    <a:cxn ang="0">
                      <a:pos x="1148" y="737"/>
                    </a:cxn>
                    <a:cxn ang="0">
                      <a:pos x="1345" y="737"/>
                    </a:cxn>
                    <a:cxn ang="0">
                      <a:pos x="1394" y="716"/>
                    </a:cxn>
                    <a:cxn ang="0">
                      <a:pos x="1394" y="716"/>
                    </a:cxn>
                    <a:cxn ang="0">
                      <a:pos x="1415" y="667"/>
                    </a:cxn>
                    <a:cxn ang="0">
                      <a:pos x="1415" y="0"/>
                    </a:cxn>
                    <a:cxn ang="0">
                      <a:pos x="1424" y="0"/>
                    </a:cxn>
                    <a:cxn ang="0">
                      <a:pos x="1424" y="667"/>
                    </a:cxn>
                    <a:cxn ang="0">
                      <a:pos x="1401" y="723"/>
                    </a:cxn>
                    <a:cxn ang="0">
                      <a:pos x="1401" y="723"/>
                    </a:cxn>
                    <a:cxn ang="0">
                      <a:pos x="1401" y="723"/>
                    </a:cxn>
                    <a:cxn ang="0">
                      <a:pos x="1345" y="746"/>
                    </a:cxn>
                    <a:cxn ang="0">
                      <a:pos x="1148" y="746"/>
                    </a:cxn>
                    <a:cxn ang="0">
                      <a:pos x="1148" y="737"/>
                    </a:cxn>
                    <a:cxn ang="0">
                      <a:pos x="201" y="1611"/>
                    </a:cxn>
                    <a:cxn ang="0">
                      <a:pos x="201" y="1808"/>
                    </a:cxn>
                    <a:cxn ang="0">
                      <a:pos x="221" y="1858"/>
                    </a:cxn>
                    <a:cxn ang="0">
                      <a:pos x="221" y="1858"/>
                    </a:cxn>
                    <a:cxn ang="0">
                      <a:pos x="270" y="1878"/>
                    </a:cxn>
                    <a:cxn ang="0">
                      <a:pos x="858" y="1878"/>
                    </a:cxn>
                    <a:cxn ang="0">
                      <a:pos x="858" y="1888"/>
                    </a:cxn>
                    <a:cxn ang="0">
                      <a:pos x="270" y="1888"/>
                    </a:cxn>
                    <a:cxn ang="0">
                      <a:pos x="214" y="1864"/>
                    </a:cxn>
                    <a:cxn ang="0">
                      <a:pos x="214" y="1864"/>
                    </a:cxn>
                    <a:cxn ang="0">
                      <a:pos x="191" y="1808"/>
                    </a:cxn>
                    <a:cxn ang="0">
                      <a:pos x="191" y="1611"/>
                    </a:cxn>
                    <a:cxn ang="0">
                      <a:pos x="191" y="1023"/>
                    </a:cxn>
                    <a:cxn ang="0">
                      <a:pos x="171" y="974"/>
                    </a:cxn>
                    <a:cxn ang="0">
                      <a:pos x="171" y="974"/>
                    </a:cxn>
                    <a:cxn ang="0">
                      <a:pos x="121" y="954"/>
                    </a:cxn>
                    <a:cxn ang="0">
                      <a:pos x="0" y="954"/>
                    </a:cxn>
                    <a:cxn ang="0">
                      <a:pos x="0" y="944"/>
                    </a:cxn>
                    <a:cxn ang="0">
                      <a:pos x="121" y="944"/>
                    </a:cxn>
                    <a:cxn ang="0">
                      <a:pos x="177" y="967"/>
                    </a:cxn>
                    <a:cxn ang="0">
                      <a:pos x="177" y="967"/>
                    </a:cxn>
                    <a:cxn ang="0">
                      <a:pos x="201" y="1023"/>
                    </a:cxn>
                    <a:cxn ang="0">
                      <a:pos x="201" y="1611"/>
                    </a:cxn>
                  </a:cxnLst>
                  <a:rect l="0" t="0" r="r" b="b"/>
                  <a:pathLst>
                    <a:path w="1424" h="1888">
                      <a:moveTo>
                        <a:pt x="1148" y="737"/>
                      </a:moveTo>
                      <a:lnTo>
                        <a:pt x="1345" y="737"/>
                      </a:lnTo>
                      <a:cubicBezTo>
                        <a:pt x="1364" y="737"/>
                        <a:pt x="1381" y="729"/>
                        <a:pt x="1394" y="716"/>
                      </a:cubicBezTo>
                      <a:lnTo>
                        <a:pt x="1394" y="716"/>
                      </a:lnTo>
                      <a:cubicBezTo>
                        <a:pt x="1407" y="704"/>
                        <a:pt x="1415" y="686"/>
                        <a:pt x="1415" y="667"/>
                      </a:cubicBezTo>
                      <a:lnTo>
                        <a:pt x="1415" y="0"/>
                      </a:lnTo>
                      <a:lnTo>
                        <a:pt x="1424" y="0"/>
                      </a:lnTo>
                      <a:lnTo>
                        <a:pt x="1424" y="667"/>
                      </a:lnTo>
                      <a:cubicBezTo>
                        <a:pt x="1424" y="689"/>
                        <a:pt x="1415" y="708"/>
                        <a:pt x="1401" y="723"/>
                      </a:cubicBezTo>
                      <a:lnTo>
                        <a:pt x="1401" y="723"/>
                      </a:lnTo>
                      <a:lnTo>
                        <a:pt x="1401" y="723"/>
                      </a:lnTo>
                      <a:cubicBezTo>
                        <a:pt x="1386" y="737"/>
                        <a:pt x="1367" y="746"/>
                        <a:pt x="1345" y="746"/>
                      </a:cubicBezTo>
                      <a:lnTo>
                        <a:pt x="1148" y="746"/>
                      </a:lnTo>
                      <a:lnTo>
                        <a:pt x="1148" y="737"/>
                      </a:lnTo>
                      <a:close/>
                      <a:moveTo>
                        <a:pt x="201" y="1611"/>
                      </a:moveTo>
                      <a:lnTo>
                        <a:pt x="201" y="1808"/>
                      </a:lnTo>
                      <a:cubicBezTo>
                        <a:pt x="201" y="1828"/>
                        <a:pt x="208" y="1845"/>
                        <a:pt x="221" y="1858"/>
                      </a:cubicBezTo>
                      <a:lnTo>
                        <a:pt x="221" y="1858"/>
                      </a:lnTo>
                      <a:cubicBezTo>
                        <a:pt x="234" y="1870"/>
                        <a:pt x="251" y="1878"/>
                        <a:pt x="270" y="1878"/>
                      </a:cubicBezTo>
                      <a:lnTo>
                        <a:pt x="858" y="1878"/>
                      </a:lnTo>
                      <a:lnTo>
                        <a:pt x="858" y="1888"/>
                      </a:lnTo>
                      <a:lnTo>
                        <a:pt x="270" y="1888"/>
                      </a:lnTo>
                      <a:cubicBezTo>
                        <a:pt x="248" y="1888"/>
                        <a:pt x="229" y="1879"/>
                        <a:pt x="214" y="1864"/>
                      </a:cubicBezTo>
                      <a:lnTo>
                        <a:pt x="214" y="1864"/>
                      </a:lnTo>
                      <a:cubicBezTo>
                        <a:pt x="200" y="1850"/>
                        <a:pt x="191" y="1830"/>
                        <a:pt x="191" y="1808"/>
                      </a:cubicBezTo>
                      <a:lnTo>
                        <a:pt x="191" y="1611"/>
                      </a:lnTo>
                      <a:lnTo>
                        <a:pt x="191" y="1023"/>
                      </a:lnTo>
                      <a:cubicBezTo>
                        <a:pt x="191" y="1004"/>
                        <a:pt x="183" y="987"/>
                        <a:pt x="171" y="974"/>
                      </a:cubicBezTo>
                      <a:lnTo>
                        <a:pt x="171" y="974"/>
                      </a:lnTo>
                      <a:cubicBezTo>
                        <a:pt x="158" y="961"/>
                        <a:pt x="141" y="954"/>
                        <a:pt x="121" y="954"/>
                      </a:cubicBezTo>
                      <a:lnTo>
                        <a:pt x="0" y="954"/>
                      </a:lnTo>
                      <a:lnTo>
                        <a:pt x="0" y="944"/>
                      </a:lnTo>
                      <a:lnTo>
                        <a:pt x="121" y="944"/>
                      </a:lnTo>
                      <a:cubicBezTo>
                        <a:pt x="143" y="944"/>
                        <a:pt x="163" y="953"/>
                        <a:pt x="177" y="967"/>
                      </a:cubicBezTo>
                      <a:lnTo>
                        <a:pt x="177" y="967"/>
                      </a:lnTo>
                      <a:cubicBezTo>
                        <a:pt x="192" y="982"/>
                        <a:pt x="201" y="1001"/>
                        <a:pt x="201" y="1023"/>
                      </a:cubicBezTo>
                      <a:lnTo>
                        <a:pt x="201" y="1611"/>
                      </a:lnTo>
                      <a:close/>
                    </a:path>
                  </a:pathLst>
                </a:custGeom>
                <a:solidFill>
                  <a:srgbClr val="99CC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1" name="Freeform 1018"/>
                <p:cNvSpPr>
                  <a:spLocks/>
                </p:cNvSpPr>
                <p:nvPr/>
              </p:nvSpPr>
              <p:spPr bwMode="auto">
                <a:xfrm>
                  <a:off x="1266" y="1833"/>
                  <a:ext cx="48" cy="176"/>
                </a:xfrm>
                <a:custGeom>
                  <a:avLst/>
                  <a:gdLst/>
                  <a:ahLst/>
                  <a:cxnLst>
                    <a:cxn ang="0">
                      <a:pos x="199" y="720"/>
                    </a:cxn>
                    <a:cxn ang="0">
                      <a:pos x="173" y="720"/>
                    </a:cxn>
                    <a:cxn ang="0">
                      <a:pos x="120" y="698"/>
                    </a:cxn>
                    <a:cxn ang="0">
                      <a:pos x="98" y="645"/>
                    </a:cxn>
                    <a:cxn ang="0">
                      <a:pos x="98" y="241"/>
                    </a:cxn>
                    <a:cxn ang="0">
                      <a:pos x="98" y="79"/>
                    </a:cxn>
                    <a:cxn ang="0">
                      <a:pos x="78" y="30"/>
                    </a:cxn>
                    <a:cxn ang="0">
                      <a:pos x="78" y="30"/>
                    </a:cxn>
                    <a:cxn ang="0">
                      <a:pos x="28" y="9"/>
                    </a:cxn>
                    <a:cxn ang="0">
                      <a:pos x="0" y="9"/>
                    </a:cxn>
                    <a:cxn ang="0">
                      <a:pos x="0" y="0"/>
                    </a:cxn>
                    <a:cxn ang="0">
                      <a:pos x="28" y="0"/>
                    </a:cxn>
                    <a:cxn ang="0">
                      <a:pos x="84" y="23"/>
                    </a:cxn>
                    <a:cxn ang="0">
                      <a:pos x="84" y="23"/>
                    </a:cxn>
                    <a:cxn ang="0">
                      <a:pos x="84" y="23"/>
                    </a:cxn>
                    <a:cxn ang="0">
                      <a:pos x="108" y="79"/>
                    </a:cxn>
                    <a:cxn ang="0">
                      <a:pos x="108" y="241"/>
                    </a:cxn>
                    <a:cxn ang="0">
                      <a:pos x="108" y="645"/>
                    </a:cxn>
                    <a:cxn ang="0">
                      <a:pos x="127" y="691"/>
                    </a:cxn>
                    <a:cxn ang="0">
                      <a:pos x="173" y="710"/>
                    </a:cxn>
                    <a:cxn ang="0">
                      <a:pos x="199" y="710"/>
                    </a:cxn>
                    <a:cxn ang="0">
                      <a:pos x="199" y="720"/>
                    </a:cxn>
                  </a:cxnLst>
                  <a:rect l="0" t="0" r="r" b="b"/>
                  <a:pathLst>
                    <a:path w="199" h="720">
                      <a:moveTo>
                        <a:pt x="199" y="720"/>
                      </a:moveTo>
                      <a:lnTo>
                        <a:pt x="173" y="720"/>
                      </a:lnTo>
                      <a:cubicBezTo>
                        <a:pt x="152" y="720"/>
                        <a:pt x="134" y="711"/>
                        <a:pt x="120" y="698"/>
                      </a:cubicBezTo>
                      <a:cubicBezTo>
                        <a:pt x="106" y="684"/>
                        <a:pt x="98" y="665"/>
                        <a:pt x="98" y="645"/>
                      </a:cubicBezTo>
                      <a:lnTo>
                        <a:pt x="98" y="241"/>
                      </a:lnTo>
                      <a:lnTo>
                        <a:pt x="98" y="79"/>
                      </a:lnTo>
                      <a:cubicBezTo>
                        <a:pt x="98" y="60"/>
                        <a:pt x="90" y="42"/>
                        <a:pt x="78" y="30"/>
                      </a:cubicBezTo>
                      <a:lnTo>
                        <a:pt x="78" y="30"/>
                      </a:lnTo>
                      <a:cubicBezTo>
                        <a:pt x="65" y="17"/>
                        <a:pt x="48" y="9"/>
                        <a:pt x="28" y="9"/>
                      </a:cubicBezTo>
                      <a:lnTo>
                        <a:pt x="0" y="9"/>
                      </a:lnTo>
                      <a:lnTo>
                        <a:pt x="0" y="0"/>
                      </a:lnTo>
                      <a:lnTo>
                        <a:pt x="28" y="0"/>
                      </a:lnTo>
                      <a:cubicBezTo>
                        <a:pt x="50" y="0"/>
                        <a:pt x="70" y="8"/>
                        <a:pt x="84" y="23"/>
                      </a:cubicBezTo>
                      <a:lnTo>
                        <a:pt x="84" y="23"/>
                      </a:lnTo>
                      <a:lnTo>
                        <a:pt x="84" y="23"/>
                      </a:lnTo>
                      <a:cubicBezTo>
                        <a:pt x="99" y="37"/>
                        <a:pt x="108" y="57"/>
                        <a:pt x="108" y="79"/>
                      </a:cubicBezTo>
                      <a:lnTo>
                        <a:pt x="108" y="241"/>
                      </a:lnTo>
                      <a:lnTo>
                        <a:pt x="108" y="645"/>
                      </a:lnTo>
                      <a:cubicBezTo>
                        <a:pt x="108" y="663"/>
                        <a:pt x="115" y="679"/>
                        <a:pt x="127" y="691"/>
                      </a:cubicBezTo>
                      <a:cubicBezTo>
                        <a:pt x="139" y="703"/>
                        <a:pt x="155" y="710"/>
                        <a:pt x="173" y="710"/>
                      </a:cubicBezTo>
                      <a:lnTo>
                        <a:pt x="199" y="710"/>
                      </a:lnTo>
                      <a:lnTo>
                        <a:pt x="199" y="720"/>
                      </a:lnTo>
                      <a:close/>
                    </a:path>
                  </a:pathLst>
                </a:custGeom>
                <a:solidFill>
                  <a:srgbClr val="FA69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2" name="Freeform 1019"/>
                <p:cNvSpPr>
                  <a:spLocks/>
                </p:cNvSpPr>
                <p:nvPr/>
              </p:nvSpPr>
              <p:spPr bwMode="auto">
                <a:xfrm>
                  <a:off x="1333" y="1653"/>
                  <a:ext cx="170" cy="356"/>
                </a:xfrm>
                <a:custGeom>
                  <a:avLst/>
                  <a:gdLst/>
                  <a:ahLst/>
                  <a:cxnLst>
                    <a:cxn ang="0">
                      <a:pos x="0" y="1449"/>
                    </a:cxn>
                    <a:cxn ang="0">
                      <a:pos x="503" y="1449"/>
                    </a:cxn>
                    <a:cxn ang="0">
                      <a:pos x="634" y="1394"/>
                    </a:cxn>
                    <a:cxn ang="0">
                      <a:pos x="634" y="1394"/>
                    </a:cxn>
                    <a:cxn ang="0">
                      <a:pos x="689" y="1263"/>
                    </a:cxn>
                    <a:cxn ang="0">
                      <a:pos x="689" y="1263"/>
                    </a:cxn>
                    <a:cxn ang="0">
                      <a:pos x="689" y="707"/>
                    </a:cxn>
                    <a:cxn ang="0">
                      <a:pos x="689" y="707"/>
                    </a:cxn>
                    <a:cxn ang="0">
                      <a:pos x="689" y="0"/>
                    </a:cxn>
                    <a:cxn ang="0">
                      <a:pos x="699" y="0"/>
                    </a:cxn>
                    <a:cxn ang="0">
                      <a:pos x="699" y="707"/>
                    </a:cxn>
                    <a:cxn ang="0">
                      <a:pos x="698" y="707"/>
                    </a:cxn>
                    <a:cxn ang="0">
                      <a:pos x="698" y="1263"/>
                    </a:cxn>
                    <a:cxn ang="0">
                      <a:pos x="698" y="1263"/>
                    </a:cxn>
                    <a:cxn ang="0">
                      <a:pos x="641" y="1401"/>
                    </a:cxn>
                    <a:cxn ang="0">
                      <a:pos x="641" y="1401"/>
                    </a:cxn>
                    <a:cxn ang="0">
                      <a:pos x="641" y="1401"/>
                    </a:cxn>
                    <a:cxn ang="0">
                      <a:pos x="503" y="1459"/>
                    </a:cxn>
                    <a:cxn ang="0">
                      <a:pos x="0" y="1459"/>
                    </a:cxn>
                    <a:cxn ang="0">
                      <a:pos x="0" y="1449"/>
                    </a:cxn>
                  </a:cxnLst>
                  <a:rect l="0" t="0" r="r" b="b"/>
                  <a:pathLst>
                    <a:path w="699" h="1459">
                      <a:moveTo>
                        <a:pt x="0" y="1449"/>
                      </a:moveTo>
                      <a:lnTo>
                        <a:pt x="503" y="1449"/>
                      </a:lnTo>
                      <a:cubicBezTo>
                        <a:pt x="554" y="1449"/>
                        <a:pt x="601" y="1428"/>
                        <a:pt x="634" y="1394"/>
                      </a:cubicBezTo>
                      <a:lnTo>
                        <a:pt x="634" y="1394"/>
                      </a:lnTo>
                      <a:cubicBezTo>
                        <a:pt x="668" y="1361"/>
                        <a:pt x="689" y="1314"/>
                        <a:pt x="689" y="1263"/>
                      </a:cubicBezTo>
                      <a:lnTo>
                        <a:pt x="689" y="1263"/>
                      </a:lnTo>
                      <a:lnTo>
                        <a:pt x="689" y="707"/>
                      </a:lnTo>
                      <a:lnTo>
                        <a:pt x="689" y="707"/>
                      </a:lnTo>
                      <a:lnTo>
                        <a:pt x="689" y="0"/>
                      </a:lnTo>
                      <a:lnTo>
                        <a:pt x="699" y="0"/>
                      </a:lnTo>
                      <a:lnTo>
                        <a:pt x="699" y="707"/>
                      </a:lnTo>
                      <a:lnTo>
                        <a:pt x="698" y="707"/>
                      </a:lnTo>
                      <a:lnTo>
                        <a:pt x="698" y="1263"/>
                      </a:lnTo>
                      <a:lnTo>
                        <a:pt x="698" y="1263"/>
                      </a:lnTo>
                      <a:cubicBezTo>
                        <a:pt x="698" y="1317"/>
                        <a:pt x="677" y="1366"/>
                        <a:pt x="641" y="1401"/>
                      </a:cubicBezTo>
                      <a:lnTo>
                        <a:pt x="641" y="1401"/>
                      </a:lnTo>
                      <a:lnTo>
                        <a:pt x="641" y="1401"/>
                      </a:lnTo>
                      <a:cubicBezTo>
                        <a:pt x="606" y="1437"/>
                        <a:pt x="557" y="1459"/>
                        <a:pt x="503" y="1459"/>
                      </a:cubicBezTo>
                      <a:lnTo>
                        <a:pt x="0" y="1459"/>
                      </a:lnTo>
                      <a:lnTo>
                        <a:pt x="0" y="1449"/>
                      </a:lnTo>
                      <a:close/>
                    </a:path>
                  </a:pathLst>
                </a:custGeom>
                <a:solidFill>
                  <a:srgbClr val="FACA0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3" name="Freeform 1020"/>
                <p:cNvSpPr>
                  <a:spLocks/>
                </p:cNvSpPr>
                <p:nvPr/>
              </p:nvSpPr>
              <p:spPr bwMode="auto">
                <a:xfrm>
                  <a:off x="1509" y="1653"/>
                  <a:ext cx="101" cy="356"/>
                </a:xfrm>
                <a:custGeom>
                  <a:avLst/>
                  <a:gdLst/>
                  <a:ahLst/>
                  <a:cxnLst>
                    <a:cxn ang="0">
                      <a:pos x="415" y="1459"/>
                    </a:cxn>
                    <a:cxn ang="0">
                      <a:pos x="195" y="1459"/>
                    </a:cxn>
                    <a:cxn ang="0">
                      <a:pos x="57" y="1401"/>
                    </a:cxn>
                    <a:cxn ang="0">
                      <a:pos x="0" y="1263"/>
                    </a:cxn>
                    <a:cxn ang="0">
                      <a:pos x="0" y="707"/>
                    </a:cxn>
                    <a:cxn ang="0">
                      <a:pos x="0" y="0"/>
                    </a:cxn>
                    <a:cxn ang="0">
                      <a:pos x="9" y="0"/>
                    </a:cxn>
                    <a:cxn ang="0">
                      <a:pos x="9" y="707"/>
                    </a:cxn>
                    <a:cxn ang="0">
                      <a:pos x="9" y="1263"/>
                    </a:cxn>
                    <a:cxn ang="0">
                      <a:pos x="64" y="1394"/>
                    </a:cxn>
                    <a:cxn ang="0">
                      <a:pos x="195" y="1449"/>
                    </a:cxn>
                    <a:cxn ang="0">
                      <a:pos x="415" y="1449"/>
                    </a:cxn>
                    <a:cxn ang="0">
                      <a:pos x="415" y="1459"/>
                    </a:cxn>
                  </a:cxnLst>
                  <a:rect l="0" t="0" r="r" b="b"/>
                  <a:pathLst>
                    <a:path w="415" h="1459">
                      <a:moveTo>
                        <a:pt x="415" y="1459"/>
                      </a:moveTo>
                      <a:lnTo>
                        <a:pt x="195" y="1459"/>
                      </a:lnTo>
                      <a:cubicBezTo>
                        <a:pt x="141" y="1459"/>
                        <a:pt x="92" y="1437"/>
                        <a:pt x="57" y="1401"/>
                      </a:cubicBezTo>
                      <a:cubicBezTo>
                        <a:pt x="22" y="1366"/>
                        <a:pt x="0" y="1317"/>
                        <a:pt x="0" y="1263"/>
                      </a:cubicBezTo>
                      <a:lnTo>
                        <a:pt x="0" y="707"/>
                      </a:lnTo>
                      <a:lnTo>
                        <a:pt x="0" y="0"/>
                      </a:lnTo>
                      <a:lnTo>
                        <a:pt x="9" y="0"/>
                      </a:lnTo>
                      <a:lnTo>
                        <a:pt x="9" y="707"/>
                      </a:lnTo>
                      <a:lnTo>
                        <a:pt x="9" y="1263"/>
                      </a:lnTo>
                      <a:cubicBezTo>
                        <a:pt x="9" y="1314"/>
                        <a:pt x="30" y="1361"/>
                        <a:pt x="64" y="1394"/>
                      </a:cubicBezTo>
                      <a:cubicBezTo>
                        <a:pt x="97" y="1428"/>
                        <a:pt x="144" y="1449"/>
                        <a:pt x="195" y="1449"/>
                      </a:cubicBezTo>
                      <a:lnTo>
                        <a:pt x="415" y="1449"/>
                      </a:lnTo>
                      <a:lnTo>
                        <a:pt x="415" y="1459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4" name="Freeform 1021"/>
                <p:cNvSpPr>
                  <a:spLocks/>
                </p:cNvSpPr>
                <p:nvPr/>
              </p:nvSpPr>
              <p:spPr bwMode="auto">
                <a:xfrm>
                  <a:off x="1155" y="1994"/>
                  <a:ext cx="455" cy="6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98"/>
                    </a:cxn>
                    <a:cxn ang="0">
                      <a:pos x="74" y="273"/>
                    </a:cxn>
                    <a:cxn ang="0">
                      <a:pos x="1876" y="273"/>
                    </a:cxn>
                  </a:cxnLst>
                  <a:rect l="0" t="0" r="r" b="b"/>
                  <a:pathLst>
                    <a:path w="1876" h="273">
                      <a:moveTo>
                        <a:pt x="0" y="0"/>
                      </a:moveTo>
                      <a:lnTo>
                        <a:pt x="0" y="198"/>
                      </a:lnTo>
                      <a:cubicBezTo>
                        <a:pt x="0" y="239"/>
                        <a:pt x="33" y="273"/>
                        <a:pt x="74" y="273"/>
                      </a:cubicBezTo>
                      <a:lnTo>
                        <a:pt x="1876" y="273"/>
                      </a:lnTo>
                    </a:path>
                  </a:pathLst>
                </a:custGeom>
                <a:noFill/>
                <a:ln w="19050" cap="flat">
                  <a:solidFill>
                    <a:srgbClr val="99CCCC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5" name="Rectangle 1022"/>
                <p:cNvSpPr>
                  <a:spLocks noChangeArrowheads="1"/>
                </p:cNvSpPr>
                <p:nvPr/>
              </p:nvSpPr>
              <p:spPr bwMode="auto">
                <a:xfrm>
                  <a:off x="1103" y="1878"/>
                  <a:ext cx="23" cy="13"/>
                </a:xfrm>
                <a:prstGeom prst="rect">
                  <a:avLst/>
                </a:prstGeom>
                <a:solidFill>
                  <a:srgbClr val="99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6" name="Rectangle 1023"/>
                <p:cNvSpPr>
                  <a:spLocks noChangeArrowheads="1"/>
                </p:cNvSpPr>
                <p:nvPr/>
              </p:nvSpPr>
              <p:spPr bwMode="auto">
                <a:xfrm>
                  <a:off x="1309" y="2110"/>
                  <a:ext cx="11" cy="7"/>
                </a:xfrm>
                <a:prstGeom prst="rect">
                  <a:avLst/>
                </a:prstGeom>
                <a:solidFill>
                  <a:srgbClr val="99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7" name="Rectangle 1024"/>
                <p:cNvSpPr>
                  <a:spLocks noChangeArrowheads="1"/>
                </p:cNvSpPr>
                <p:nvPr/>
              </p:nvSpPr>
              <p:spPr bwMode="auto">
                <a:xfrm>
                  <a:off x="1604" y="2058"/>
                  <a:ext cx="11" cy="6"/>
                </a:xfrm>
                <a:prstGeom prst="rect">
                  <a:avLst/>
                </a:prstGeom>
                <a:solidFill>
                  <a:srgbClr val="99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8" name="Rectangle 1025"/>
                <p:cNvSpPr>
                  <a:spLocks noChangeArrowheads="1"/>
                </p:cNvSpPr>
                <p:nvPr/>
              </p:nvSpPr>
              <p:spPr bwMode="auto">
                <a:xfrm>
                  <a:off x="1448" y="1652"/>
                  <a:ext cx="7" cy="3"/>
                </a:xfrm>
                <a:prstGeom prst="rect">
                  <a:avLst/>
                </a:prstGeom>
                <a:solidFill>
                  <a:srgbClr val="99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99" name="Rectangle 1026"/>
                <p:cNvSpPr>
                  <a:spLocks noChangeArrowheads="1"/>
                </p:cNvSpPr>
                <p:nvPr/>
              </p:nvSpPr>
              <p:spPr bwMode="auto">
                <a:xfrm>
                  <a:off x="1498" y="1652"/>
                  <a:ext cx="7" cy="3"/>
                </a:xfrm>
                <a:prstGeom prst="rect">
                  <a:avLst/>
                </a:prstGeom>
                <a:solidFill>
                  <a:srgbClr val="FACA0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0" name="Rectangle 1027"/>
                <p:cNvSpPr>
                  <a:spLocks noChangeArrowheads="1"/>
                </p:cNvSpPr>
                <p:nvPr/>
              </p:nvSpPr>
              <p:spPr bwMode="auto">
                <a:xfrm>
                  <a:off x="1506" y="1652"/>
                  <a:ext cx="7" cy="3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1" name="Rectangle 1028"/>
                <p:cNvSpPr>
                  <a:spLocks noChangeArrowheads="1"/>
                </p:cNvSpPr>
                <p:nvPr/>
              </p:nvSpPr>
              <p:spPr bwMode="auto">
                <a:xfrm>
                  <a:off x="1386" y="1826"/>
                  <a:ext cx="7" cy="17"/>
                </a:xfrm>
                <a:prstGeom prst="rect">
                  <a:avLst/>
                </a:prstGeom>
                <a:solidFill>
                  <a:srgbClr val="99CC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2" name="Rectangle 1029"/>
                <p:cNvSpPr>
                  <a:spLocks noChangeArrowheads="1"/>
                </p:cNvSpPr>
                <p:nvPr/>
              </p:nvSpPr>
              <p:spPr bwMode="auto">
                <a:xfrm>
                  <a:off x="1266" y="1826"/>
                  <a:ext cx="7" cy="17"/>
                </a:xfrm>
                <a:prstGeom prst="rect">
                  <a:avLst/>
                </a:prstGeom>
                <a:solidFill>
                  <a:srgbClr val="FA69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3" name="Rectangle 1030"/>
                <p:cNvSpPr>
                  <a:spLocks noChangeArrowheads="1"/>
                </p:cNvSpPr>
                <p:nvPr/>
              </p:nvSpPr>
              <p:spPr bwMode="auto">
                <a:xfrm>
                  <a:off x="1327" y="2005"/>
                  <a:ext cx="11" cy="6"/>
                </a:xfrm>
                <a:prstGeom prst="rect">
                  <a:avLst/>
                </a:prstGeom>
                <a:solidFill>
                  <a:srgbClr val="FACA0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4" name="Rectangle 1031"/>
                <p:cNvSpPr>
                  <a:spLocks noChangeArrowheads="1"/>
                </p:cNvSpPr>
                <p:nvPr/>
              </p:nvSpPr>
              <p:spPr bwMode="auto">
                <a:xfrm>
                  <a:off x="1309" y="2005"/>
                  <a:ext cx="11" cy="6"/>
                </a:xfrm>
                <a:prstGeom prst="rect">
                  <a:avLst/>
                </a:prstGeom>
                <a:solidFill>
                  <a:srgbClr val="FA696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5" name="Rectangle 1032"/>
                <p:cNvSpPr>
                  <a:spLocks noChangeArrowheads="1"/>
                </p:cNvSpPr>
                <p:nvPr/>
              </p:nvSpPr>
              <p:spPr bwMode="auto">
                <a:xfrm>
                  <a:off x="1604" y="2005"/>
                  <a:ext cx="11" cy="6"/>
                </a:xfrm>
                <a:prstGeom prst="rect">
                  <a:avLst/>
                </a:prstGeom>
                <a:solidFill>
                  <a:srgbClr val="FF000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6" name="Freeform 1033"/>
                <p:cNvSpPr>
                  <a:spLocks/>
                </p:cNvSpPr>
                <p:nvPr/>
              </p:nvSpPr>
              <p:spPr bwMode="auto">
                <a:xfrm>
                  <a:off x="702" y="1700"/>
                  <a:ext cx="89" cy="264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1081"/>
                    </a:cxn>
                    <a:cxn ang="0">
                      <a:pos x="48" y="1075"/>
                    </a:cxn>
                    <a:cxn ang="0">
                      <a:pos x="48" y="1075"/>
                    </a:cxn>
                    <a:cxn ang="0">
                      <a:pos x="234" y="1075"/>
                    </a:cxn>
                    <a:cxn ang="0">
                      <a:pos x="364" y="1075"/>
                    </a:cxn>
                    <a:cxn ang="0">
                      <a:pos x="364" y="25"/>
                    </a:cxn>
                    <a:cxn ang="0">
                      <a:pos x="339" y="0"/>
                    </a:cxn>
                    <a:cxn ang="0">
                      <a:pos x="25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364" h="1081">
                      <a:moveTo>
                        <a:pt x="0" y="25"/>
                      </a:moveTo>
                      <a:lnTo>
                        <a:pt x="0" y="1081"/>
                      </a:lnTo>
                      <a:cubicBezTo>
                        <a:pt x="16" y="1077"/>
                        <a:pt x="32" y="1075"/>
                        <a:pt x="48" y="1075"/>
                      </a:cubicBezTo>
                      <a:lnTo>
                        <a:pt x="48" y="1075"/>
                      </a:lnTo>
                      <a:lnTo>
                        <a:pt x="234" y="1075"/>
                      </a:lnTo>
                      <a:lnTo>
                        <a:pt x="364" y="1075"/>
                      </a:lnTo>
                      <a:lnTo>
                        <a:pt x="364" y="25"/>
                      </a:lnTo>
                      <a:cubicBezTo>
                        <a:pt x="364" y="11"/>
                        <a:pt x="353" y="0"/>
                        <a:pt x="339" y="0"/>
                      </a:cubicBezTo>
                      <a:lnTo>
                        <a:pt x="25" y="0"/>
                      </a:lnTo>
                      <a:cubicBezTo>
                        <a:pt x="11" y="0"/>
                        <a:pt x="0" y="11"/>
                        <a:pt x="0" y="25"/>
                      </a:cubicBezTo>
                      <a:close/>
                    </a:path>
                  </a:pathLst>
                </a:custGeom>
                <a:solidFill>
                  <a:srgbClr val="37658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7" name="Freeform 1034"/>
                <p:cNvSpPr>
                  <a:spLocks/>
                </p:cNvSpPr>
                <p:nvPr/>
              </p:nvSpPr>
              <p:spPr bwMode="auto">
                <a:xfrm>
                  <a:off x="791" y="1700"/>
                  <a:ext cx="88" cy="264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1081"/>
                    </a:cxn>
                    <a:cxn ang="0">
                      <a:pos x="48" y="1076"/>
                    </a:cxn>
                    <a:cxn ang="0">
                      <a:pos x="48" y="1076"/>
                    </a:cxn>
                    <a:cxn ang="0">
                      <a:pos x="234" y="1076"/>
                    </a:cxn>
                    <a:cxn ang="0">
                      <a:pos x="364" y="1076"/>
                    </a:cxn>
                    <a:cxn ang="0">
                      <a:pos x="364" y="25"/>
                    </a:cxn>
                    <a:cxn ang="0">
                      <a:pos x="339" y="0"/>
                    </a:cxn>
                    <a:cxn ang="0">
                      <a:pos x="25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364" h="1081">
                      <a:moveTo>
                        <a:pt x="0" y="25"/>
                      </a:moveTo>
                      <a:lnTo>
                        <a:pt x="0" y="1081"/>
                      </a:lnTo>
                      <a:cubicBezTo>
                        <a:pt x="15" y="1078"/>
                        <a:pt x="31" y="1076"/>
                        <a:pt x="48" y="1076"/>
                      </a:cubicBezTo>
                      <a:lnTo>
                        <a:pt x="48" y="1076"/>
                      </a:lnTo>
                      <a:lnTo>
                        <a:pt x="234" y="1076"/>
                      </a:lnTo>
                      <a:lnTo>
                        <a:pt x="364" y="1076"/>
                      </a:lnTo>
                      <a:lnTo>
                        <a:pt x="364" y="25"/>
                      </a:lnTo>
                      <a:cubicBezTo>
                        <a:pt x="364" y="11"/>
                        <a:pt x="352" y="0"/>
                        <a:pt x="339" y="0"/>
                      </a:cubicBezTo>
                      <a:lnTo>
                        <a:pt x="25" y="0"/>
                      </a:lnTo>
                      <a:cubicBezTo>
                        <a:pt x="11" y="0"/>
                        <a:pt x="0" y="11"/>
                        <a:pt x="0" y="25"/>
                      </a:cubicBezTo>
                      <a:close/>
                    </a:path>
                  </a:pathLst>
                </a:custGeom>
                <a:solidFill>
                  <a:srgbClr val="FF973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8" name="Freeform 1035"/>
                <p:cNvSpPr>
                  <a:spLocks/>
                </p:cNvSpPr>
                <p:nvPr/>
              </p:nvSpPr>
              <p:spPr bwMode="auto">
                <a:xfrm>
                  <a:off x="614" y="1700"/>
                  <a:ext cx="88" cy="305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1081"/>
                    </a:cxn>
                    <a:cxn ang="0">
                      <a:pos x="113" y="1143"/>
                    </a:cxn>
                    <a:cxn ang="0">
                      <a:pos x="113" y="1143"/>
                    </a:cxn>
                    <a:cxn ang="0">
                      <a:pos x="173" y="1248"/>
                    </a:cxn>
                    <a:cxn ang="0">
                      <a:pos x="189" y="1248"/>
                    </a:cxn>
                    <a:cxn ang="0">
                      <a:pos x="249" y="1143"/>
                    </a:cxn>
                    <a:cxn ang="0">
                      <a:pos x="249" y="1143"/>
                    </a:cxn>
                    <a:cxn ang="0">
                      <a:pos x="364" y="1081"/>
                    </a:cxn>
                    <a:cxn ang="0">
                      <a:pos x="364" y="25"/>
                    </a:cxn>
                    <a:cxn ang="0">
                      <a:pos x="339" y="0"/>
                    </a:cxn>
                    <a:cxn ang="0">
                      <a:pos x="25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364" h="1248">
                      <a:moveTo>
                        <a:pt x="0" y="25"/>
                      </a:moveTo>
                      <a:lnTo>
                        <a:pt x="0" y="1081"/>
                      </a:lnTo>
                      <a:cubicBezTo>
                        <a:pt x="44" y="1091"/>
                        <a:pt x="83" y="1113"/>
                        <a:pt x="113" y="1143"/>
                      </a:cubicBezTo>
                      <a:lnTo>
                        <a:pt x="113" y="1143"/>
                      </a:lnTo>
                      <a:cubicBezTo>
                        <a:pt x="142" y="1172"/>
                        <a:pt x="163" y="1208"/>
                        <a:pt x="173" y="1248"/>
                      </a:cubicBezTo>
                      <a:lnTo>
                        <a:pt x="189" y="1248"/>
                      </a:lnTo>
                      <a:cubicBezTo>
                        <a:pt x="199" y="1208"/>
                        <a:pt x="220" y="1172"/>
                        <a:pt x="249" y="1143"/>
                      </a:cubicBezTo>
                      <a:lnTo>
                        <a:pt x="249" y="1143"/>
                      </a:lnTo>
                      <a:cubicBezTo>
                        <a:pt x="280" y="1112"/>
                        <a:pt x="320" y="1090"/>
                        <a:pt x="364" y="1081"/>
                      </a:cubicBezTo>
                      <a:lnTo>
                        <a:pt x="364" y="25"/>
                      </a:lnTo>
                      <a:cubicBezTo>
                        <a:pt x="364" y="11"/>
                        <a:pt x="353" y="0"/>
                        <a:pt x="339" y="0"/>
                      </a:cubicBezTo>
                      <a:lnTo>
                        <a:pt x="25" y="0"/>
                      </a:lnTo>
                      <a:cubicBezTo>
                        <a:pt x="11" y="0"/>
                        <a:pt x="0" y="11"/>
                        <a:pt x="0" y="25"/>
                      </a:cubicBezTo>
                      <a:close/>
                    </a:path>
                  </a:pathLst>
                </a:custGeom>
                <a:solidFill>
                  <a:srgbClr val="37658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09" name="Freeform 1036"/>
                <p:cNvSpPr>
                  <a:spLocks/>
                </p:cNvSpPr>
                <p:nvPr/>
              </p:nvSpPr>
              <p:spPr bwMode="auto">
                <a:xfrm>
                  <a:off x="526" y="1700"/>
                  <a:ext cx="88" cy="264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1075"/>
                    </a:cxn>
                    <a:cxn ang="0">
                      <a:pos x="314" y="1075"/>
                    </a:cxn>
                    <a:cxn ang="0">
                      <a:pos x="314" y="1075"/>
                    </a:cxn>
                    <a:cxn ang="0">
                      <a:pos x="364" y="1081"/>
                    </a:cxn>
                    <a:cxn ang="0">
                      <a:pos x="364" y="25"/>
                    </a:cxn>
                    <a:cxn ang="0">
                      <a:pos x="339" y="0"/>
                    </a:cxn>
                    <a:cxn ang="0">
                      <a:pos x="25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364" h="1081">
                      <a:moveTo>
                        <a:pt x="0" y="25"/>
                      </a:moveTo>
                      <a:lnTo>
                        <a:pt x="0" y="1075"/>
                      </a:lnTo>
                      <a:lnTo>
                        <a:pt x="314" y="1075"/>
                      </a:lnTo>
                      <a:lnTo>
                        <a:pt x="314" y="1075"/>
                      </a:lnTo>
                      <a:cubicBezTo>
                        <a:pt x="331" y="1075"/>
                        <a:pt x="348" y="1077"/>
                        <a:pt x="364" y="1081"/>
                      </a:cubicBezTo>
                      <a:lnTo>
                        <a:pt x="364" y="25"/>
                      </a:lnTo>
                      <a:cubicBezTo>
                        <a:pt x="364" y="11"/>
                        <a:pt x="353" y="0"/>
                        <a:pt x="339" y="0"/>
                      </a:cubicBezTo>
                      <a:lnTo>
                        <a:pt x="25" y="0"/>
                      </a:lnTo>
                      <a:cubicBezTo>
                        <a:pt x="12" y="0"/>
                        <a:pt x="0" y="11"/>
                        <a:pt x="0" y="25"/>
                      </a:cubicBezTo>
                      <a:close/>
                    </a:path>
                  </a:pathLst>
                </a:custGeom>
                <a:solidFill>
                  <a:srgbClr val="7391C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0" name="Freeform 1037"/>
                <p:cNvSpPr>
                  <a:spLocks/>
                </p:cNvSpPr>
                <p:nvPr/>
              </p:nvSpPr>
              <p:spPr bwMode="auto">
                <a:xfrm>
                  <a:off x="702" y="1700"/>
                  <a:ext cx="45" cy="264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1081"/>
                    </a:cxn>
                    <a:cxn ang="0">
                      <a:pos x="48" y="1075"/>
                    </a:cxn>
                    <a:cxn ang="0">
                      <a:pos x="48" y="1075"/>
                    </a:cxn>
                    <a:cxn ang="0">
                      <a:pos x="182" y="1075"/>
                    </a:cxn>
                    <a:cxn ang="0">
                      <a:pos x="182" y="0"/>
                    </a:cxn>
                    <a:cxn ang="0">
                      <a:pos x="25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182" h="1081">
                      <a:moveTo>
                        <a:pt x="0" y="25"/>
                      </a:moveTo>
                      <a:lnTo>
                        <a:pt x="0" y="1081"/>
                      </a:lnTo>
                      <a:cubicBezTo>
                        <a:pt x="16" y="1077"/>
                        <a:pt x="32" y="1075"/>
                        <a:pt x="48" y="1075"/>
                      </a:cubicBezTo>
                      <a:lnTo>
                        <a:pt x="48" y="1075"/>
                      </a:lnTo>
                      <a:lnTo>
                        <a:pt x="182" y="1075"/>
                      </a:lnTo>
                      <a:lnTo>
                        <a:pt x="182" y="0"/>
                      </a:lnTo>
                      <a:lnTo>
                        <a:pt x="25" y="0"/>
                      </a:lnTo>
                      <a:cubicBezTo>
                        <a:pt x="11" y="0"/>
                        <a:pt x="0" y="11"/>
                        <a:pt x="0" y="25"/>
                      </a:cubicBezTo>
                      <a:close/>
                    </a:path>
                  </a:pathLst>
                </a:custGeom>
                <a:solidFill>
                  <a:srgbClr val="2C52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1" name="Freeform 1038"/>
                <p:cNvSpPr>
                  <a:spLocks/>
                </p:cNvSpPr>
                <p:nvPr/>
              </p:nvSpPr>
              <p:spPr bwMode="auto">
                <a:xfrm>
                  <a:off x="791" y="1700"/>
                  <a:ext cx="44" cy="264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1081"/>
                    </a:cxn>
                    <a:cxn ang="0">
                      <a:pos x="48" y="1076"/>
                    </a:cxn>
                    <a:cxn ang="0">
                      <a:pos x="48" y="1076"/>
                    </a:cxn>
                    <a:cxn ang="0">
                      <a:pos x="182" y="1076"/>
                    </a:cxn>
                    <a:cxn ang="0">
                      <a:pos x="182" y="0"/>
                    </a:cxn>
                    <a:cxn ang="0">
                      <a:pos x="25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182" h="1081">
                      <a:moveTo>
                        <a:pt x="0" y="25"/>
                      </a:moveTo>
                      <a:lnTo>
                        <a:pt x="0" y="1081"/>
                      </a:lnTo>
                      <a:cubicBezTo>
                        <a:pt x="15" y="1078"/>
                        <a:pt x="31" y="1076"/>
                        <a:pt x="48" y="1076"/>
                      </a:cubicBezTo>
                      <a:lnTo>
                        <a:pt x="48" y="1076"/>
                      </a:lnTo>
                      <a:lnTo>
                        <a:pt x="182" y="1076"/>
                      </a:lnTo>
                      <a:lnTo>
                        <a:pt x="182" y="0"/>
                      </a:lnTo>
                      <a:lnTo>
                        <a:pt x="25" y="0"/>
                      </a:lnTo>
                      <a:cubicBezTo>
                        <a:pt x="11" y="0"/>
                        <a:pt x="0" y="11"/>
                        <a:pt x="0" y="25"/>
                      </a:cubicBezTo>
                      <a:close/>
                    </a:path>
                  </a:pathLst>
                </a:custGeom>
                <a:solidFill>
                  <a:srgbClr val="FF973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2" name="Freeform 1039"/>
                <p:cNvSpPr>
                  <a:spLocks/>
                </p:cNvSpPr>
                <p:nvPr/>
              </p:nvSpPr>
              <p:spPr bwMode="auto">
                <a:xfrm>
                  <a:off x="614" y="1700"/>
                  <a:ext cx="44" cy="305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1081"/>
                    </a:cxn>
                    <a:cxn ang="0">
                      <a:pos x="113" y="1143"/>
                    </a:cxn>
                    <a:cxn ang="0">
                      <a:pos x="113" y="1143"/>
                    </a:cxn>
                    <a:cxn ang="0">
                      <a:pos x="173" y="1248"/>
                    </a:cxn>
                    <a:cxn ang="0">
                      <a:pos x="182" y="1248"/>
                    </a:cxn>
                    <a:cxn ang="0">
                      <a:pos x="182" y="0"/>
                    </a:cxn>
                    <a:cxn ang="0">
                      <a:pos x="25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182" h="1248">
                      <a:moveTo>
                        <a:pt x="0" y="25"/>
                      </a:moveTo>
                      <a:lnTo>
                        <a:pt x="0" y="1081"/>
                      </a:lnTo>
                      <a:cubicBezTo>
                        <a:pt x="44" y="1091"/>
                        <a:pt x="83" y="1113"/>
                        <a:pt x="113" y="1143"/>
                      </a:cubicBezTo>
                      <a:lnTo>
                        <a:pt x="113" y="1143"/>
                      </a:lnTo>
                      <a:cubicBezTo>
                        <a:pt x="142" y="1172"/>
                        <a:pt x="163" y="1208"/>
                        <a:pt x="173" y="1248"/>
                      </a:cubicBezTo>
                      <a:lnTo>
                        <a:pt x="182" y="1248"/>
                      </a:lnTo>
                      <a:lnTo>
                        <a:pt x="182" y="0"/>
                      </a:lnTo>
                      <a:lnTo>
                        <a:pt x="25" y="0"/>
                      </a:lnTo>
                      <a:cubicBezTo>
                        <a:pt x="11" y="0"/>
                        <a:pt x="0" y="11"/>
                        <a:pt x="0" y="25"/>
                      </a:cubicBezTo>
                      <a:close/>
                    </a:path>
                  </a:pathLst>
                </a:custGeom>
                <a:solidFill>
                  <a:srgbClr val="2C52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3" name="Freeform 1040"/>
                <p:cNvSpPr>
                  <a:spLocks/>
                </p:cNvSpPr>
                <p:nvPr/>
              </p:nvSpPr>
              <p:spPr bwMode="auto">
                <a:xfrm>
                  <a:off x="526" y="1700"/>
                  <a:ext cx="44" cy="263"/>
                </a:xfrm>
                <a:custGeom>
                  <a:avLst/>
                  <a:gdLst/>
                  <a:ahLst/>
                  <a:cxnLst>
                    <a:cxn ang="0">
                      <a:pos x="0" y="25"/>
                    </a:cxn>
                    <a:cxn ang="0">
                      <a:pos x="0" y="1075"/>
                    </a:cxn>
                    <a:cxn ang="0">
                      <a:pos x="182" y="1075"/>
                    </a:cxn>
                    <a:cxn ang="0">
                      <a:pos x="182" y="0"/>
                    </a:cxn>
                    <a:cxn ang="0">
                      <a:pos x="25" y="0"/>
                    </a:cxn>
                    <a:cxn ang="0">
                      <a:pos x="0" y="25"/>
                    </a:cxn>
                  </a:cxnLst>
                  <a:rect l="0" t="0" r="r" b="b"/>
                  <a:pathLst>
                    <a:path w="182" h="1075">
                      <a:moveTo>
                        <a:pt x="0" y="25"/>
                      </a:moveTo>
                      <a:lnTo>
                        <a:pt x="0" y="1075"/>
                      </a:lnTo>
                      <a:lnTo>
                        <a:pt x="182" y="1075"/>
                      </a:lnTo>
                      <a:lnTo>
                        <a:pt x="182" y="0"/>
                      </a:lnTo>
                      <a:lnTo>
                        <a:pt x="25" y="0"/>
                      </a:lnTo>
                      <a:cubicBezTo>
                        <a:pt x="12" y="0"/>
                        <a:pt x="0" y="11"/>
                        <a:pt x="0" y="25"/>
                      </a:cubicBezTo>
                      <a:close/>
                    </a:path>
                  </a:pathLst>
                </a:custGeom>
                <a:solidFill>
                  <a:srgbClr val="92ACD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4" name="Rectangle 1041"/>
                <p:cNvSpPr>
                  <a:spLocks noChangeArrowheads="1"/>
                </p:cNvSpPr>
                <p:nvPr/>
              </p:nvSpPr>
              <p:spPr bwMode="auto">
                <a:xfrm>
                  <a:off x="708" y="1741"/>
                  <a:ext cx="77" cy="36"/>
                </a:xfrm>
                <a:prstGeom prst="rect">
                  <a:avLst/>
                </a:prstGeom>
                <a:solidFill>
                  <a:srgbClr val="F2AE3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5" name="Rectangle 1042"/>
                <p:cNvSpPr>
                  <a:spLocks noChangeArrowheads="1"/>
                </p:cNvSpPr>
                <p:nvPr/>
              </p:nvSpPr>
              <p:spPr bwMode="auto">
                <a:xfrm>
                  <a:off x="708" y="1728"/>
                  <a:ext cx="77" cy="9"/>
                </a:xfrm>
                <a:prstGeom prst="rect">
                  <a:avLst/>
                </a:prstGeom>
                <a:solidFill>
                  <a:srgbClr val="FFD07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6" name="Rectangle 1043"/>
                <p:cNvSpPr>
                  <a:spLocks noChangeArrowheads="1"/>
                </p:cNvSpPr>
                <p:nvPr/>
              </p:nvSpPr>
              <p:spPr bwMode="auto">
                <a:xfrm>
                  <a:off x="796" y="1742"/>
                  <a:ext cx="78" cy="35"/>
                </a:xfrm>
                <a:prstGeom prst="rect">
                  <a:avLst/>
                </a:prstGeom>
                <a:solidFill>
                  <a:srgbClr val="F2AE3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7" name="Rectangle 1044"/>
                <p:cNvSpPr>
                  <a:spLocks noChangeArrowheads="1"/>
                </p:cNvSpPr>
                <p:nvPr/>
              </p:nvSpPr>
              <p:spPr bwMode="auto">
                <a:xfrm>
                  <a:off x="796" y="1729"/>
                  <a:ext cx="78" cy="8"/>
                </a:xfrm>
                <a:prstGeom prst="rect">
                  <a:avLst/>
                </a:prstGeom>
                <a:solidFill>
                  <a:srgbClr val="FFD07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8" name="Rectangle 1045"/>
                <p:cNvSpPr>
                  <a:spLocks noChangeArrowheads="1"/>
                </p:cNvSpPr>
                <p:nvPr/>
              </p:nvSpPr>
              <p:spPr bwMode="auto">
                <a:xfrm>
                  <a:off x="619" y="1741"/>
                  <a:ext cx="78" cy="36"/>
                </a:xfrm>
                <a:prstGeom prst="rect">
                  <a:avLst/>
                </a:prstGeom>
                <a:solidFill>
                  <a:srgbClr val="F2AE3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19" name="Rectangle 1046"/>
                <p:cNvSpPr>
                  <a:spLocks noChangeArrowheads="1"/>
                </p:cNvSpPr>
                <p:nvPr/>
              </p:nvSpPr>
              <p:spPr bwMode="auto">
                <a:xfrm>
                  <a:off x="619" y="1728"/>
                  <a:ext cx="78" cy="9"/>
                </a:xfrm>
                <a:prstGeom prst="rect">
                  <a:avLst/>
                </a:prstGeom>
                <a:solidFill>
                  <a:srgbClr val="FFD07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0" name="Rectangle 1047"/>
                <p:cNvSpPr>
                  <a:spLocks noChangeArrowheads="1"/>
                </p:cNvSpPr>
                <p:nvPr/>
              </p:nvSpPr>
              <p:spPr bwMode="auto">
                <a:xfrm>
                  <a:off x="531" y="1741"/>
                  <a:ext cx="78" cy="36"/>
                </a:xfrm>
                <a:prstGeom prst="rect">
                  <a:avLst/>
                </a:prstGeom>
                <a:solidFill>
                  <a:srgbClr val="F2AE3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1" name="Rectangle 1048"/>
                <p:cNvSpPr>
                  <a:spLocks noChangeArrowheads="1"/>
                </p:cNvSpPr>
                <p:nvPr/>
              </p:nvSpPr>
              <p:spPr bwMode="auto">
                <a:xfrm>
                  <a:off x="531" y="1728"/>
                  <a:ext cx="78" cy="9"/>
                </a:xfrm>
                <a:prstGeom prst="rect">
                  <a:avLst/>
                </a:prstGeom>
                <a:solidFill>
                  <a:srgbClr val="FFD07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2" name="Rectangle 1049"/>
                <p:cNvSpPr>
                  <a:spLocks noChangeArrowheads="1"/>
                </p:cNvSpPr>
                <p:nvPr/>
              </p:nvSpPr>
              <p:spPr bwMode="auto">
                <a:xfrm>
                  <a:off x="708" y="1741"/>
                  <a:ext cx="39" cy="36"/>
                </a:xfrm>
                <a:prstGeom prst="rect">
                  <a:avLst/>
                </a:prstGeom>
                <a:solidFill>
                  <a:srgbClr val="FFD07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3" name="Rectangle 1050"/>
                <p:cNvSpPr>
                  <a:spLocks noChangeArrowheads="1"/>
                </p:cNvSpPr>
                <p:nvPr/>
              </p:nvSpPr>
              <p:spPr bwMode="auto">
                <a:xfrm>
                  <a:off x="708" y="1728"/>
                  <a:ext cx="39" cy="9"/>
                </a:xfrm>
                <a:prstGeom prst="rect">
                  <a:avLst/>
                </a:prstGeom>
                <a:solidFill>
                  <a:srgbClr val="FFEA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4" name="Rectangle 1051"/>
                <p:cNvSpPr>
                  <a:spLocks noChangeArrowheads="1"/>
                </p:cNvSpPr>
                <p:nvPr/>
              </p:nvSpPr>
              <p:spPr bwMode="auto">
                <a:xfrm>
                  <a:off x="796" y="1742"/>
                  <a:ext cx="39" cy="35"/>
                </a:xfrm>
                <a:prstGeom prst="rect">
                  <a:avLst/>
                </a:prstGeom>
                <a:solidFill>
                  <a:srgbClr val="FFD07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5" name="Rectangle 1052"/>
                <p:cNvSpPr>
                  <a:spLocks noChangeArrowheads="1"/>
                </p:cNvSpPr>
                <p:nvPr/>
              </p:nvSpPr>
              <p:spPr bwMode="auto">
                <a:xfrm>
                  <a:off x="796" y="1729"/>
                  <a:ext cx="39" cy="8"/>
                </a:xfrm>
                <a:prstGeom prst="rect">
                  <a:avLst/>
                </a:prstGeom>
                <a:solidFill>
                  <a:srgbClr val="FFEA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6" name="Rectangle 1053"/>
                <p:cNvSpPr>
                  <a:spLocks noChangeArrowheads="1"/>
                </p:cNvSpPr>
                <p:nvPr/>
              </p:nvSpPr>
              <p:spPr bwMode="auto">
                <a:xfrm>
                  <a:off x="619" y="1741"/>
                  <a:ext cx="39" cy="36"/>
                </a:xfrm>
                <a:prstGeom prst="rect">
                  <a:avLst/>
                </a:prstGeom>
                <a:solidFill>
                  <a:srgbClr val="FFD07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7" name="Rectangle 1054"/>
                <p:cNvSpPr>
                  <a:spLocks noChangeArrowheads="1"/>
                </p:cNvSpPr>
                <p:nvPr/>
              </p:nvSpPr>
              <p:spPr bwMode="auto">
                <a:xfrm>
                  <a:off x="619" y="1728"/>
                  <a:ext cx="39" cy="9"/>
                </a:xfrm>
                <a:prstGeom prst="rect">
                  <a:avLst/>
                </a:prstGeom>
                <a:solidFill>
                  <a:srgbClr val="FFEA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8" name="Rectangle 1055"/>
                <p:cNvSpPr>
                  <a:spLocks noChangeArrowheads="1"/>
                </p:cNvSpPr>
                <p:nvPr/>
              </p:nvSpPr>
              <p:spPr bwMode="auto">
                <a:xfrm>
                  <a:off x="531" y="1741"/>
                  <a:ext cx="39" cy="36"/>
                </a:xfrm>
                <a:prstGeom prst="rect">
                  <a:avLst/>
                </a:prstGeom>
                <a:solidFill>
                  <a:srgbClr val="FFD078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29" name="Rectangle 1056"/>
                <p:cNvSpPr>
                  <a:spLocks noChangeArrowheads="1"/>
                </p:cNvSpPr>
                <p:nvPr/>
              </p:nvSpPr>
              <p:spPr bwMode="auto">
                <a:xfrm>
                  <a:off x="531" y="1728"/>
                  <a:ext cx="39" cy="9"/>
                </a:xfrm>
                <a:prstGeom prst="rect">
                  <a:avLst/>
                </a:prstGeom>
                <a:solidFill>
                  <a:srgbClr val="FFEA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0" name="Freeform 1057"/>
                <p:cNvSpPr>
                  <a:spLocks noEditPoints="1"/>
                </p:cNvSpPr>
                <p:nvPr/>
              </p:nvSpPr>
              <p:spPr bwMode="auto">
                <a:xfrm>
                  <a:off x="374" y="1696"/>
                  <a:ext cx="152" cy="430"/>
                </a:xfrm>
                <a:custGeom>
                  <a:avLst/>
                  <a:gdLst/>
                  <a:ahLst/>
                  <a:cxnLst>
                    <a:cxn ang="0">
                      <a:pos x="264" y="23"/>
                    </a:cxn>
                    <a:cxn ang="0">
                      <a:pos x="95" y="1091"/>
                    </a:cxn>
                    <a:cxn ang="0">
                      <a:pos x="463" y="1091"/>
                    </a:cxn>
                    <a:cxn ang="0">
                      <a:pos x="623" y="79"/>
                    </a:cxn>
                    <a:cxn ang="0">
                      <a:pos x="602" y="51"/>
                    </a:cxn>
                    <a:cxn ang="0">
                      <a:pos x="292" y="2"/>
                    </a:cxn>
                    <a:cxn ang="0">
                      <a:pos x="264" y="23"/>
                    </a:cxn>
                    <a:cxn ang="0">
                      <a:pos x="51" y="1373"/>
                    </a:cxn>
                    <a:cxn ang="0">
                      <a:pos x="3" y="1679"/>
                    </a:cxn>
                    <a:cxn ang="0">
                      <a:pos x="23" y="1708"/>
                    </a:cxn>
                    <a:cxn ang="0">
                      <a:pos x="334" y="1756"/>
                    </a:cxn>
                    <a:cxn ang="0">
                      <a:pos x="362" y="1736"/>
                    </a:cxn>
                    <a:cxn ang="0">
                      <a:pos x="419" y="1373"/>
                    </a:cxn>
                    <a:cxn ang="0">
                      <a:pos x="51" y="1373"/>
                    </a:cxn>
                  </a:cxnLst>
                  <a:rect l="0" t="0" r="r" b="b"/>
                  <a:pathLst>
                    <a:path w="625" h="1759">
                      <a:moveTo>
                        <a:pt x="264" y="23"/>
                      </a:moveTo>
                      <a:lnTo>
                        <a:pt x="95" y="1091"/>
                      </a:lnTo>
                      <a:lnTo>
                        <a:pt x="463" y="1091"/>
                      </a:lnTo>
                      <a:lnTo>
                        <a:pt x="623" y="79"/>
                      </a:lnTo>
                      <a:cubicBezTo>
                        <a:pt x="625" y="66"/>
                        <a:pt x="616" y="53"/>
                        <a:pt x="602" y="51"/>
                      </a:cubicBezTo>
                      <a:lnTo>
                        <a:pt x="292" y="2"/>
                      </a:lnTo>
                      <a:cubicBezTo>
                        <a:pt x="278" y="0"/>
                        <a:pt x="266" y="9"/>
                        <a:pt x="264" y="23"/>
                      </a:cubicBezTo>
                      <a:close/>
                      <a:moveTo>
                        <a:pt x="51" y="1373"/>
                      </a:moveTo>
                      <a:lnTo>
                        <a:pt x="3" y="1679"/>
                      </a:lnTo>
                      <a:cubicBezTo>
                        <a:pt x="0" y="1693"/>
                        <a:pt x="10" y="1705"/>
                        <a:pt x="23" y="1708"/>
                      </a:cubicBezTo>
                      <a:lnTo>
                        <a:pt x="334" y="1756"/>
                      </a:lnTo>
                      <a:cubicBezTo>
                        <a:pt x="347" y="1759"/>
                        <a:pt x="360" y="1749"/>
                        <a:pt x="362" y="1736"/>
                      </a:cubicBezTo>
                      <a:lnTo>
                        <a:pt x="419" y="1373"/>
                      </a:lnTo>
                      <a:lnTo>
                        <a:pt x="51" y="1373"/>
                      </a:lnTo>
                      <a:close/>
                    </a:path>
                  </a:pathLst>
                </a:custGeom>
                <a:solidFill>
                  <a:srgbClr val="2C526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1" name="Freeform 1058"/>
                <p:cNvSpPr>
                  <a:spLocks noEditPoints="1"/>
                </p:cNvSpPr>
                <p:nvPr/>
              </p:nvSpPr>
              <p:spPr bwMode="auto">
                <a:xfrm>
                  <a:off x="374" y="1696"/>
                  <a:ext cx="109" cy="423"/>
                </a:xfrm>
                <a:custGeom>
                  <a:avLst/>
                  <a:gdLst/>
                  <a:ahLst/>
                  <a:cxnLst>
                    <a:cxn ang="0">
                      <a:pos x="264" y="23"/>
                    </a:cxn>
                    <a:cxn ang="0">
                      <a:pos x="95" y="1091"/>
                    </a:cxn>
                    <a:cxn ang="0">
                      <a:pos x="279" y="1091"/>
                    </a:cxn>
                    <a:cxn ang="0">
                      <a:pos x="447" y="26"/>
                    </a:cxn>
                    <a:cxn ang="0">
                      <a:pos x="292" y="2"/>
                    </a:cxn>
                    <a:cxn ang="0">
                      <a:pos x="264" y="23"/>
                    </a:cxn>
                    <a:cxn ang="0">
                      <a:pos x="51" y="1373"/>
                    </a:cxn>
                    <a:cxn ang="0">
                      <a:pos x="3" y="1679"/>
                    </a:cxn>
                    <a:cxn ang="0">
                      <a:pos x="23" y="1708"/>
                    </a:cxn>
                    <a:cxn ang="0">
                      <a:pos x="178" y="1732"/>
                    </a:cxn>
                    <a:cxn ang="0">
                      <a:pos x="235" y="1373"/>
                    </a:cxn>
                    <a:cxn ang="0">
                      <a:pos x="51" y="1373"/>
                    </a:cxn>
                  </a:cxnLst>
                  <a:rect l="0" t="0" r="r" b="b"/>
                  <a:pathLst>
                    <a:path w="447" h="1732">
                      <a:moveTo>
                        <a:pt x="264" y="23"/>
                      </a:moveTo>
                      <a:lnTo>
                        <a:pt x="95" y="1091"/>
                      </a:lnTo>
                      <a:lnTo>
                        <a:pt x="279" y="1091"/>
                      </a:lnTo>
                      <a:lnTo>
                        <a:pt x="447" y="26"/>
                      </a:lnTo>
                      <a:lnTo>
                        <a:pt x="292" y="2"/>
                      </a:lnTo>
                      <a:cubicBezTo>
                        <a:pt x="278" y="0"/>
                        <a:pt x="266" y="9"/>
                        <a:pt x="264" y="23"/>
                      </a:cubicBezTo>
                      <a:close/>
                      <a:moveTo>
                        <a:pt x="51" y="1373"/>
                      </a:moveTo>
                      <a:lnTo>
                        <a:pt x="3" y="1679"/>
                      </a:lnTo>
                      <a:cubicBezTo>
                        <a:pt x="0" y="1693"/>
                        <a:pt x="10" y="1705"/>
                        <a:pt x="23" y="1708"/>
                      </a:cubicBezTo>
                      <a:lnTo>
                        <a:pt x="178" y="1732"/>
                      </a:lnTo>
                      <a:lnTo>
                        <a:pt x="235" y="1373"/>
                      </a:lnTo>
                      <a:lnTo>
                        <a:pt x="51" y="1373"/>
                      </a:lnTo>
                      <a:close/>
                    </a:path>
                  </a:pathLst>
                </a:custGeom>
                <a:solidFill>
                  <a:srgbClr val="37658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2" name="Freeform 1059"/>
                <p:cNvSpPr>
                  <a:spLocks/>
                </p:cNvSpPr>
                <p:nvPr/>
              </p:nvSpPr>
              <p:spPr bwMode="auto">
                <a:xfrm>
                  <a:off x="385" y="2043"/>
                  <a:ext cx="82" cy="47"/>
                </a:xfrm>
                <a:custGeom>
                  <a:avLst/>
                  <a:gdLst/>
                  <a:ahLst/>
                  <a:cxnLst>
                    <a:cxn ang="0">
                      <a:pos x="23" y="0"/>
                    </a:cxn>
                    <a:cxn ang="0">
                      <a:pos x="0" y="143"/>
                    </a:cxn>
                    <a:cxn ang="0">
                      <a:pos x="316" y="193"/>
                    </a:cxn>
                    <a:cxn ang="0">
                      <a:pos x="338" y="49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338" h="193">
                      <a:moveTo>
                        <a:pt x="23" y="0"/>
                      </a:moveTo>
                      <a:lnTo>
                        <a:pt x="0" y="143"/>
                      </a:lnTo>
                      <a:lnTo>
                        <a:pt x="316" y="193"/>
                      </a:lnTo>
                      <a:lnTo>
                        <a:pt x="338" y="49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F2AE3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3" name="Freeform 1060"/>
                <p:cNvSpPr>
                  <a:spLocks/>
                </p:cNvSpPr>
                <p:nvPr/>
              </p:nvSpPr>
              <p:spPr bwMode="auto">
                <a:xfrm>
                  <a:off x="433" y="1737"/>
                  <a:ext cx="82" cy="48"/>
                </a:xfrm>
                <a:custGeom>
                  <a:avLst/>
                  <a:gdLst/>
                  <a:ahLst/>
                  <a:cxnLst>
                    <a:cxn ang="0">
                      <a:pos x="23" y="0"/>
                    </a:cxn>
                    <a:cxn ang="0">
                      <a:pos x="0" y="143"/>
                    </a:cxn>
                    <a:cxn ang="0">
                      <a:pos x="316" y="193"/>
                    </a:cxn>
                    <a:cxn ang="0">
                      <a:pos x="338" y="5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338" h="193">
                      <a:moveTo>
                        <a:pt x="23" y="0"/>
                      </a:moveTo>
                      <a:lnTo>
                        <a:pt x="0" y="143"/>
                      </a:lnTo>
                      <a:lnTo>
                        <a:pt x="316" y="193"/>
                      </a:lnTo>
                      <a:lnTo>
                        <a:pt x="338" y="50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F2AE3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4" name="Freeform 1061"/>
                <p:cNvSpPr>
                  <a:spLocks/>
                </p:cNvSpPr>
                <p:nvPr/>
              </p:nvSpPr>
              <p:spPr bwMode="auto">
                <a:xfrm>
                  <a:off x="391" y="2032"/>
                  <a:ext cx="78" cy="19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29"/>
                    </a:cxn>
                    <a:cxn ang="0">
                      <a:pos x="315" y="79"/>
                    </a:cxn>
                    <a:cxn ang="0">
                      <a:pos x="321" y="44"/>
                    </a:cxn>
                    <a:cxn ang="0">
                      <a:pos x="43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321" h="79">
                      <a:moveTo>
                        <a:pt x="4" y="0"/>
                      </a:moveTo>
                      <a:lnTo>
                        <a:pt x="0" y="29"/>
                      </a:lnTo>
                      <a:lnTo>
                        <a:pt x="315" y="79"/>
                      </a:lnTo>
                      <a:lnTo>
                        <a:pt x="321" y="44"/>
                      </a:lnTo>
                      <a:lnTo>
                        <a:pt x="43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D0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5" name="Freeform 1062"/>
                <p:cNvSpPr>
                  <a:spLocks/>
                </p:cNvSpPr>
                <p:nvPr/>
              </p:nvSpPr>
              <p:spPr bwMode="auto">
                <a:xfrm>
                  <a:off x="439" y="1724"/>
                  <a:ext cx="78" cy="21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34"/>
                    </a:cxn>
                    <a:cxn ang="0">
                      <a:pos x="315" y="84"/>
                    </a:cxn>
                    <a:cxn ang="0">
                      <a:pos x="321" y="49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321" h="84">
                      <a:moveTo>
                        <a:pt x="5" y="0"/>
                      </a:moveTo>
                      <a:lnTo>
                        <a:pt x="0" y="34"/>
                      </a:lnTo>
                      <a:lnTo>
                        <a:pt x="315" y="84"/>
                      </a:lnTo>
                      <a:lnTo>
                        <a:pt x="321" y="49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D0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6" name="Freeform 1063"/>
                <p:cNvSpPr>
                  <a:spLocks/>
                </p:cNvSpPr>
                <p:nvPr/>
              </p:nvSpPr>
              <p:spPr bwMode="auto">
                <a:xfrm>
                  <a:off x="385" y="2043"/>
                  <a:ext cx="44" cy="41"/>
                </a:xfrm>
                <a:custGeom>
                  <a:avLst/>
                  <a:gdLst/>
                  <a:ahLst/>
                  <a:cxnLst>
                    <a:cxn ang="0">
                      <a:pos x="23" y="0"/>
                    </a:cxn>
                    <a:cxn ang="0">
                      <a:pos x="0" y="143"/>
                    </a:cxn>
                    <a:cxn ang="0">
                      <a:pos x="158" y="168"/>
                    </a:cxn>
                    <a:cxn ang="0">
                      <a:pos x="181" y="24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181" h="168">
                      <a:moveTo>
                        <a:pt x="23" y="0"/>
                      </a:moveTo>
                      <a:lnTo>
                        <a:pt x="0" y="143"/>
                      </a:lnTo>
                      <a:lnTo>
                        <a:pt x="158" y="168"/>
                      </a:lnTo>
                      <a:lnTo>
                        <a:pt x="181" y="24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FFD0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7" name="Freeform 1064"/>
                <p:cNvSpPr>
                  <a:spLocks/>
                </p:cNvSpPr>
                <p:nvPr/>
              </p:nvSpPr>
              <p:spPr bwMode="auto">
                <a:xfrm>
                  <a:off x="433" y="1737"/>
                  <a:ext cx="44" cy="42"/>
                </a:xfrm>
                <a:custGeom>
                  <a:avLst/>
                  <a:gdLst/>
                  <a:ahLst/>
                  <a:cxnLst>
                    <a:cxn ang="0">
                      <a:pos x="23" y="0"/>
                    </a:cxn>
                    <a:cxn ang="0">
                      <a:pos x="0" y="143"/>
                    </a:cxn>
                    <a:cxn ang="0">
                      <a:pos x="158" y="168"/>
                    </a:cxn>
                    <a:cxn ang="0">
                      <a:pos x="181" y="25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181" h="168">
                      <a:moveTo>
                        <a:pt x="23" y="0"/>
                      </a:moveTo>
                      <a:lnTo>
                        <a:pt x="0" y="143"/>
                      </a:lnTo>
                      <a:lnTo>
                        <a:pt x="158" y="168"/>
                      </a:lnTo>
                      <a:lnTo>
                        <a:pt x="181" y="25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FFD0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8" name="Freeform 1065"/>
                <p:cNvSpPr>
                  <a:spLocks/>
                </p:cNvSpPr>
                <p:nvPr/>
              </p:nvSpPr>
              <p:spPr bwMode="auto">
                <a:xfrm>
                  <a:off x="391" y="2032"/>
                  <a:ext cx="40" cy="1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29"/>
                    </a:cxn>
                    <a:cxn ang="0">
                      <a:pos x="158" y="54"/>
                    </a:cxn>
                    <a:cxn ang="0">
                      <a:pos x="163" y="19"/>
                    </a:cxn>
                    <a:cxn ang="0">
                      <a:pos x="43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163" h="54">
                      <a:moveTo>
                        <a:pt x="4" y="0"/>
                      </a:moveTo>
                      <a:lnTo>
                        <a:pt x="0" y="29"/>
                      </a:lnTo>
                      <a:lnTo>
                        <a:pt x="158" y="54"/>
                      </a:lnTo>
                      <a:lnTo>
                        <a:pt x="163" y="19"/>
                      </a:lnTo>
                      <a:lnTo>
                        <a:pt x="43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EA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39" name="Freeform 1066"/>
                <p:cNvSpPr>
                  <a:spLocks/>
                </p:cNvSpPr>
                <p:nvPr/>
              </p:nvSpPr>
              <p:spPr bwMode="auto">
                <a:xfrm>
                  <a:off x="439" y="1724"/>
                  <a:ext cx="40" cy="15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34"/>
                    </a:cxn>
                    <a:cxn ang="0">
                      <a:pos x="157" y="59"/>
                    </a:cxn>
                    <a:cxn ang="0">
                      <a:pos x="163" y="24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63" h="59">
                      <a:moveTo>
                        <a:pt x="5" y="0"/>
                      </a:moveTo>
                      <a:lnTo>
                        <a:pt x="0" y="34"/>
                      </a:lnTo>
                      <a:lnTo>
                        <a:pt x="157" y="59"/>
                      </a:lnTo>
                      <a:lnTo>
                        <a:pt x="163" y="24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EA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0" name="Rectangle 1067"/>
                <p:cNvSpPr>
                  <a:spLocks noChangeArrowheads="1"/>
                </p:cNvSpPr>
                <p:nvPr/>
              </p:nvSpPr>
              <p:spPr bwMode="auto">
                <a:xfrm>
                  <a:off x="549" y="1823"/>
                  <a:ext cx="21" cy="140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1" name="Rectangle 1068"/>
                <p:cNvSpPr>
                  <a:spLocks noChangeArrowheads="1"/>
                </p:cNvSpPr>
                <p:nvPr/>
              </p:nvSpPr>
              <p:spPr bwMode="auto">
                <a:xfrm>
                  <a:off x="570" y="1823"/>
                  <a:ext cx="21" cy="140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2" name="Rectangle 1069"/>
                <p:cNvSpPr>
                  <a:spLocks noChangeArrowheads="1"/>
                </p:cNvSpPr>
                <p:nvPr/>
              </p:nvSpPr>
              <p:spPr bwMode="auto">
                <a:xfrm>
                  <a:off x="637" y="1823"/>
                  <a:ext cx="21" cy="17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3" name="Rectangle 1070"/>
                <p:cNvSpPr>
                  <a:spLocks noChangeArrowheads="1"/>
                </p:cNvSpPr>
                <p:nvPr/>
              </p:nvSpPr>
              <p:spPr bwMode="auto">
                <a:xfrm>
                  <a:off x="658" y="1823"/>
                  <a:ext cx="22" cy="175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4" name="Rectangle 1071"/>
                <p:cNvSpPr>
                  <a:spLocks noChangeArrowheads="1"/>
                </p:cNvSpPr>
                <p:nvPr/>
              </p:nvSpPr>
              <p:spPr bwMode="auto">
                <a:xfrm>
                  <a:off x="725" y="1823"/>
                  <a:ext cx="22" cy="17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5" name="Rectangle 1072"/>
                <p:cNvSpPr>
                  <a:spLocks noChangeArrowheads="1"/>
                </p:cNvSpPr>
                <p:nvPr/>
              </p:nvSpPr>
              <p:spPr bwMode="auto">
                <a:xfrm>
                  <a:off x="747" y="1823"/>
                  <a:ext cx="21" cy="17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6" name="Rectangle 1073"/>
                <p:cNvSpPr>
                  <a:spLocks noChangeArrowheads="1"/>
                </p:cNvSpPr>
                <p:nvPr/>
              </p:nvSpPr>
              <p:spPr bwMode="auto">
                <a:xfrm>
                  <a:off x="814" y="1824"/>
                  <a:ext cx="21" cy="175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7" name="Rectangle 1074"/>
                <p:cNvSpPr>
                  <a:spLocks noChangeArrowheads="1"/>
                </p:cNvSpPr>
                <p:nvPr/>
              </p:nvSpPr>
              <p:spPr bwMode="auto">
                <a:xfrm>
                  <a:off x="835" y="1824"/>
                  <a:ext cx="21" cy="17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8" name="Freeform 1075"/>
                <p:cNvSpPr>
                  <a:spLocks/>
                </p:cNvSpPr>
                <p:nvPr/>
              </p:nvSpPr>
              <p:spPr bwMode="auto">
                <a:xfrm>
                  <a:off x="416" y="1821"/>
                  <a:ext cx="48" cy="176"/>
                </a:xfrm>
                <a:custGeom>
                  <a:avLst/>
                  <a:gdLst/>
                  <a:ahLst/>
                  <a:cxnLst>
                    <a:cxn ang="0">
                      <a:pos x="199" y="14"/>
                    </a:cxn>
                    <a:cxn ang="0">
                      <a:pos x="112" y="0"/>
                    </a:cxn>
                    <a:cxn ang="0">
                      <a:pos x="0" y="707"/>
                    </a:cxn>
                    <a:cxn ang="0">
                      <a:pos x="87" y="720"/>
                    </a:cxn>
                    <a:cxn ang="0">
                      <a:pos x="199" y="14"/>
                    </a:cxn>
                  </a:cxnLst>
                  <a:rect l="0" t="0" r="r" b="b"/>
                  <a:pathLst>
                    <a:path w="199" h="720">
                      <a:moveTo>
                        <a:pt x="199" y="14"/>
                      </a:moveTo>
                      <a:lnTo>
                        <a:pt x="112" y="0"/>
                      </a:lnTo>
                      <a:lnTo>
                        <a:pt x="0" y="707"/>
                      </a:lnTo>
                      <a:lnTo>
                        <a:pt x="87" y="720"/>
                      </a:lnTo>
                      <a:lnTo>
                        <a:pt x="199" y="14"/>
                      </a:lnTo>
                      <a:close/>
                    </a:path>
                  </a:pathLst>
                </a:custGeom>
                <a:solidFill>
                  <a:srgbClr val="E7F1F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49" name="Freeform 1076"/>
                <p:cNvSpPr>
                  <a:spLocks/>
                </p:cNvSpPr>
                <p:nvPr/>
              </p:nvSpPr>
              <p:spPr bwMode="auto">
                <a:xfrm>
                  <a:off x="437" y="1824"/>
                  <a:ext cx="48" cy="176"/>
                </a:xfrm>
                <a:custGeom>
                  <a:avLst/>
                  <a:gdLst/>
                  <a:ahLst/>
                  <a:cxnLst>
                    <a:cxn ang="0">
                      <a:pos x="198" y="13"/>
                    </a:cxn>
                    <a:cxn ang="0">
                      <a:pos x="112" y="0"/>
                    </a:cxn>
                    <a:cxn ang="0">
                      <a:pos x="0" y="706"/>
                    </a:cxn>
                    <a:cxn ang="0">
                      <a:pos x="86" y="720"/>
                    </a:cxn>
                    <a:cxn ang="0">
                      <a:pos x="198" y="13"/>
                    </a:cxn>
                  </a:cxnLst>
                  <a:rect l="0" t="0" r="r" b="b"/>
                  <a:pathLst>
                    <a:path w="198" h="720">
                      <a:moveTo>
                        <a:pt x="198" y="13"/>
                      </a:moveTo>
                      <a:lnTo>
                        <a:pt x="112" y="0"/>
                      </a:lnTo>
                      <a:lnTo>
                        <a:pt x="0" y="706"/>
                      </a:lnTo>
                      <a:lnTo>
                        <a:pt x="86" y="720"/>
                      </a:lnTo>
                      <a:lnTo>
                        <a:pt x="198" y="13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0" name="Rectangle 1077"/>
                <p:cNvSpPr>
                  <a:spLocks noChangeArrowheads="1"/>
                </p:cNvSpPr>
                <p:nvPr/>
              </p:nvSpPr>
              <p:spPr bwMode="auto">
                <a:xfrm>
                  <a:off x="733" y="2046"/>
                  <a:ext cx="230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1" name="Rectangle 1078"/>
                <p:cNvSpPr>
                  <a:spLocks noChangeArrowheads="1"/>
                </p:cNvSpPr>
                <p:nvPr/>
              </p:nvSpPr>
              <p:spPr bwMode="auto">
                <a:xfrm>
                  <a:off x="733" y="2056"/>
                  <a:ext cx="230" cy="6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2" name="Rectangle 1079"/>
                <p:cNvSpPr>
                  <a:spLocks noChangeArrowheads="1"/>
                </p:cNvSpPr>
                <p:nvPr/>
              </p:nvSpPr>
              <p:spPr bwMode="auto">
                <a:xfrm>
                  <a:off x="733" y="2067"/>
                  <a:ext cx="230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3" name="Rectangle 1080"/>
                <p:cNvSpPr>
                  <a:spLocks noChangeArrowheads="1"/>
                </p:cNvSpPr>
                <p:nvPr/>
              </p:nvSpPr>
              <p:spPr bwMode="auto">
                <a:xfrm>
                  <a:off x="733" y="2077"/>
                  <a:ext cx="230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4" name="Rectangle 1081"/>
                <p:cNvSpPr>
                  <a:spLocks noChangeArrowheads="1"/>
                </p:cNvSpPr>
                <p:nvPr/>
              </p:nvSpPr>
              <p:spPr bwMode="auto">
                <a:xfrm>
                  <a:off x="733" y="2087"/>
                  <a:ext cx="230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5" name="Rectangle 1082"/>
                <p:cNvSpPr>
                  <a:spLocks noChangeArrowheads="1"/>
                </p:cNvSpPr>
                <p:nvPr/>
              </p:nvSpPr>
              <p:spPr bwMode="auto">
                <a:xfrm>
                  <a:off x="733" y="2097"/>
                  <a:ext cx="230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6" name="Rectangle 1083"/>
                <p:cNvSpPr>
                  <a:spLocks noChangeArrowheads="1"/>
                </p:cNvSpPr>
                <p:nvPr/>
              </p:nvSpPr>
              <p:spPr bwMode="auto">
                <a:xfrm>
                  <a:off x="733" y="2051"/>
                  <a:ext cx="230" cy="5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7" name="Rectangle 1084"/>
                <p:cNvSpPr>
                  <a:spLocks noChangeArrowheads="1"/>
                </p:cNvSpPr>
                <p:nvPr/>
              </p:nvSpPr>
              <p:spPr bwMode="auto">
                <a:xfrm>
                  <a:off x="733" y="2062"/>
                  <a:ext cx="230" cy="5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8" name="Rectangle 1085"/>
                <p:cNvSpPr>
                  <a:spLocks noChangeArrowheads="1"/>
                </p:cNvSpPr>
                <p:nvPr/>
              </p:nvSpPr>
              <p:spPr bwMode="auto">
                <a:xfrm>
                  <a:off x="733" y="2072"/>
                  <a:ext cx="230" cy="5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59" name="Rectangle 1086"/>
                <p:cNvSpPr>
                  <a:spLocks noChangeArrowheads="1"/>
                </p:cNvSpPr>
                <p:nvPr/>
              </p:nvSpPr>
              <p:spPr bwMode="auto">
                <a:xfrm>
                  <a:off x="733" y="2082"/>
                  <a:ext cx="230" cy="5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0" name="Rectangle 1087"/>
                <p:cNvSpPr>
                  <a:spLocks noChangeArrowheads="1"/>
                </p:cNvSpPr>
                <p:nvPr/>
              </p:nvSpPr>
              <p:spPr bwMode="auto">
                <a:xfrm>
                  <a:off x="733" y="2092"/>
                  <a:ext cx="230" cy="5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1" name="Rectangle 1088"/>
                <p:cNvSpPr>
                  <a:spLocks noChangeArrowheads="1"/>
                </p:cNvSpPr>
                <p:nvPr/>
              </p:nvSpPr>
              <p:spPr bwMode="auto">
                <a:xfrm>
                  <a:off x="733" y="2102"/>
                  <a:ext cx="230" cy="6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2" name="Rectangle 1089"/>
                <p:cNvSpPr>
                  <a:spLocks noChangeArrowheads="1"/>
                </p:cNvSpPr>
                <p:nvPr/>
              </p:nvSpPr>
              <p:spPr bwMode="auto">
                <a:xfrm>
                  <a:off x="733" y="2108"/>
                  <a:ext cx="230" cy="3"/>
                </a:xfrm>
                <a:prstGeom prst="rect">
                  <a:avLst/>
                </a:prstGeom>
                <a:solidFill>
                  <a:srgbClr val="79A7B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3" name="Freeform 1090"/>
                <p:cNvSpPr>
                  <a:spLocks/>
                </p:cNvSpPr>
                <p:nvPr/>
              </p:nvSpPr>
              <p:spPr bwMode="auto">
                <a:xfrm>
                  <a:off x="505" y="2046"/>
                  <a:ext cx="228" cy="5"/>
                </a:xfrm>
                <a:custGeom>
                  <a:avLst/>
                  <a:gdLst/>
                  <a:ahLst/>
                  <a:cxnLst>
                    <a:cxn ang="0">
                      <a:pos x="940" y="0"/>
                    </a:cxn>
                    <a:cxn ang="0">
                      <a:pos x="0" y="0"/>
                    </a:cxn>
                    <a:cxn ang="0">
                      <a:pos x="7" y="21"/>
                    </a:cxn>
                    <a:cxn ang="0">
                      <a:pos x="940" y="21"/>
                    </a:cxn>
                    <a:cxn ang="0">
                      <a:pos x="940" y="0"/>
                    </a:cxn>
                  </a:cxnLst>
                  <a:rect l="0" t="0" r="r" b="b"/>
                  <a:pathLst>
                    <a:path w="940" h="21">
                      <a:moveTo>
                        <a:pt x="940" y="0"/>
                      </a:moveTo>
                      <a:lnTo>
                        <a:pt x="0" y="0"/>
                      </a:lnTo>
                      <a:cubicBezTo>
                        <a:pt x="3" y="7"/>
                        <a:pt x="5" y="14"/>
                        <a:pt x="7" y="21"/>
                      </a:cubicBezTo>
                      <a:lnTo>
                        <a:pt x="940" y="21"/>
                      </a:lnTo>
                      <a:lnTo>
                        <a:pt x="940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4" name="Freeform 1091"/>
                <p:cNvSpPr>
                  <a:spLocks/>
                </p:cNvSpPr>
                <p:nvPr/>
              </p:nvSpPr>
              <p:spPr bwMode="auto">
                <a:xfrm>
                  <a:off x="508" y="2056"/>
                  <a:ext cx="225" cy="6"/>
                </a:xfrm>
                <a:custGeom>
                  <a:avLst/>
                  <a:gdLst/>
                  <a:ahLst/>
                  <a:cxnLst>
                    <a:cxn ang="0">
                      <a:pos x="929" y="0"/>
                    </a:cxn>
                    <a:cxn ang="0">
                      <a:pos x="0" y="0"/>
                    </a:cxn>
                    <a:cxn ang="0">
                      <a:pos x="3" y="20"/>
                    </a:cxn>
                    <a:cxn ang="0">
                      <a:pos x="3" y="21"/>
                    </a:cxn>
                    <a:cxn ang="0">
                      <a:pos x="929" y="21"/>
                    </a:cxn>
                    <a:cxn ang="0">
                      <a:pos x="929" y="0"/>
                    </a:cxn>
                  </a:cxnLst>
                  <a:rect l="0" t="0" r="r" b="b"/>
                  <a:pathLst>
                    <a:path w="929" h="21">
                      <a:moveTo>
                        <a:pt x="929" y="0"/>
                      </a:moveTo>
                      <a:lnTo>
                        <a:pt x="0" y="0"/>
                      </a:lnTo>
                      <a:cubicBezTo>
                        <a:pt x="1" y="6"/>
                        <a:pt x="2" y="13"/>
                        <a:pt x="3" y="20"/>
                      </a:cubicBezTo>
                      <a:lnTo>
                        <a:pt x="3" y="21"/>
                      </a:lnTo>
                      <a:lnTo>
                        <a:pt x="929" y="21"/>
                      </a:lnTo>
                      <a:lnTo>
                        <a:pt x="929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5" name="Freeform 1092"/>
                <p:cNvSpPr>
                  <a:spLocks/>
                </p:cNvSpPr>
                <p:nvPr/>
              </p:nvSpPr>
              <p:spPr bwMode="auto">
                <a:xfrm>
                  <a:off x="509" y="2067"/>
                  <a:ext cx="224" cy="5"/>
                </a:xfrm>
                <a:custGeom>
                  <a:avLst/>
                  <a:gdLst/>
                  <a:ahLst/>
                  <a:cxnLst>
                    <a:cxn ang="0">
                      <a:pos x="923" y="0"/>
                    </a:cxn>
                    <a:cxn ang="0">
                      <a:pos x="0" y="0"/>
                    </a:cxn>
                    <a:cxn ang="0">
                      <a:pos x="1" y="21"/>
                    </a:cxn>
                    <a:cxn ang="0">
                      <a:pos x="923" y="21"/>
                    </a:cxn>
                    <a:cxn ang="0">
                      <a:pos x="923" y="0"/>
                    </a:cxn>
                  </a:cxnLst>
                  <a:rect l="0" t="0" r="r" b="b"/>
                  <a:pathLst>
                    <a:path w="923" h="21">
                      <a:moveTo>
                        <a:pt x="923" y="0"/>
                      </a:moveTo>
                      <a:lnTo>
                        <a:pt x="0" y="0"/>
                      </a:lnTo>
                      <a:cubicBezTo>
                        <a:pt x="0" y="7"/>
                        <a:pt x="1" y="14"/>
                        <a:pt x="1" y="21"/>
                      </a:cubicBezTo>
                      <a:lnTo>
                        <a:pt x="923" y="21"/>
                      </a:lnTo>
                      <a:lnTo>
                        <a:pt x="923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6" name="Freeform 1093"/>
                <p:cNvSpPr>
                  <a:spLocks/>
                </p:cNvSpPr>
                <p:nvPr/>
              </p:nvSpPr>
              <p:spPr bwMode="auto">
                <a:xfrm>
                  <a:off x="509" y="2077"/>
                  <a:ext cx="224" cy="5"/>
                </a:xfrm>
                <a:custGeom>
                  <a:avLst/>
                  <a:gdLst/>
                  <a:ahLst/>
                  <a:cxnLst>
                    <a:cxn ang="0">
                      <a:pos x="921" y="0"/>
                    </a:cxn>
                    <a:cxn ang="0">
                      <a:pos x="0" y="0"/>
                    </a:cxn>
                    <a:cxn ang="0">
                      <a:pos x="0" y="8"/>
                    </a:cxn>
                    <a:cxn ang="0">
                      <a:pos x="0" y="21"/>
                    </a:cxn>
                    <a:cxn ang="0">
                      <a:pos x="921" y="21"/>
                    </a:cxn>
                    <a:cxn ang="0">
                      <a:pos x="921" y="0"/>
                    </a:cxn>
                  </a:cxnLst>
                  <a:rect l="0" t="0" r="r" b="b"/>
                  <a:pathLst>
                    <a:path w="921" h="21">
                      <a:moveTo>
                        <a:pt x="921" y="0"/>
                      </a:moveTo>
                      <a:lnTo>
                        <a:pt x="0" y="0"/>
                      </a:lnTo>
                      <a:lnTo>
                        <a:pt x="0" y="8"/>
                      </a:lnTo>
                      <a:cubicBezTo>
                        <a:pt x="0" y="12"/>
                        <a:pt x="0" y="17"/>
                        <a:pt x="0" y="21"/>
                      </a:cubicBezTo>
                      <a:lnTo>
                        <a:pt x="921" y="21"/>
                      </a:lnTo>
                      <a:lnTo>
                        <a:pt x="921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7" name="Freeform 1094"/>
                <p:cNvSpPr>
                  <a:spLocks/>
                </p:cNvSpPr>
                <p:nvPr/>
              </p:nvSpPr>
              <p:spPr bwMode="auto">
                <a:xfrm>
                  <a:off x="509" y="2087"/>
                  <a:ext cx="224" cy="5"/>
                </a:xfrm>
                <a:custGeom>
                  <a:avLst/>
                  <a:gdLst/>
                  <a:ahLst/>
                  <a:cxnLst>
                    <a:cxn ang="0">
                      <a:pos x="924" y="0"/>
                    </a:cxn>
                    <a:cxn ang="0">
                      <a:pos x="2" y="0"/>
                    </a:cxn>
                    <a:cxn ang="0">
                      <a:pos x="0" y="21"/>
                    </a:cxn>
                    <a:cxn ang="0">
                      <a:pos x="924" y="21"/>
                    </a:cxn>
                    <a:cxn ang="0">
                      <a:pos x="924" y="0"/>
                    </a:cxn>
                  </a:cxnLst>
                  <a:rect l="0" t="0" r="r" b="b"/>
                  <a:pathLst>
                    <a:path w="924" h="21">
                      <a:moveTo>
                        <a:pt x="924" y="0"/>
                      </a:moveTo>
                      <a:lnTo>
                        <a:pt x="2" y="0"/>
                      </a:lnTo>
                      <a:cubicBezTo>
                        <a:pt x="1" y="7"/>
                        <a:pt x="1" y="14"/>
                        <a:pt x="0" y="21"/>
                      </a:cubicBezTo>
                      <a:lnTo>
                        <a:pt x="924" y="21"/>
                      </a:lnTo>
                      <a:lnTo>
                        <a:pt x="924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8" name="Freeform 1095"/>
                <p:cNvSpPr>
                  <a:spLocks/>
                </p:cNvSpPr>
                <p:nvPr/>
              </p:nvSpPr>
              <p:spPr bwMode="auto">
                <a:xfrm>
                  <a:off x="507" y="2097"/>
                  <a:ext cx="226" cy="5"/>
                </a:xfrm>
                <a:custGeom>
                  <a:avLst/>
                  <a:gdLst/>
                  <a:ahLst/>
                  <a:cxnLst>
                    <a:cxn ang="0">
                      <a:pos x="930" y="0"/>
                    </a:cxn>
                    <a:cxn ang="0">
                      <a:pos x="4" y="0"/>
                    </a:cxn>
                    <a:cxn ang="0">
                      <a:pos x="0" y="21"/>
                    </a:cxn>
                    <a:cxn ang="0">
                      <a:pos x="930" y="21"/>
                    </a:cxn>
                    <a:cxn ang="0">
                      <a:pos x="930" y="0"/>
                    </a:cxn>
                  </a:cxnLst>
                  <a:rect l="0" t="0" r="r" b="b"/>
                  <a:pathLst>
                    <a:path w="930" h="21">
                      <a:moveTo>
                        <a:pt x="930" y="0"/>
                      </a:moveTo>
                      <a:lnTo>
                        <a:pt x="4" y="0"/>
                      </a:lnTo>
                      <a:cubicBezTo>
                        <a:pt x="3" y="7"/>
                        <a:pt x="1" y="14"/>
                        <a:pt x="0" y="21"/>
                      </a:cubicBezTo>
                      <a:lnTo>
                        <a:pt x="930" y="21"/>
                      </a:lnTo>
                      <a:lnTo>
                        <a:pt x="930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69" name="Freeform 1096"/>
                <p:cNvSpPr>
                  <a:spLocks/>
                </p:cNvSpPr>
                <p:nvPr/>
              </p:nvSpPr>
              <p:spPr bwMode="auto">
                <a:xfrm>
                  <a:off x="507" y="2051"/>
                  <a:ext cx="226" cy="5"/>
                </a:xfrm>
                <a:custGeom>
                  <a:avLst/>
                  <a:gdLst/>
                  <a:ahLst/>
                  <a:cxnLst>
                    <a:cxn ang="0">
                      <a:pos x="933" y="0"/>
                    </a:cxn>
                    <a:cxn ang="0">
                      <a:pos x="0" y="0"/>
                    </a:cxn>
                    <a:cxn ang="0">
                      <a:pos x="4" y="21"/>
                    </a:cxn>
                    <a:cxn ang="0">
                      <a:pos x="933" y="21"/>
                    </a:cxn>
                    <a:cxn ang="0">
                      <a:pos x="933" y="0"/>
                    </a:cxn>
                  </a:cxnLst>
                  <a:rect l="0" t="0" r="r" b="b"/>
                  <a:pathLst>
                    <a:path w="933" h="21">
                      <a:moveTo>
                        <a:pt x="933" y="0"/>
                      </a:moveTo>
                      <a:lnTo>
                        <a:pt x="0" y="0"/>
                      </a:lnTo>
                      <a:cubicBezTo>
                        <a:pt x="1" y="7"/>
                        <a:pt x="3" y="14"/>
                        <a:pt x="4" y="21"/>
                      </a:cubicBezTo>
                      <a:lnTo>
                        <a:pt x="933" y="21"/>
                      </a:lnTo>
                      <a:lnTo>
                        <a:pt x="933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0" name="Freeform 1097"/>
                <p:cNvSpPr>
                  <a:spLocks/>
                </p:cNvSpPr>
                <p:nvPr/>
              </p:nvSpPr>
              <p:spPr bwMode="auto">
                <a:xfrm>
                  <a:off x="508" y="2062"/>
                  <a:ext cx="225" cy="5"/>
                </a:xfrm>
                <a:custGeom>
                  <a:avLst/>
                  <a:gdLst/>
                  <a:ahLst/>
                  <a:cxnLst>
                    <a:cxn ang="0">
                      <a:pos x="926" y="0"/>
                    </a:cxn>
                    <a:cxn ang="0">
                      <a:pos x="0" y="0"/>
                    </a:cxn>
                    <a:cxn ang="0">
                      <a:pos x="3" y="21"/>
                    </a:cxn>
                    <a:cxn ang="0">
                      <a:pos x="926" y="21"/>
                    </a:cxn>
                    <a:cxn ang="0">
                      <a:pos x="926" y="0"/>
                    </a:cxn>
                  </a:cxnLst>
                  <a:rect l="0" t="0" r="r" b="b"/>
                  <a:pathLst>
                    <a:path w="926" h="21">
                      <a:moveTo>
                        <a:pt x="926" y="0"/>
                      </a:moveTo>
                      <a:lnTo>
                        <a:pt x="0" y="0"/>
                      </a:lnTo>
                      <a:cubicBezTo>
                        <a:pt x="1" y="7"/>
                        <a:pt x="2" y="14"/>
                        <a:pt x="3" y="21"/>
                      </a:cubicBezTo>
                      <a:lnTo>
                        <a:pt x="926" y="21"/>
                      </a:lnTo>
                      <a:lnTo>
                        <a:pt x="926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1" name="Freeform 1098"/>
                <p:cNvSpPr>
                  <a:spLocks/>
                </p:cNvSpPr>
                <p:nvPr/>
              </p:nvSpPr>
              <p:spPr bwMode="auto">
                <a:xfrm>
                  <a:off x="509" y="2072"/>
                  <a:ext cx="224" cy="5"/>
                </a:xfrm>
                <a:custGeom>
                  <a:avLst/>
                  <a:gdLst/>
                  <a:ahLst/>
                  <a:cxnLst>
                    <a:cxn ang="0">
                      <a:pos x="922" y="0"/>
                    </a:cxn>
                    <a:cxn ang="0">
                      <a:pos x="0" y="0"/>
                    </a:cxn>
                    <a:cxn ang="0">
                      <a:pos x="1" y="20"/>
                    </a:cxn>
                    <a:cxn ang="0">
                      <a:pos x="922" y="20"/>
                    </a:cxn>
                    <a:cxn ang="0">
                      <a:pos x="922" y="0"/>
                    </a:cxn>
                  </a:cxnLst>
                  <a:rect l="0" t="0" r="r" b="b"/>
                  <a:pathLst>
                    <a:path w="922" h="20">
                      <a:moveTo>
                        <a:pt x="922" y="0"/>
                      </a:moveTo>
                      <a:lnTo>
                        <a:pt x="0" y="0"/>
                      </a:lnTo>
                      <a:cubicBezTo>
                        <a:pt x="0" y="7"/>
                        <a:pt x="1" y="13"/>
                        <a:pt x="1" y="20"/>
                      </a:cubicBezTo>
                      <a:lnTo>
                        <a:pt x="922" y="20"/>
                      </a:lnTo>
                      <a:lnTo>
                        <a:pt x="922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2" name="Freeform 1099"/>
                <p:cNvSpPr>
                  <a:spLocks/>
                </p:cNvSpPr>
                <p:nvPr/>
              </p:nvSpPr>
              <p:spPr bwMode="auto">
                <a:xfrm>
                  <a:off x="509" y="2082"/>
                  <a:ext cx="224" cy="5"/>
                </a:xfrm>
                <a:custGeom>
                  <a:avLst/>
                  <a:gdLst/>
                  <a:ahLst/>
                  <a:cxnLst>
                    <a:cxn ang="0">
                      <a:pos x="922" y="0"/>
                    </a:cxn>
                    <a:cxn ang="0">
                      <a:pos x="1" y="0"/>
                    </a:cxn>
                    <a:cxn ang="0">
                      <a:pos x="0" y="21"/>
                    </a:cxn>
                    <a:cxn ang="0">
                      <a:pos x="922" y="21"/>
                    </a:cxn>
                    <a:cxn ang="0">
                      <a:pos x="922" y="0"/>
                    </a:cxn>
                  </a:cxnLst>
                  <a:rect l="0" t="0" r="r" b="b"/>
                  <a:pathLst>
                    <a:path w="922" h="21">
                      <a:moveTo>
                        <a:pt x="922" y="0"/>
                      </a:moveTo>
                      <a:lnTo>
                        <a:pt x="1" y="0"/>
                      </a:lnTo>
                      <a:cubicBezTo>
                        <a:pt x="0" y="7"/>
                        <a:pt x="0" y="14"/>
                        <a:pt x="0" y="21"/>
                      </a:cubicBezTo>
                      <a:lnTo>
                        <a:pt x="922" y="21"/>
                      </a:lnTo>
                      <a:lnTo>
                        <a:pt x="922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3" name="Freeform 1100"/>
                <p:cNvSpPr>
                  <a:spLocks/>
                </p:cNvSpPr>
                <p:nvPr/>
              </p:nvSpPr>
              <p:spPr bwMode="auto">
                <a:xfrm>
                  <a:off x="508" y="2092"/>
                  <a:ext cx="225" cy="5"/>
                </a:xfrm>
                <a:custGeom>
                  <a:avLst/>
                  <a:gdLst/>
                  <a:ahLst/>
                  <a:cxnLst>
                    <a:cxn ang="0">
                      <a:pos x="926" y="0"/>
                    </a:cxn>
                    <a:cxn ang="0">
                      <a:pos x="2" y="0"/>
                    </a:cxn>
                    <a:cxn ang="0">
                      <a:pos x="0" y="15"/>
                    </a:cxn>
                    <a:cxn ang="0">
                      <a:pos x="0" y="21"/>
                    </a:cxn>
                    <a:cxn ang="0">
                      <a:pos x="926" y="21"/>
                    </a:cxn>
                    <a:cxn ang="0">
                      <a:pos x="926" y="0"/>
                    </a:cxn>
                  </a:cxnLst>
                  <a:rect l="0" t="0" r="r" b="b"/>
                  <a:pathLst>
                    <a:path w="926" h="21">
                      <a:moveTo>
                        <a:pt x="926" y="0"/>
                      </a:moveTo>
                      <a:lnTo>
                        <a:pt x="2" y="0"/>
                      </a:lnTo>
                      <a:cubicBezTo>
                        <a:pt x="2" y="5"/>
                        <a:pt x="1" y="10"/>
                        <a:pt x="0" y="15"/>
                      </a:cubicBezTo>
                      <a:lnTo>
                        <a:pt x="0" y="21"/>
                      </a:lnTo>
                      <a:lnTo>
                        <a:pt x="926" y="21"/>
                      </a:lnTo>
                      <a:lnTo>
                        <a:pt x="926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4" name="Freeform 1101"/>
                <p:cNvSpPr>
                  <a:spLocks/>
                </p:cNvSpPr>
                <p:nvPr/>
              </p:nvSpPr>
              <p:spPr bwMode="auto">
                <a:xfrm>
                  <a:off x="506" y="2102"/>
                  <a:ext cx="227" cy="6"/>
                </a:xfrm>
                <a:custGeom>
                  <a:avLst/>
                  <a:gdLst/>
                  <a:ahLst/>
                  <a:cxnLst>
                    <a:cxn ang="0">
                      <a:pos x="935" y="0"/>
                    </a:cxn>
                    <a:cxn ang="0">
                      <a:pos x="5" y="0"/>
                    </a:cxn>
                    <a:cxn ang="0">
                      <a:pos x="0" y="21"/>
                    </a:cxn>
                    <a:cxn ang="0">
                      <a:pos x="935" y="21"/>
                    </a:cxn>
                    <a:cxn ang="0">
                      <a:pos x="935" y="0"/>
                    </a:cxn>
                  </a:cxnLst>
                  <a:rect l="0" t="0" r="r" b="b"/>
                  <a:pathLst>
                    <a:path w="935" h="21">
                      <a:moveTo>
                        <a:pt x="935" y="0"/>
                      </a:moveTo>
                      <a:lnTo>
                        <a:pt x="5" y="0"/>
                      </a:lnTo>
                      <a:cubicBezTo>
                        <a:pt x="3" y="7"/>
                        <a:pt x="2" y="14"/>
                        <a:pt x="0" y="21"/>
                      </a:cubicBezTo>
                      <a:lnTo>
                        <a:pt x="935" y="21"/>
                      </a:lnTo>
                      <a:lnTo>
                        <a:pt x="935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5" name="Freeform 1102"/>
                <p:cNvSpPr>
                  <a:spLocks/>
                </p:cNvSpPr>
                <p:nvPr/>
              </p:nvSpPr>
              <p:spPr bwMode="auto">
                <a:xfrm>
                  <a:off x="505" y="2108"/>
                  <a:ext cx="228" cy="3"/>
                </a:xfrm>
                <a:custGeom>
                  <a:avLst/>
                  <a:gdLst/>
                  <a:ahLst/>
                  <a:cxnLst>
                    <a:cxn ang="0">
                      <a:pos x="940" y="0"/>
                    </a:cxn>
                    <a:cxn ang="0">
                      <a:pos x="5" y="0"/>
                    </a:cxn>
                    <a:cxn ang="0">
                      <a:pos x="0" y="14"/>
                    </a:cxn>
                    <a:cxn ang="0">
                      <a:pos x="940" y="14"/>
                    </a:cxn>
                    <a:cxn ang="0">
                      <a:pos x="940" y="0"/>
                    </a:cxn>
                  </a:cxnLst>
                  <a:rect l="0" t="0" r="r" b="b"/>
                  <a:pathLst>
                    <a:path w="940" h="14">
                      <a:moveTo>
                        <a:pt x="940" y="0"/>
                      </a:moveTo>
                      <a:lnTo>
                        <a:pt x="5" y="0"/>
                      </a:lnTo>
                      <a:cubicBezTo>
                        <a:pt x="3" y="5"/>
                        <a:pt x="2" y="10"/>
                        <a:pt x="0" y="14"/>
                      </a:cubicBezTo>
                      <a:lnTo>
                        <a:pt x="940" y="14"/>
                      </a:lnTo>
                      <a:lnTo>
                        <a:pt x="940" y="0"/>
                      </a:lnTo>
                      <a:close/>
                    </a:path>
                  </a:pathLst>
                </a:custGeom>
                <a:solidFill>
                  <a:srgbClr val="6F9AA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6" name="Freeform 1103"/>
                <p:cNvSpPr>
                  <a:spLocks/>
                </p:cNvSpPr>
                <p:nvPr/>
              </p:nvSpPr>
              <p:spPr bwMode="auto">
                <a:xfrm>
                  <a:off x="499" y="2031"/>
                  <a:ext cx="469" cy="95"/>
                </a:xfrm>
                <a:custGeom>
                  <a:avLst/>
                  <a:gdLst/>
                  <a:ahLst/>
                  <a:cxnLst>
                    <a:cxn ang="0">
                      <a:pos x="0" y="387"/>
                    </a:cxn>
                    <a:cxn ang="0">
                      <a:pos x="1849" y="387"/>
                    </a:cxn>
                    <a:cxn ang="0">
                      <a:pos x="1927" y="264"/>
                    </a:cxn>
                    <a:cxn ang="0">
                      <a:pos x="1932" y="194"/>
                    </a:cxn>
                    <a:cxn ang="0">
                      <a:pos x="1927" y="123"/>
                    </a:cxn>
                    <a:cxn ang="0">
                      <a:pos x="1849" y="0"/>
                    </a:cxn>
                    <a:cxn ang="0">
                      <a:pos x="0" y="0"/>
                    </a:cxn>
                    <a:cxn ang="0">
                      <a:pos x="0" y="61"/>
                    </a:cxn>
                    <a:cxn ang="0">
                      <a:pos x="1849" y="61"/>
                    </a:cxn>
                    <a:cxn ang="0">
                      <a:pos x="1867" y="131"/>
                    </a:cxn>
                    <a:cxn ang="0">
                      <a:pos x="1870" y="194"/>
                    </a:cxn>
                    <a:cxn ang="0">
                      <a:pos x="1867" y="256"/>
                    </a:cxn>
                    <a:cxn ang="0">
                      <a:pos x="1849" y="326"/>
                    </a:cxn>
                    <a:cxn ang="0">
                      <a:pos x="0" y="326"/>
                    </a:cxn>
                    <a:cxn ang="0">
                      <a:pos x="0" y="387"/>
                    </a:cxn>
                  </a:cxnLst>
                  <a:rect l="0" t="0" r="r" b="b"/>
                  <a:pathLst>
                    <a:path w="1932" h="387">
                      <a:moveTo>
                        <a:pt x="0" y="387"/>
                      </a:moveTo>
                      <a:lnTo>
                        <a:pt x="1849" y="387"/>
                      </a:lnTo>
                      <a:cubicBezTo>
                        <a:pt x="1893" y="387"/>
                        <a:pt x="1918" y="333"/>
                        <a:pt x="1927" y="264"/>
                      </a:cubicBezTo>
                      <a:cubicBezTo>
                        <a:pt x="1930" y="241"/>
                        <a:pt x="1932" y="217"/>
                        <a:pt x="1932" y="194"/>
                      </a:cubicBezTo>
                      <a:cubicBezTo>
                        <a:pt x="1932" y="170"/>
                        <a:pt x="1930" y="146"/>
                        <a:pt x="1927" y="123"/>
                      </a:cubicBezTo>
                      <a:cubicBezTo>
                        <a:pt x="1918" y="54"/>
                        <a:pt x="1893" y="0"/>
                        <a:pt x="1849" y="0"/>
                      </a:cubicBez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1849" y="61"/>
                      </a:lnTo>
                      <a:cubicBezTo>
                        <a:pt x="1855" y="61"/>
                        <a:pt x="1862" y="92"/>
                        <a:pt x="1867" y="131"/>
                      </a:cubicBezTo>
                      <a:cubicBezTo>
                        <a:pt x="1869" y="150"/>
                        <a:pt x="1870" y="171"/>
                        <a:pt x="1870" y="194"/>
                      </a:cubicBezTo>
                      <a:cubicBezTo>
                        <a:pt x="1870" y="216"/>
                        <a:pt x="1869" y="237"/>
                        <a:pt x="1867" y="256"/>
                      </a:cubicBezTo>
                      <a:cubicBezTo>
                        <a:pt x="1862" y="296"/>
                        <a:pt x="1855" y="326"/>
                        <a:pt x="1849" y="326"/>
                      </a:cubicBezTo>
                      <a:lnTo>
                        <a:pt x="0" y="326"/>
                      </a:lnTo>
                      <a:lnTo>
                        <a:pt x="0" y="387"/>
                      </a:lnTo>
                      <a:close/>
                    </a:path>
                  </a:pathLst>
                </a:custGeom>
                <a:solidFill>
                  <a:srgbClr val="92ACD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7" name="Freeform 1104"/>
                <p:cNvSpPr>
                  <a:spLocks noEditPoints="1"/>
                </p:cNvSpPr>
                <p:nvPr/>
              </p:nvSpPr>
              <p:spPr bwMode="auto">
                <a:xfrm>
                  <a:off x="499" y="2031"/>
                  <a:ext cx="234" cy="95"/>
                </a:xfrm>
                <a:custGeom>
                  <a:avLst/>
                  <a:gdLst/>
                  <a:ahLst/>
                  <a:cxnLst>
                    <a:cxn ang="0">
                      <a:pos x="0" y="387"/>
                    </a:cxn>
                    <a:cxn ang="0">
                      <a:pos x="966" y="387"/>
                    </a:cxn>
                    <a:cxn ang="0">
                      <a:pos x="966" y="326"/>
                    </a:cxn>
                    <a:cxn ang="0">
                      <a:pos x="0" y="326"/>
                    </a:cxn>
                    <a:cxn ang="0">
                      <a:pos x="0" y="387"/>
                    </a:cxn>
                    <a:cxn ang="0">
                      <a:pos x="966" y="0"/>
                    </a:cxn>
                    <a:cxn ang="0">
                      <a:pos x="0" y="0"/>
                    </a:cxn>
                    <a:cxn ang="0">
                      <a:pos x="0" y="61"/>
                    </a:cxn>
                    <a:cxn ang="0">
                      <a:pos x="966" y="61"/>
                    </a:cxn>
                    <a:cxn ang="0">
                      <a:pos x="966" y="0"/>
                    </a:cxn>
                  </a:cxnLst>
                  <a:rect l="0" t="0" r="r" b="b"/>
                  <a:pathLst>
                    <a:path w="966" h="387">
                      <a:moveTo>
                        <a:pt x="0" y="387"/>
                      </a:moveTo>
                      <a:lnTo>
                        <a:pt x="966" y="387"/>
                      </a:lnTo>
                      <a:lnTo>
                        <a:pt x="966" y="326"/>
                      </a:lnTo>
                      <a:lnTo>
                        <a:pt x="0" y="326"/>
                      </a:lnTo>
                      <a:lnTo>
                        <a:pt x="0" y="387"/>
                      </a:lnTo>
                      <a:close/>
                      <a:moveTo>
                        <a:pt x="966" y="0"/>
                      </a:moveTo>
                      <a:lnTo>
                        <a:pt x="0" y="0"/>
                      </a:lnTo>
                      <a:lnTo>
                        <a:pt x="0" y="61"/>
                      </a:lnTo>
                      <a:lnTo>
                        <a:pt x="966" y="61"/>
                      </a:lnTo>
                      <a:lnTo>
                        <a:pt x="966" y="0"/>
                      </a:lnTo>
                      <a:close/>
                    </a:path>
                  </a:pathLst>
                </a:custGeom>
                <a:solidFill>
                  <a:srgbClr val="7391C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8" name="Rectangle 1105"/>
                <p:cNvSpPr>
                  <a:spLocks noChangeArrowheads="1"/>
                </p:cNvSpPr>
                <p:nvPr/>
              </p:nvSpPr>
              <p:spPr bwMode="auto">
                <a:xfrm>
                  <a:off x="559" y="2005"/>
                  <a:ext cx="170" cy="10"/>
                </a:xfrm>
                <a:prstGeom prst="rect">
                  <a:avLst/>
                </a:prstGeom>
                <a:solidFill>
                  <a:srgbClr val="AAC7C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79" name="Rectangle 1106"/>
                <p:cNvSpPr>
                  <a:spLocks noChangeArrowheads="1"/>
                </p:cNvSpPr>
                <p:nvPr/>
              </p:nvSpPr>
              <p:spPr bwMode="auto">
                <a:xfrm>
                  <a:off x="548" y="2015"/>
                  <a:ext cx="191" cy="11"/>
                </a:xfrm>
                <a:prstGeom prst="rect">
                  <a:avLst/>
                </a:prstGeom>
                <a:solidFill>
                  <a:srgbClr val="79A7B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0" name="Rectangle 1107"/>
                <p:cNvSpPr>
                  <a:spLocks noChangeArrowheads="1"/>
                </p:cNvSpPr>
                <p:nvPr/>
              </p:nvSpPr>
              <p:spPr bwMode="auto">
                <a:xfrm>
                  <a:off x="337" y="2019"/>
                  <a:ext cx="321" cy="13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1" name="Rectangle 1108"/>
                <p:cNvSpPr>
                  <a:spLocks noChangeArrowheads="1"/>
                </p:cNvSpPr>
                <p:nvPr/>
              </p:nvSpPr>
              <p:spPr bwMode="auto">
                <a:xfrm>
                  <a:off x="714" y="1963"/>
                  <a:ext cx="256" cy="4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2" name="Rectangle 1109"/>
                <p:cNvSpPr>
                  <a:spLocks noChangeArrowheads="1"/>
                </p:cNvSpPr>
                <p:nvPr/>
              </p:nvSpPr>
              <p:spPr bwMode="auto">
                <a:xfrm>
                  <a:off x="714" y="1972"/>
                  <a:ext cx="256" cy="4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3" name="Rectangle 1110"/>
                <p:cNvSpPr>
                  <a:spLocks noChangeArrowheads="1"/>
                </p:cNvSpPr>
                <p:nvPr/>
              </p:nvSpPr>
              <p:spPr bwMode="auto">
                <a:xfrm>
                  <a:off x="714" y="1980"/>
                  <a:ext cx="256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4" name="Rectangle 1111"/>
                <p:cNvSpPr>
                  <a:spLocks noChangeArrowheads="1"/>
                </p:cNvSpPr>
                <p:nvPr/>
              </p:nvSpPr>
              <p:spPr bwMode="auto">
                <a:xfrm>
                  <a:off x="714" y="1989"/>
                  <a:ext cx="256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5" name="Rectangle 1112"/>
                <p:cNvSpPr>
                  <a:spLocks noChangeArrowheads="1"/>
                </p:cNvSpPr>
                <p:nvPr/>
              </p:nvSpPr>
              <p:spPr bwMode="auto">
                <a:xfrm>
                  <a:off x="714" y="1998"/>
                  <a:ext cx="256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6" name="Rectangle 1113"/>
                <p:cNvSpPr>
                  <a:spLocks noChangeArrowheads="1"/>
                </p:cNvSpPr>
                <p:nvPr/>
              </p:nvSpPr>
              <p:spPr bwMode="auto">
                <a:xfrm>
                  <a:off x="714" y="2007"/>
                  <a:ext cx="256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7" name="Rectangle 1114"/>
                <p:cNvSpPr>
                  <a:spLocks noChangeArrowheads="1"/>
                </p:cNvSpPr>
                <p:nvPr/>
              </p:nvSpPr>
              <p:spPr bwMode="auto">
                <a:xfrm>
                  <a:off x="714" y="1967"/>
                  <a:ext cx="256" cy="5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8" name="Rectangle 1115"/>
                <p:cNvSpPr>
                  <a:spLocks noChangeArrowheads="1"/>
                </p:cNvSpPr>
                <p:nvPr/>
              </p:nvSpPr>
              <p:spPr bwMode="auto">
                <a:xfrm>
                  <a:off x="714" y="1976"/>
                  <a:ext cx="256" cy="4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89" name="Rectangle 1116"/>
                <p:cNvSpPr>
                  <a:spLocks noChangeArrowheads="1"/>
                </p:cNvSpPr>
                <p:nvPr/>
              </p:nvSpPr>
              <p:spPr bwMode="auto">
                <a:xfrm>
                  <a:off x="714" y="1985"/>
                  <a:ext cx="256" cy="4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0" name="Rectangle 1117"/>
                <p:cNvSpPr>
                  <a:spLocks noChangeArrowheads="1"/>
                </p:cNvSpPr>
                <p:nvPr/>
              </p:nvSpPr>
              <p:spPr bwMode="auto">
                <a:xfrm>
                  <a:off x="714" y="1994"/>
                  <a:ext cx="256" cy="4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1" name="Rectangle 1118"/>
                <p:cNvSpPr>
                  <a:spLocks noChangeArrowheads="1"/>
                </p:cNvSpPr>
                <p:nvPr/>
              </p:nvSpPr>
              <p:spPr bwMode="auto">
                <a:xfrm>
                  <a:off x="714" y="2003"/>
                  <a:ext cx="256" cy="4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2" name="Rectangle 1119"/>
                <p:cNvSpPr>
                  <a:spLocks noChangeArrowheads="1"/>
                </p:cNvSpPr>
                <p:nvPr/>
              </p:nvSpPr>
              <p:spPr bwMode="auto">
                <a:xfrm>
                  <a:off x="714" y="2012"/>
                  <a:ext cx="256" cy="4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3" name="Rectangle 1120"/>
                <p:cNvSpPr>
                  <a:spLocks noChangeArrowheads="1"/>
                </p:cNvSpPr>
                <p:nvPr/>
              </p:nvSpPr>
              <p:spPr bwMode="auto">
                <a:xfrm>
                  <a:off x="714" y="2016"/>
                  <a:ext cx="256" cy="3"/>
                </a:xfrm>
                <a:prstGeom prst="rect">
                  <a:avLst/>
                </a:prstGeom>
                <a:solidFill>
                  <a:srgbClr val="79A7B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4" name="Freeform 1121"/>
                <p:cNvSpPr>
                  <a:spLocks/>
                </p:cNvSpPr>
                <p:nvPr/>
              </p:nvSpPr>
              <p:spPr bwMode="auto">
                <a:xfrm>
                  <a:off x="658" y="1963"/>
                  <a:ext cx="56" cy="56"/>
                </a:xfrm>
                <a:custGeom>
                  <a:avLst/>
                  <a:gdLst/>
                  <a:ahLst/>
                  <a:cxnLst>
                    <a:cxn ang="0">
                      <a:pos x="231" y="0"/>
                    </a:cxn>
                    <a:cxn ang="0">
                      <a:pos x="68" y="68"/>
                    </a:cxn>
                    <a:cxn ang="0">
                      <a:pos x="68" y="68"/>
                    </a:cxn>
                    <a:cxn ang="0">
                      <a:pos x="0" y="232"/>
                    </a:cxn>
                    <a:cxn ang="0">
                      <a:pos x="62" y="232"/>
                    </a:cxn>
                    <a:cxn ang="0">
                      <a:pos x="112" y="112"/>
                    </a:cxn>
                    <a:cxn ang="0">
                      <a:pos x="112" y="112"/>
                    </a:cxn>
                    <a:cxn ang="0">
                      <a:pos x="231" y="63"/>
                    </a:cxn>
                    <a:cxn ang="0">
                      <a:pos x="231" y="63"/>
                    </a:cxn>
                    <a:cxn ang="0">
                      <a:pos x="231" y="0"/>
                    </a:cxn>
                  </a:cxnLst>
                  <a:rect l="0" t="0" r="r" b="b"/>
                  <a:pathLst>
                    <a:path w="231" h="232">
                      <a:moveTo>
                        <a:pt x="231" y="0"/>
                      </a:moveTo>
                      <a:cubicBezTo>
                        <a:pt x="167" y="0"/>
                        <a:pt x="110" y="26"/>
                        <a:pt x="68" y="68"/>
                      </a:cubicBezTo>
                      <a:lnTo>
                        <a:pt x="68" y="68"/>
                      </a:lnTo>
                      <a:cubicBezTo>
                        <a:pt x="26" y="110"/>
                        <a:pt x="0" y="168"/>
                        <a:pt x="0" y="232"/>
                      </a:cubicBezTo>
                      <a:lnTo>
                        <a:pt x="62" y="232"/>
                      </a:lnTo>
                      <a:cubicBezTo>
                        <a:pt x="62" y="185"/>
                        <a:pt x="81" y="143"/>
                        <a:pt x="112" y="112"/>
                      </a:cubicBezTo>
                      <a:lnTo>
                        <a:pt x="112" y="112"/>
                      </a:lnTo>
                      <a:cubicBezTo>
                        <a:pt x="142" y="82"/>
                        <a:pt x="185" y="63"/>
                        <a:pt x="231" y="63"/>
                      </a:cubicBezTo>
                      <a:lnTo>
                        <a:pt x="231" y="63"/>
                      </a:lnTo>
                      <a:lnTo>
                        <a:pt x="231" y="0"/>
                      </a:lnTo>
                      <a:close/>
                    </a:path>
                  </a:pathLst>
                </a:custGeom>
                <a:solidFill>
                  <a:srgbClr val="E7F1F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5" name="Freeform 1122"/>
                <p:cNvSpPr>
                  <a:spLocks/>
                </p:cNvSpPr>
                <p:nvPr/>
              </p:nvSpPr>
              <p:spPr bwMode="auto">
                <a:xfrm>
                  <a:off x="662" y="1967"/>
                  <a:ext cx="52" cy="52"/>
                </a:xfrm>
                <a:custGeom>
                  <a:avLst/>
                  <a:gdLst/>
                  <a:ahLst/>
                  <a:cxnLst>
                    <a:cxn ang="0">
                      <a:pos x="213" y="0"/>
                    </a:cxn>
                    <a:cxn ang="0">
                      <a:pos x="63" y="62"/>
                    </a:cxn>
                    <a:cxn ang="0">
                      <a:pos x="63" y="62"/>
                    </a:cxn>
                    <a:cxn ang="0">
                      <a:pos x="0" y="213"/>
                    </a:cxn>
                    <a:cxn ang="0">
                      <a:pos x="58" y="213"/>
                    </a:cxn>
                    <a:cxn ang="0">
                      <a:pos x="103" y="103"/>
                    </a:cxn>
                    <a:cxn ang="0">
                      <a:pos x="103" y="103"/>
                    </a:cxn>
                    <a:cxn ang="0">
                      <a:pos x="213" y="57"/>
                    </a:cxn>
                    <a:cxn ang="0">
                      <a:pos x="213" y="57"/>
                    </a:cxn>
                    <a:cxn ang="0">
                      <a:pos x="213" y="0"/>
                    </a:cxn>
                  </a:cxnLst>
                  <a:rect l="0" t="0" r="r" b="b"/>
                  <a:pathLst>
                    <a:path w="213" h="213">
                      <a:moveTo>
                        <a:pt x="213" y="0"/>
                      </a:moveTo>
                      <a:cubicBezTo>
                        <a:pt x="154" y="0"/>
                        <a:pt x="101" y="24"/>
                        <a:pt x="63" y="62"/>
                      </a:cubicBezTo>
                      <a:lnTo>
                        <a:pt x="63" y="62"/>
                      </a:lnTo>
                      <a:cubicBezTo>
                        <a:pt x="24" y="101"/>
                        <a:pt x="0" y="154"/>
                        <a:pt x="0" y="213"/>
                      </a:cubicBezTo>
                      <a:lnTo>
                        <a:pt x="58" y="213"/>
                      </a:lnTo>
                      <a:cubicBezTo>
                        <a:pt x="58" y="170"/>
                        <a:pt x="75" y="131"/>
                        <a:pt x="103" y="103"/>
                      </a:cubicBezTo>
                      <a:lnTo>
                        <a:pt x="103" y="103"/>
                      </a:lnTo>
                      <a:cubicBezTo>
                        <a:pt x="131" y="75"/>
                        <a:pt x="170" y="57"/>
                        <a:pt x="213" y="57"/>
                      </a:cubicBezTo>
                      <a:lnTo>
                        <a:pt x="213" y="57"/>
                      </a:lnTo>
                      <a:lnTo>
                        <a:pt x="213" y="0"/>
                      </a:lnTo>
                      <a:close/>
                    </a:path>
                  </a:pathLst>
                </a:custGeom>
                <a:solidFill>
                  <a:srgbClr val="AECBD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6" name="Freeform 1123"/>
                <p:cNvSpPr>
                  <a:spLocks/>
                </p:cNvSpPr>
                <p:nvPr/>
              </p:nvSpPr>
              <p:spPr bwMode="auto">
                <a:xfrm>
                  <a:off x="667" y="1972"/>
                  <a:ext cx="47" cy="47"/>
                </a:xfrm>
                <a:custGeom>
                  <a:avLst/>
                  <a:gdLst/>
                  <a:ahLst/>
                  <a:cxnLst>
                    <a:cxn ang="0">
                      <a:pos x="194" y="0"/>
                    </a:cxn>
                    <a:cxn ang="0">
                      <a:pos x="57" y="57"/>
                    </a:cxn>
                    <a:cxn ang="0">
                      <a:pos x="57" y="57"/>
                    </a:cxn>
                    <a:cxn ang="0">
                      <a:pos x="0" y="195"/>
                    </a:cxn>
                    <a:cxn ang="0">
                      <a:pos x="52" y="195"/>
                    </a:cxn>
                    <a:cxn ang="0">
                      <a:pos x="94" y="94"/>
                    </a:cxn>
                    <a:cxn ang="0">
                      <a:pos x="94" y="94"/>
                    </a:cxn>
                    <a:cxn ang="0">
                      <a:pos x="194" y="53"/>
                    </a:cxn>
                    <a:cxn ang="0">
                      <a:pos x="194" y="53"/>
                    </a:cxn>
                    <a:cxn ang="0">
                      <a:pos x="194" y="0"/>
                    </a:cxn>
                  </a:cxnLst>
                  <a:rect l="0" t="0" r="r" b="b"/>
                  <a:pathLst>
                    <a:path w="194" h="195">
                      <a:moveTo>
                        <a:pt x="194" y="0"/>
                      </a:moveTo>
                      <a:cubicBezTo>
                        <a:pt x="140" y="0"/>
                        <a:pt x="92" y="22"/>
                        <a:pt x="57" y="57"/>
                      </a:cubicBezTo>
                      <a:lnTo>
                        <a:pt x="57" y="57"/>
                      </a:lnTo>
                      <a:cubicBezTo>
                        <a:pt x="21" y="92"/>
                        <a:pt x="0" y="141"/>
                        <a:pt x="0" y="195"/>
                      </a:cubicBezTo>
                      <a:lnTo>
                        <a:pt x="52" y="195"/>
                      </a:lnTo>
                      <a:cubicBezTo>
                        <a:pt x="52" y="155"/>
                        <a:pt x="68" y="120"/>
                        <a:pt x="94" y="94"/>
                      </a:cubicBezTo>
                      <a:lnTo>
                        <a:pt x="94" y="94"/>
                      </a:lnTo>
                      <a:cubicBezTo>
                        <a:pt x="119" y="68"/>
                        <a:pt x="155" y="53"/>
                        <a:pt x="194" y="53"/>
                      </a:cubicBezTo>
                      <a:lnTo>
                        <a:pt x="194" y="53"/>
                      </a:lnTo>
                      <a:lnTo>
                        <a:pt x="194" y="0"/>
                      </a:lnTo>
                      <a:close/>
                    </a:path>
                  </a:pathLst>
                </a:custGeom>
                <a:solidFill>
                  <a:srgbClr val="E7F1F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7" name="Freeform 1124"/>
                <p:cNvSpPr>
                  <a:spLocks/>
                </p:cNvSpPr>
                <p:nvPr/>
              </p:nvSpPr>
              <p:spPr bwMode="auto">
                <a:xfrm>
                  <a:off x="671" y="1976"/>
                  <a:ext cx="43" cy="43"/>
                </a:xfrm>
                <a:custGeom>
                  <a:avLst/>
                  <a:gdLst/>
                  <a:ahLst/>
                  <a:cxnLst>
                    <a:cxn ang="0">
                      <a:pos x="176" y="0"/>
                    </a:cxn>
                    <a:cxn ang="0">
                      <a:pos x="52" y="52"/>
                    </a:cxn>
                    <a:cxn ang="0">
                      <a:pos x="52" y="52"/>
                    </a:cxn>
                    <a:cxn ang="0">
                      <a:pos x="0" y="177"/>
                    </a:cxn>
                    <a:cxn ang="0">
                      <a:pos x="47" y="177"/>
                    </a:cxn>
                    <a:cxn ang="0">
                      <a:pos x="85" y="86"/>
                    </a:cxn>
                    <a:cxn ang="0">
                      <a:pos x="85" y="86"/>
                    </a:cxn>
                    <a:cxn ang="0">
                      <a:pos x="176" y="48"/>
                    </a:cxn>
                    <a:cxn ang="0">
                      <a:pos x="176" y="48"/>
                    </a:cxn>
                    <a:cxn ang="0">
                      <a:pos x="176" y="0"/>
                    </a:cxn>
                  </a:cxnLst>
                  <a:rect l="0" t="0" r="r" b="b"/>
                  <a:pathLst>
                    <a:path w="176" h="177">
                      <a:moveTo>
                        <a:pt x="176" y="0"/>
                      </a:moveTo>
                      <a:cubicBezTo>
                        <a:pt x="128" y="0"/>
                        <a:pt x="83" y="20"/>
                        <a:pt x="52" y="52"/>
                      </a:cubicBezTo>
                      <a:lnTo>
                        <a:pt x="52" y="52"/>
                      </a:lnTo>
                      <a:cubicBezTo>
                        <a:pt x="20" y="84"/>
                        <a:pt x="0" y="128"/>
                        <a:pt x="0" y="177"/>
                      </a:cubicBezTo>
                      <a:lnTo>
                        <a:pt x="47" y="177"/>
                      </a:lnTo>
                      <a:cubicBezTo>
                        <a:pt x="47" y="141"/>
                        <a:pt x="62" y="109"/>
                        <a:pt x="85" y="86"/>
                      </a:cubicBezTo>
                      <a:lnTo>
                        <a:pt x="85" y="86"/>
                      </a:lnTo>
                      <a:cubicBezTo>
                        <a:pt x="108" y="62"/>
                        <a:pt x="141" y="48"/>
                        <a:pt x="176" y="48"/>
                      </a:cubicBezTo>
                      <a:lnTo>
                        <a:pt x="176" y="48"/>
                      </a:lnTo>
                      <a:lnTo>
                        <a:pt x="176" y="0"/>
                      </a:lnTo>
                      <a:close/>
                    </a:path>
                  </a:pathLst>
                </a:custGeom>
                <a:solidFill>
                  <a:srgbClr val="AECBD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8" name="Freeform 1125"/>
                <p:cNvSpPr>
                  <a:spLocks/>
                </p:cNvSpPr>
                <p:nvPr/>
              </p:nvSpPr>
              <p:spPr bwMode="auto">
                <a:xfrm>
                  <a:off x="676" y="1981"/>
                  <a:ext cx="38" cy="38"/>
                </a:xfrm>
                <a:custGeom>
                  <a:avLst/>
                  <a:gdLst/>
                  <a:ahLst/>
                  <a:cxnLst>
                    <a:cxn ang="0">
                      <a:pos x="158" y="0"/>
                    </a:cxn>
                    <a:cxn ang="0">
                      <a:pos x="46" y="46"/>
                    </a:cxn>
                    <a:cxn ang="0">
                      <a:pos x="46" y="46"/>
                    </a:cxn>
                    <a:cxn ang="0">
                      <a:pos x="0" y="158"/>
                    </a:cxn>
                    <a:cxn ang="0">
                      <a:pos x="43" y="158"/>
                    </a:cxn>
                    <a:cxn ang="0">
                      <a:pos x="77" y="76"/>
                    </a:cxn>
                    <a:cxn ang="0">
                      <a:pos x="77" y="76"/>
                    </a:cxn>
                    <a:cxn ang="0">
                      <a:pos x="158" y="42"/>
                    </a:cxn>
                    <a:cxn ang="0">
                      <a:pos x="158" y="42"/>
                    </a:cxn>
                    <a:cxn ang="0">
                      <a:pos x="158" y="0"/>
                    </a:cxn>
                  </a:cxnLst>
                  <a:rect l="0" t="0" r="r" b="b"/>
                  <a:pathLst>
                    <a:path w="158" h="158">
                      <a:moveTo>
                        <a:pt x="158" y="0"/>
                      </a:moveTo>
                      <a:cubicBezTo>
                        <a:pt x="115" y="0"/>
                        <a:pt x="75" y="17"/>
                        <a:pt x="46" y="46"/>
                      </a:cubicBezTo>
                      <a:lnTo>
                        <a:pt x="46" y="46"/>
                      </a:lnTo>
                      <a:cubicBezTo>
                        <a:pt x="18" y="75"/>
                        <a:pt x="0" y="114"/>
                        <a:pt x="0" y="158"/>
                      </a:cubicBezTo>
                      <a:lnTo>
                        <a:pt x="43" y="158"/>
                      </a:lnTo>
                      <a:cubicBezTo>
                        <a:pt x="43" y="126"/>
                        <a:pt x="56" y="97"/>
                        <a:pt x="77" y="76"/>
                      </a:cubicBezTo>
                      <a:lnTo>
                        <a:pt x="77" y="76"/>
                      </a:lnTo>
                      <a:cubicBezTo>
                        <a:pt x="97" y="55"/>
                        <a:pt x="126" y="42"/>
                        <a:pt x="158" y="42"/>
                      </a:cubicBezTo>
                      <a:lnTo>
                        <a:pt x="158" y="42"/>
                      </a:lnTo>
                      <a:lnTo>
                        <a:pt x="158" y="0"/>
                      </a:lnTo>
                      <a:close/>
                    </a:path>
                  </a:pathLst>
                </a:custGeom>
                <a:solidFill>
                  <a:srgbClr val="E7F1F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199" name="Freeform 1126"/>
                <p:cNvSpPr>
                  <a:spLocks/>
                </p:cNvSpPr>
                <p:nvPr/>
              </p:nvSpPr>
              <p:spPr bwMode="auto">
                <a:xfrm>
                  <a:off x="680" y="1985"/>
                  <a:ext cx="34" cy="34"/>
                </a:xfrm>
                <a:custGeom>
                  <a:avLst/>
                  <a:gdLst/>
                  <a:ahLst/>
                  <a:cxnLst>
                    <a:cxn ang="0">
                      <a:pos x="140" y="0"/>
                    </a:cxn>
                    <a:cxn ang="0">
                      <a:pos x="41" y="41"/>
                    </a:cxn>
                    <a:cxn ang="0">
                      <a:pos x="41" y="41"/>
                    </a:cxn>
                    <a:cxn ang="0">
                      <a:pos x="0" y="140"/>
                    </a:cxn>
                    <a:cxn ang="0">
                      <a:pos x="38" y="140"/>
                    </a:cxn>
                    <a:cxn ang="0">
                      <a:pos x="68" y="67"/>
                    </a:cxn>
                    <a:cxn ang="0">
                      <a:pos x="68" y="67"/>
                    </a:cxn>
                    <a:cxn ang="0">
                      <a:pos x="140" y="38"/>
                    </a:cxn>
                    <a:cxn ang="0">
                      <a:pos x="140" y="38"/>
                    </a:cxn>
                    <a:cxn ang="0">
                      <a:pos x="140" y="0"/>
                    </a:cxn>
                  </a:cxnLst>
                  <a:rect l="0" t="0" r="r" b="b"/>
                  <a:pathLst>
                    <a:path w="140" h="140">
                      <a:moveTo>
                        <a:pt x="140" y="0"/>
                      </a:moveTo>
                      <a:cubicBezTo>
                        <a:pt x="102" y="0"/>
                        <a:pt x="67" y="15"/>
                        <a:pt x="41" y="41"/>
                      </a:cubicBezTo>
                      <a:lnTo>
                        <a:pt x="41" y="41"/>
                      </a:lnTo>
                      <a:cubicBezTo>
                        <a:pt x="16" y="66"/>
                        <a:pt x="0" y="101"/>
                        <a:pt x="0" y="140"/>
                      </a:cubicBezTo>
                      <a:lnTo>
                        <a:pt x="38" y="140"/>
                      </a:lnTo>
                      <a:cubicBezTo>
                        <a:pt x="38" y="111"/>
                        <a:pt x="50" y="86"/>
                        <a:pt x="68" y="67"/>
                      </a:cubicBezTo>
                      <a:lnTo>
                        <a:pt x="68" y="67"/>
                      </a:lnTo>
                      <a:cubicBezTo>
                        <a:pt x="87" y="49"/>
                        <a:pt x="112" y="38"/>
                        <a:pt x="140" y="38"/>
                      </a:cubicBezTo>
                      <a:lnTo>
                        <a:pt x="140" y="38"/>
                      </a:lnTo>
                      <a:lnTo>
                        <a:pt x="140" y="0"/>
                      </a:lnTo>
                      <a:close/>
                    </a:path>
                  </a:pathLst>
                </a:custGeom>
                <a:solidFill>
                  <a:srgbClr val="AECBD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0" name="Freeform 1127"/>
                <p:cNvSpPr>
                  <a:spLocks/>
                </p:cNvSpPr>
                <p:nvPr/>
              </p:nvSpPr>
              <p:spPr bwMode="auto">
                <a:xfrm>
                  <a:off x="685" y="1989"/>
                  <a:ext cx="29" cy="30"/>
                </a:xfrm>
                <a:custGeom>
                  <a:avLst/>
                  <a:gdLst/>
                  <a:ahLst/>
                  <a:cxnLst>
                    <a:cxn ang="0">
                      <a:pos x="121" y="0"/>
                    </a:cxn>
                    <a:cxn ang="0">
                      <a:pos x="35" y="36"/>
                    </a:cxn>
                    <a:cxn ang="0">
                      <a:pos x="35" y="36"/>
                    </a:cxn>
                    <a:cxn ang="0">
                      <a:pos x="0" y="122"/>
                    </a:cxn>
                    <a:cxn ang="0">
                      <a:pos x="32" y="122"/>
                    </a:cxn>
                    <a:cxn ang="0">
                      <a:pos x="58" y="59"/>
                    </a:cxn>
                    <a:cxn ang="0">
                      <a:pos x="58" y="59"/>
                    </a:cxn>
                    <a:cxn ang="0">
                      <a:pos x="121" y="33"/>
                    </a:cxn>
                    <a:cxn ang="0">
                      <a:pos x="121" y="33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22">
                      <a:moveTo>
                        <a:pt x="121" y="0"/>
                      </a:moveTo>
                      <a:cubicBezTo>
                        <a:pt x="88" y="0"/>
                        <a:pt x="57" y="14"/>
                        <a:pt x="35" y="36"/>
                      </a:cubicBezTo>
                      <a:lnTo>
                        <a:pt x="35" y="36"/>
                      </a:lnTo>
                      <a:cubicBezTo>
                        <a:pt x="13" y="58"/>
                        <a:pt x="0" y="88"/>
                        <a:pt x="0" y="122"/>
                      </a:cubicBezTo>
                      <a:lnTo>
                        <a:pt x="32" y="122"/>
                      </a:lnTo>
                      <a:cubicBezTo>
                        <a:pt x="32" y="97"/>
                        <a:pt x="42" y="75"/>
                        <a:pt x="58" y="59"/>
                      </a:cubicBezTo>
                      <a:lnTo>
                        <a:pt x="58" y="59"/>
                      </a:lnTo>
                      <a:cubicBezTo>
                        <a:pt x="75" y="43"/>
                        <a:pt x="97" y="33"/>
                        <a:pt x="121" y="33"/>
                      </a:cubicBezTo>
                      <a:lnTo>
                        <a:pt x="121" y="33"/>
                      </a:lnTo>
                      <a:lnTo>
                        <a:pt x="121" y="0"/>
                      </a:lnTo>
                      <a:close/>
                    </a:path>
                  </a:pathLst>
                </a:custGeom>
                <a:solidFill>
                  <a:srgbClr val="E7F1F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1" name="Freeform 1128"/>
                <p:cNvSpPr>
                  <a:spLocks/>
                </p:cNvSpPr>
                <p:nvPr/>
              </p:nvSpPr>
              <p:spPr bwMode="auto">
                <a:xfrm>
                  <a:off x="689" y="1994"/>
                  <a:ext cx="25" cy="25"/>
                </a:xfrm>
                <a:custGeom>
                  <a:avLst/>
                  <a:gdLst/>
                  <a:ahLst/>
                  <a:cxnLst>
                    <a:cxn ang="0">
                      <a:pos x="103" y="0"/>
                    </a:cxn>
                    <a:cxn ang="0">
                      <a:pos x="30" y="31"/>
                    </a:cxn>
                    <a:cxn ang="0">
                      <a:pos x="30" y="31"/>
                    </a:cxn>
                    <a:cxn ang="0">
                      <a:pos x="0" y="104"/>
                    </a:cxn>
                    <a:cxn ang="0">
                      <a:pos x="28" y="104"/>
                    </a:cxn>
                    <a:cxn ang="0">
                      <a:pos x="50" y="50"/>
                    </a:cxn>
                    <a:cxn ang="0">
                      <a:pos x="50" y="50"/>
                    </a:cxn>
                    <a:cxn ang="0">
                      <a:pos x="103" y="28"/>
                    </a:cxn>
                    <a:cxn ang="0">
                      <a:pos x="103" y="28"/>
                    </a:cxn>
                    <a:cxn ang="0">
                      <a:pos x="103" y="0"/>
                    </a:cxn>
                  </a:cxnLst>
                  <a:rect l="0" t="0" r="r" b="b"/>
                  <a:pathLst>
                    <a:path w="103" h="104">
                      <a:moveTo>
                        <a:pt x="103" y="0"/>
                      </a:moveTo>
                      <a:cubicBezTo>
                        <a:pt x="75" y="0"/>
                        <a:pt x="49" y="12"/>
                        <a:pt x="30" y="31"/>
                      </a:cubicBezTo>
                      <a:lnTo>
                        <a:pt x="30" y="31"/>
                      </a:lnTo>
                      <a:cubicBezTo>
                        <a:pt x="12" y="49"/>
                        <a:pt x="0" y="75"/>
                        <a:pt x="0" y="104"/>
                      </a:cubicBezTo>
                      <a:lnTo>
                        <a:pt x="28" y="104"/>
                      </a:lnTo>
                      <a:cubicBezTo>
                        <a:pt x="28" y="83"/>
                        <a:pt x="36" y="64"/>
                        <a:pt x="50" y="50"/>
                      </a:cubicBezTo>
                      <a:lnTo>
                        <a:pt x="50" y="50"/>
                      </a:lnTo>
                      <a:cubicBezTo>
                        <a:pt x="64" y="37"/>
                        <a:pt x="82" y="28"/>
                        <a:pt x="103" y="28"/>
                      </a:cubicBezTo>
                      <a:lnTo>
                        <a:pt x="103" y="28"/>
                      </a:lnTo>
                      <a:lnTo>
                        <a:pt x="103" y="0"/>
                      </a:lnTo>
                      <a:close/>
                    </a:path>
                  </a:pathLst>
                </a:custGeom>
                <a:solidFill>
                  <a:srgbClr val="AECBD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2" name="Freeform 1129"/>
                <p:cNvSpPr>
                  <a:spLocks/>
                </p:cNvSpPr>
                <p:nvPr/>
              </p:nvSpPr>
              <p:spPr bwMode="auto">
                <a:xfrm>
                  <a:off x="693" y="1999"/>
                  <a:ext cx="21" cy="20"/>
                </a:xfrm>
                <a:custGeom>
                  <a:avLst/>
                  <a:gdLst/>
                  <a:ahLst/>
                  <a:cxnLst>
                    <a:cxn ang="0">
                      <a:pos x="85" y="0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0" y="85"/>
                    </a:cxn>
                    <a:cxn ang="0">
                      <a:pos x="23" y="85"/>
                    </a:cxn>
                    <a:cxn ang="0">
                      <a:pos x="41" y="41"/>
                    </a:cxn>
                    <a:cxn ang="0">
                      <a:pos x="41" y="41"/>
                    </a:cxn>
                    <a:cxn ang="0">
                      <a:pos x="85" y="23"/>
                    </a:cxn>
                    <a:cxn ang="0">
                      <a:pos x="85" y="23"/>
                    </a:cxn>
                    <a:cxn ang="0">
                      <a:pos x="85" y="0"/>
                    </a:cxn>
                  </a:cxnLst>
                  <a:rect l="0" t="0" r="r" b="b"/>
                  <a:pathLst>
                    <a:path w="85" h="85">
                      <a:moveTo>
                        <a:pt x="85" y="0"/>
                      </a:moveTo>
                      <a:cubicBezTo>
                        <a:pt x="62" y="0"/>
                        <a:pt x="41" y="9"/>
                        <a:pt x="25" y="25"/>
                      </a:cubicBezTo>
                      <a:lnTo>
                        <a:pt x="25" y="25"/>
                      </a:lnTo>
                      <a:cubicBezTo>
                        <a:pt x="10" y="40"/>
                        <a:pt x="0" y="61"/>
                        <a:pt x="0" y="85"/>
                      </a:cubicBezTo>
                      <a:lnTo>
                        <a:pt x="23" y="85"/>
                      </a:lnTo>
                      <a:cubicBezTo>
                        <a:pt x="23" y="68"/>
                        <a:pt x="30" y="52"/>
                        <a:pt x="41" y="41"/>
                      </a:cubicBezTo>
                      <a:lnTo>
                        <a:pt x="41" y="41"/>
                      </a:lnTo>
                      <a:cubicBezTo>
                        <a:pt x="53" y="29"/>
                        <a:pt x="68" y="23"/>
                        <a:pt x="85" y="23"/>
                      </a:cubicBezTo>
                      <a:lnTo>
                        <a:pt x="85" y="23"/>
                      </a:lnTo>
                      <a:lnTo>
                        <a:pt x="85" y="0"/>
                      </a:lnTo>
                      <a:close/>
                    </a:path>
                  </a:pathLst>
                </a:custGeom>
                <a:solidFill>
                  <a:srgbClr val="E7F1F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3" name="Freeform 1130"/>
                <p:cNvSpPr>
                  <a:spLocks/>
                </p:cNvSpPr>
                <p:nvPr/>
              </p:nvSpPr>
              <p:spPr bwMode="auto">
                <a:xfrm>
                  <a:off x="698" y="2003"/>
                  <a:ext cx="16" cy="16"/>
                </a:xfrm>
                <a:custGeom>
                  <a:avLst/>
                  <a:gdLst/>
                  <a:ahLst/>
                  <a:cxnLst>
                    <a:cxn ang="0">
                      <a:pos x="67" y="0"/>
                    </a:cxn>
                    <a:cxn ang="0">
                      <a:pos x="20" y="19"/>
                    </a:cxn>
                    <a:cxn ang="0">
                      <a:pos x="20" y="19"/>
                    </a:cxn>
                    <a:cxn ang="0">
                      <a:pos x="0" y="67"/>
                    </a:cxn>
                    <a:cxn ang="0">
                      <a:pos x="9" y="67"/>
                    </a:cxn>
                    <a:cxn ang="0">
                      <a:pos x="18" y="67"/>
                    </a:cxn>
                    <a:cxn ang="0">
                      <a:pos x="67" y="67"/>
                    </a:cxn>
                    <a:cxn ang="0">
                      <a:pos x="67" y="47"/>
                    </a:cxn>
                    <a:cxn ang="0">
                      <a:pos x="67" y="43"/>
                    </a:cxn>
                    <a:cxn ang="0">
                      <a:pos x="67" y="18"/>
                    </a:cxn>
                    <a:cxn ang="0">
                      <a:pos x="67" y="18"/>
                    </a:cxn>
                    <a:cxn ang="0">
                      <a:pos x="67" y="15"/>
                    </a:cxn>
                    <a:cxn ang="0">
                      <a:pos x="67" y="0"/>
                    </a:cxn>
                  </a:cxnLst>
                  <a:rect l="0" t="0" r="r" b="b"/>
                  <a:pathLst>
                    <a:path w="67" h="67">
                      <a:moveTo>
                        <a:pt x="67" y="0"/>
                      </a:moveTo>
                      <a:cubicBezTo>
                        <a:pt x="49" y="0"/>
                        <a:pt x="32" y="7"/>
                        <a:pt x="20" y="19"/>
                      </a:cubicBezTo>
                      <a:lnTo>
                        <a:pt x="20" y="19"/>
                      </a:lnTo>
                      <a:cubicBezTo>
                        <a:pt x="8" y="31"/>
                        <a:pt x="0" y="48"/>
                        <a:pt x="0" y="67"/>
                      </a:cubicBezTo>
                      <a:lnTo>
                        <a:pt x="9" y="67"/>
                      </a:lnTo>
                      <a:lnTo>
                        <a:pt x="18" y="67"/>
                      </a:lnTo>
                      <a:lnTo>
                        <a:pt x="67" y="67"/>
                      </a:lnTo>
                      <a:lnTo>
                        <a:pt x="67" y="47"/>
                      </a:lnTo>
                      <a:lnTo>
                        <a:pt x="67" y="43"/>
                      </a:lnTo>
                      <a:lnTo>
                        <a:pt x="67" y="18"/>
                      </a:lnTo>
                      <a:lnTo>
                        <a:pt x="67" y="18"/>
                      </a:lnTo>
                      <a:lnTo>
                        <a:pt x="67" y="15"/>
                      </a:lnTo>
                      <a:lnTo>
                        <a:pt x="67" y="0"/>
                      </a:lnTo>
                      <a:close/>
                    </a:path>
                  </a:pathLst>
                </a:custGeom>
                <a:solidFill>
                  <a:srgbClr val="AECBD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4" name="Freeform 1131"/>
                <p:cNvSpPr>
                  <a:spLocks/>
                </p:cNvSpPr>
                <p:nvPr/>
              </p:nvSpPr>
              <p:spPr bwMode="auto">
                <a:xfrm>
                  <a:off x="702" y="2007"/>
                  <a:ext cx="12" cy="12"/>
                </a:xfrm>
                <a:custGeom>
                  <a:avLst/>
                  <a:gdLst/>
                  <a:ahLst/>
                  <a:cxnLst>
                    <a:cxn ang="0">
                      <a:pos x="48" y="0"/>
                    </a:cxn>
                    <a:cxn ang="0">
                      <a:pos x="14" y="14"/>
                    </a:cxn>
                    <a:cxn ang="0">
                      <a:pos x="14" y="14"/>
                    </a:cxn>
                    <a:cxn ang="0">
                      <a:pos x="0" y="49"/>
                    </a:cxn>
                    <a:cxn ang="0">
                      <a:pos x="6" y="49"/>
                    </a:cxn>
                    <a:cxn ang="0">
                      <a:pos x="13" y="49"/>
                    </a:cxn>
                    <a:cxn ang="0">
                      <a:pos x="48" y="49"/>
                    </a:cxn>
                    <a:cxn ang="0">
                      <a:pos x="48" y="35"/>
                    </a:cxn>
                    <a:cxn ang="0">
                      <a:pos x="48" y="31"/>
                    </a:cxn>
                    <a:cxn ang="0">
                      <a:pos x="48" y="13"/>
                    </a:cxn>
                    <a:cxn ang="0">
                      <a:pos x="48" y="13"/>
                    </a:cxn>
                    <a:cxn ang="0">
                      <a:pos x="48" y="11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48" h="49">
                      <a:moveTo>
                        <a:pt x="48" y="0"/>
                      </a:moveTo>
                      <a:cubicBezTo>
                        <a:pt x="35" y="0"/>
                        <a:pt x="23" y="5"/>
                        <a:pt x="14" y="14"/>
                      </a:cubicBezTo>
                      <a:lnTo>
                        <a:pt x="14" y="14"/>
                      </a:lnTo>
                      <a:cubicBezTo>
                        <a:pt x="5" y="23"/>
                        <a:pt x="0" y="35"/>
                        <a:pt x="0" y="49"/>
                      </a:cubicBezTo>
                      <a:lnTo>
                        <a:pt x="6" y="49"/>
                      </a:lnTo>
                      <a:lnTo>
                        <a:pt x="13" y="49"/>
                      </a:lnTo>
                      <a:lnTo>
                        <a:pt x="48" y="49"/>
                      </a:lnTo>
                      <a:lnTo>
                        <a:pt x="48" y="35"/>
                      </a:lnTo>
                      <a:lnTo>
                        <a:pt x="48" y="31"/>
                      </a:lnTo>
                      <a:lnTo>
                        <a:pt x="48" y="13"/>
                      </a:lnTo>
                      <a:lnTo>
                        <a:pt x="48" y="13"/>
                      </a:lnTo>
                      <a:lnTo>
                        <a:pt x="48" y="11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rgbClr val="E7F1F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5" name="Freeform 1132"/>
                <p:cNvSpPr>
                  <a:spLocks/>
                </p:cNvSpPr>
                <p:nvPr/>
              </p:nvSpPr>
              <p:spPr bwMode="auto">
                <a:xfrm>
                  <a:off x="707" y="2012"/>
                  <a:ext cx="7" cy="7"/>
                </a:xfrm>
                <a:custGeom>
                  <a:avLst/>
                  <a:gdLst/>
                  <a:ahLst/>
                  <a:cxnLst>
                    <a:cxn ang="0">
                      <a:pos x="30" y="0"/>
                    </a:cxn>
                    <a:cxn ang="0">
                      <a:pos x="9" y="9"/>
                    </a:cxn>
                    <a:cxn ang="0">
                      <a:pos x="9" y="9"/>
                    </a:cxn>
                    <a:cxn ang="0">
                      <a:pos x="0" y="31"/>
                    </a:cxn>
                    <a:cxn ang="0">
                      <a:pos x="30" y="31"/>
                    </a:cxn>
                    <a:cxn ang="0">
                      <a:pos x="30" y="22"/>
                    </a:cxn>
                    <a:cxn ang="0">
                      <a:pos x="30" y="20"/>
                    </a:cxn>
                    <a:cxn ang="0">
                      <a:pos x="30" y="8"/>
                    </a:cxn>
                    <a:cxn ang="0">
                      <a:pos x="30" y="8"/>
                    </a:cxn>
                    <a:cxn ang="0">
                      <a:pos x="30" y="7"/>
                    </a:cxn>
                    <a:cxn ang="0">
                      <a:pos x="30" y="0"/>
                    </a:cxn>
                  </a:cxnLst>
                  <a:rect l="0" t="0" r="r" b="b"/>
                  <a:pathLst>
                    <a:path w="30" h="31">
                      <a:moveTo>
                        <a:pt x="30" y="0"/>
                      </a:moveTo>
                      <a:cubicBezTo>
                        <a:pt x="22" y="0"/>
                        <a:pt x="14" y="4"/>
                        <a:pt x="9" y="9"/>
                      </a:cubicBezTo>
                      <a:lnTo>
                        <a:pt x="9" y="9"/>
                      </a:lnTo>
                      <a:cubicBezTo>
                        <a:pt x="3" y="15"/>
                        <a:pt x="0" y="22"/>
                        <a:pt x="0" y="31"/>
                      </a:cubicBezTo>
                      <a:lnTo>
                        <a:pt x="30" y="31"/>
                      </a:lnTo>
                      <a:lnTo>
                        <a:pt x="30" y="22"/>
                      </a:lnTo>
                      <a:lnTo>
                        <a:pt x="30" y="20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7"/>
                      </a:lnTo>
                      <a:lnTo>
                        <a:pt x="30" y="0"/>
                      </a:lnTo>
                      <a:close/>
                    </a:path>
                  </a:pathLst>
                </a:custGeom>
                <a:solidFill>
                  <a:srgbClr val="AECBD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6" name="Freeform 1133"/>
                <p:cNvSpPr>
                  <a:spLocks/>
                </p:cNvSpPr>
                <p:nvPr/>
              </p:nvSpPr>
              <p:spPr bwMode="auto">
                <a:xfrm>
                  <a:off x="711" y="201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2" y="0"/>
                    </a:cxn>
                    <a:cxn ang="0">
                      <a:pos x="4" y="4"/>
                    </a:cxn>
                    <a:cxn ang="0">
                      <a:pos x="4" y="4"/>
                    </a:cxn>
                    <a:cxn ang="0">
                      <a:pos x="0" y="13"/>
                    </a:cxn>
                    <a:cxn ang="0">
                      <a:pos x="12" y="13"/>
                    </a:cxn>
                    <a:cxn ang="0">
                      <a:pos x="12" y="9"/>
                    </a:cxn>
                    <a:cxn ang="0">
                      <a:pos x="12" y="8"/>
                    </a:cxn>
                    <a:cxn ang="0">
                      <a:pos x="12" y="4"/>
                    </a:cxn>
                    <a:cxn ang="0">
                      <a:pos x="12" y="4"/>
                    </a:cxn>
                    <a:cxn ang="0">
                      <a:pos x="12" y="3"/>
                    </a:cxn>
                    <a:cxn ang="0">
                      <a:pos x="12" y="0"/>
                    </a:cxn>
                  </a:cxnLst>
                  <a:rect l="0" t="0" r="r" b="b"/>
                  <a:pathLst>
                    <a:path w="12" h="13">
                      <a:moveTo>
                        <a:pt x="12" y="0"/>
                      </a:moveTo>
                      <a:cubicBezTo>
                        <a:pt x="9" y="0"/>
                        <a:pt x="6" y="2"/>
                        <a:pt x="4" y="4"/>
                      </a:cubicBezTo>
                      <a:lnTo>
                        <a:pt x="4" y="4"/>
                      </a:lnTo>
                      <a:cubicBezTo>
                        <a:pt x="1" y="6"/>
                        <a:pt x="0" y="9"/>
                        <a:pt x="0" y="13"/>
                      </a:cubicBezTo>
                      <a:lnTo>
                        <a:pt x="12" y="13"/>
                      </a:lnTo>
                      <a:lnTo>
                        <a:pt x="12" y="9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3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solidFill>
                  <a:srgbClr val="79A7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7" name="Rectangle 1134"/>
                <p:cNvSpPr>
                  <a:spLocks noChangeArrowheads="1"/>
                </p:cNvSpPr>
                <p:nvPr/>
              </p:nvSpPr>
              <p:spPr bwMode="auto">
                <a:xfrm>
                  <a:off x="346" y="1963"/>
                  <a:ext cx="256" cy="4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8" name="Rectangle 1135"/>
                <p:cNvSpPr>
                  <a:spLocks noChangeArrowheads="1"/>
                </p:cNvSpPr>
                <p:nvPr/>
              </p:nvSpPr>
              <p:spPr bwMode="auto">
                <a:xfrm>
                  <a:off x="346" y="1972"/>
                  <a:ext cx="256" cy="4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09" name="Rectangle 1136"/>
                <p:cNvSpPr>
                  <a:spLocks noChangeArrowheads="1"/>
                </p:cNvSpPr>
                <p:nvPr/>
              </p:nvSpPr>
              <p:spPr bwMode="auto">
                <a:xfrm>
                  <a:off x="346" y="1980"/>
                  <a:ext cx="256" cy="5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0" name="Rectangle 1137"/>
                <p:cNvSpPr>
                  <a:spLocks noChangeArrowheads="1"/>
                </p:cNvSpPr>
                <p:nvPr/>
              </p:nvSpPr>
              <p:spPr bwMode="auto">
                <a:xfrm>
                  <a:off x="346" y="1989"/>
                  <a:ext cx="256" cy="5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1" name="Rectangle 1138"/>
                <p:cNvSpPr>
                  <a:spLocks noChangeArrowheads="1"/>
                </p:cNvSpPr>
                <p:nvPr/>
              </p:nvSpPr>
              <p:spPr bwMode="auto">
                <a:xfrm>
                  <a:off x="346" y="1998"/>
                  <a:ext cx="256" cy="5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2" name="Rectangle 1139"/>
                <p:cNvSpPr>
                  <a:spLocks noChangeArrowheads="1"/>
                </p:cNvSpPr>
                <p:nvPr/>
              </p:nvSpPr>
              <p:spPr bwMode="auto">
                <a:xfrm>
                  <a:off x="346" y="2007"/>
                  <a:ext cx="256" cy="5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3" name="Rectangle 1140"/>
                <p:cNvSpPr>
                  <a:spLocks noChangeArrowheads="1"/>
                </p:cNvSpPr>
                <p:nvPr/>
              </p:nvSpPr>
              <p:spPr bwMode="auto">
                <a:xfrm>
                  <a:off x="346" y="1967"/>
                  <a:ext cx="256" cy="5"/>
                </a:xfrm>
                <a:prstGeom prst="rect">
                  <a:avLst/>
                </a:prstGeom>
                <a:solidFill>
                  <a:srgbClr val="9BBC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4" name="Rectangle 1141"/>
                <p:cNvSpPr>
                  <a:spLocks noChangeArrowheads="1"/>
                </p:cNvSpPr>
                <p:nvPr/>
              </p:nvSpPr>
              <p:spPr bwMode="auto">
                <a:xfrm>
                  <a:off x="346" y="1976"/>
                  <a:ext cx="256" cy="4"/>
                </a:xfrm>
                <a:prstGeom prst="rect">
                  <a:avLst/>
                </a:prstGeom>
                <a:solidFill>
                  <a:srgbClr val="9BBC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5" name="Rectangle 1142"/>
                <p:cNvSpPr>
                  <a:spLocks noChangeArrowheads="1"/>
                </p:cNvSpPr>
                <p:nvPr/>
              </p:nvSpPr>
              <p:spPr bwMode="auto">
                <a:xfrm>
                  <a:off x="346" y="1985"/>
                  <a:ext cx="256" cy="4"/>
                </a:xfrm>
                <a:prstGeom prst="rect">
                  <a:avLst/>
                </a:prstGeom>
                <a:solidFill>
                  <a:srgbClr val="9BBC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6" name="Rectangle 1143"/>
                <p:cNvSpPr>
                  <a:spLocks noChangeArrowheads="1"/>
                </p:cNvSpPr>
                <p:nvPr/>
              </p:nvSpPr>
              <p:spPr bwMode="auto">
                <a:xfrm>
                  <a:off x="346" y="1994"/>
                  <a:ext cx="256" cy="4"/>
                </a:xfrm>
                <a:prstGeom prst="rect">
                  <a:avLst/>
                </a:prstGeom>
                <a:solidFill>
                  <a:srgbClr val="9BBC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7" name="Rectangle 1144"/>
                <p:cNvSpPr>
                  <a:spLocks noChangeArrowheads="1"/>
                </p:cNvSpPr>
                <p:nvPr/>
              </p:nvSpPr>
              <p:spPr bwMode="auto">
                <a:xfrm>
                  <a:off x="346" y="2003"/>
                  <a:ext cx="256" cy="4"/>
                </a:xfrm>
                <a:prstGeom prst="rect">
                  <a:avLst/>
                </a:prstGeom>
                <a:solidFill>
                  <a:srgbClr val="9BBC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8" name="Rectangle 1145"/>
                <p:cNvSpPr>
                  <a:spLocks noChangeArrowheads="1"/>
                </p:cNvSpPr>
                <p:nvPr/>
              </p:nvSpPr>
              <p:spPr bwMode="auto">
                <a:xfrm>
                  <a:off x="346" y="2012"/>
                  <a:ext cx="256" cy="4"/>
                </a:xfrm>
                <a:prstGeom prst="rect">
                  <a:avLst/>
                </a:prstGeom>
                <a:solidFill>
                  <a:srgbClr val="9BBCC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19" name="Rectangle 1146"/>
                <p:cNvSpPr>
                  <a:spLocks noChangeArrowheads="1"/>
                </p:cNvSpPr>
                <p:nvPr/>
              </p:nvSpPr>
              <p:spPr bwMode="auto">
                <a:xfrm>
                  <a:off x="346" y="2016"/>
                  <a:ext cx="256" cy="3"/>
                </a:xfrm>
                <a:prstGeom prst="rect">
                  <a:avLst/>
                </a:prstGeom>
                <a:solidFill>
                  <a:srgbClr val="6F9AA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0" name="Freeform 1147"/>
                <p:cNvSpPr>
                  <a:spLocks/>
                </p:cNvSpPr>
                <p:nvPr/>
              </p:nvSpPr>
              <p:spPr bwMode="auto">
                <a:xfrm>
                  <a:off x="602" y="1963"/>
                  <a:ext cx="56" cy="5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63" y="68"/>
                    </a:cxn>
                    <a:cxn ang="0">
                      <a:pos x="163" y="68"/>
                    </a:cxn>
                    <a:cxn ang="0">
                      <a:pos x="231" y="232"/>
                    </a:cxn>
                    <a:cxn ang="0">
                      <a:pos x="169" y="232"/>
                    </a:cxn>
                    <a:cxn ang="0">
                      <a:pos x="119" y="112"/>
                    </a:cxn>
                    <a:cxn ang="0">
                      <a:pos x="119" y="112"/>
                    </a:cxn>
                    <a:cxn ang="0">
                      <a:pos x="0" y="63"/>
                    </a:cxn>
                    <a:cxn ang="0">
                      <a:pos x="0" y="6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31" h="232">
                      <a:moveTo>
                        <a:pt x="0" y="0"/>
                      </a:moveTo>
                      <a:cubicBezTo>
                        <a:pt x="64" y="0"/>
                        <a:pt x="121" y="26"/>
                        <a:pt x="163" y="68"/>
                      </a:cubicBezTo>
                      <a:lnTo>
                        <a:pt x="163" y="68"/>
                      </a:lnTo>
                      <a:cubicBezTo>
                        <a:pt x="205" y="110"/>
                        <a:pt x="231" y="168"/>
                        <a:pt x="231" y="232"/>
                      </a:cubicBezTo>
                      <a:lnTo>
                        <a:pt x="169" y="232"/>
                      </a:lnTo>
                      <a:cubicBezTo>
                        <a:pt x="169" y="185"/>
                        <a:pt x="150" y="143"/>
                        <a:pt x="119" y="112"/>
                      </a:cubicBezTo>
                      <a:lnTo>
                        <a:pt x="119" y="112"/>
                      </a:lnTo>
                      <a:cubicBezTo>
                        <a:pt x="89" y="82"/>
                        <a:pt x="46" y="63"/>
                        <a:pt x="0" y="63"/>
                      </a:cubicBezTo>
                      <a:lnTo>
                        <a:pt x="0" y="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1" name="Freeform 1148"/>
                <p:cNvSpPr>
                  <a:spLocks/>
                </p:cNvSpPr>
                <p:nvPr/>
              </p:nvSpPr>
              <p:spPr bwMode="auto">
                <a:xfrm>
                  <a:off x="602" y="1967"/>
                  <a:ext cx="52" cy="5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50" y="62"/>
                    </a:cxn>
                    <a:cxn ang="0">
                      <a:pos x="150" y="62"/>
                    </a:cxn>
                    <a:cxn ang="0">
                      <a:pos x="213" y="213"/>
                    </a:cxn>
                    <a:cxn ang="0">
                      <a:pos x="155" y="213"/>
                    </a:cxn>
                    <a:cxn ang="0">
                      <a:pos x="110" y="103"/>
                    </a:cxn>
                    <a:cxn ang="0">
                      <a:pos x="110" y="103"/>
                    </a:cxn>
                    <a:cxn ang="0">
                      <a:pos x="0" y="57"/>
                    </a:cxn>
                    <a:cxn ang="0">
                      <a:pos x="0" y="5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13" h="213">
                      <a:moveTo>
                        <a:pt x="0" y="0"/>
                      </a:moveTo>
                      <a:cubicBezTo>
                        <a:pt x="59" y="0"/>
                        <a:pt x="112" y="24"/>
                        <a:pt x="150" y="62"/>
                      </a:cubicBezTo>
                      <a:lnTo>
                        <a:pt x="150" y="62"/>
                      </a:lnTo>
                      <a:cubicBezTo>
                        <a:pt x="189" y="101"/>
                        <a:pt x="213" y="154"/>
                        <a:pt x="213" y="213"/>
                      </a:cubicBezTo>
                      <a:lnTo>
                        <a:pt x="155" y="213"/>
                      </a:lnTo>
                      <a:cubicBezTo>
                        <a:pt x="155" y="170"/>
                        <a:pt x="138" y="131"/>
                        <a:pt x="110" y="103"/>
                      </a:cubicBezTo>
                      <a:lnTo>
                        <a:pt x="110" y="103"/>
                      </a:lnTo>
                      <a:cubicBezTo>
                        <a:pt x="82" y="75"/>
                        <a:pt x="43" y="57"/>
                        <a:pt x="0" y="57"/>
                      </a:cubicBezTo>
                      <a:lnTo>
                        <a:pt x="0" y="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2" name="Freeform 1149"/>
                <p:cNvSpPr>
                  <a:spLocks/>
                </p:cNvSpPr>
                <p:nvPr/>
              </p:nvSpPr>
              <p:spPr bwMode="auto">
                <a:xfrm>
                  <a:off x="602" y="1972"/>
                  <a:ext cx="47" cy="4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37" y="57"/>
                    </a:cxn>
                    <a:cxn ang="0">
                      <a:pos x="137" y="57"/>
                    </a:cxn>
                    <a:cxn ang="0">
                      <a:pos x="194" y="195"/>
                    </a:cxn>
                    <a:cxn ang="0">
                      <a:pos x="142" y="195"/>
                    </a:cxn>
                    <a:cxn ang="0">
                      <a:pos x="100" y="94"/>
                    </a:cxn>
                    <a:cxn ang="0">
                      <a:pos x="100" y="94"/>
                    </a:cxn>
                    <a:cxn ang="0">
                      <a:pos x="0" y="53"/>
                    </a:cxn>
                    <a:cxn ang="0">
                      <a:pos x="0" y="5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94" h="195">
                      <a:moveTo>
                        <a:pt x="0" y="0"/>
                      </a:moveTo>
                      <a:cubicBezTo>
                        <a:pt x="53" y="0"/>
                        <a:pt x="102" y="22"/>
                        <a:pt x="137" y="57"/>
                      </a:cubicBezTo>
                      <a:lnTo>
                        <a:pt x="137" y="57"/>
                      </a:lnTo>
                      <a:cubicBezTo>
                        <a:pt x="173" y="92"/>
                        <a:pt x="194" y="141"/>
                        <a:pt x="194" y="195"/>
                      </a:cubicBezTo>
                      <a:lnTo>
                        <a:pt x="142" y="195"/>
                      </a:lnTo>
                      <a:cubicBezTo>
                        <a:pt x="142" y="155"/>
                        <a:pt x="126" y="120"/>
                        <a:pt x="100" y="94"/>
                      </a:cubicBezTo>
                      <a:lnTo>
                        <a:pt x="100" y="94"/>
                      </a:lnTo>
                      <a:cubicBezTo>
                        <a:pt x="75" y="68"/>
                        <a:pt x="39" y="53"/>
                        <a:pt x="0" y="53"/>
                      </a:cubicBezTo>
                      <a:lnTo>
                        <a:pt x="0" y="5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3" name="Freeform 1150"/>
                <p:cNvSpPr>
                  <a:spLocks/>
                </p:cNvSpPr>
                <p:nvPr/>
              </p:nvSpPr>
              <p:spPr bwMode="auto">
                <a:xfrm>
                  <a:off x="602" y="1976"/>
                  <a:ext cx="43" cy="4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24" y="52"/>
                    </a:cxn>
                    <a:cxn ang="0">
                      <a:pos x="124" y="52"/>
                    </a:cxn>
                    <a:cxn ang="0">
                      <a:pos x="176" y="177"/>
                    </a:cxn>
                    <a:cxn ang="0">
                      <a:pos x="129" y="177"/>
                    </a:cxn>
                    <a:cxn ang="0">
                      <a:pos x="91" y="86"/>
                    </a:cxn>
                    <a:cxn ang="0">
                      <a:pos x="91" y="86"/>
                    </a:cxn>
                    <a:cxn ang="0">
                      <a:pos x="0" y="48"/>
                    </a:cxn>
                    <a:cxn ang="0">
                      <a:pos x="0" y="4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76" h="177">
                      <a:moveTo>
                        <a:pt x="0" y="0"/>
                      </a:moveTo>
                      <a:cubicBezTo>
                        <a:pt x="48" y="0"/>
                        <a:pt x="93" y="20"/>
                        <a:pt x="124" y="52"/>
                      </a:cubicBezTo>
                      <a:lnTo>
                        <a:pt x="124" y="52"/>
                      </a:lnTo>
                      <a:cubicBezTo>
                        <a:pt x="156" y="84"/>
                        <a:pt x="176" y="128"/>
                        <a:pt x="176" y="177"/>
                      </a:cubicBezTo>
                      <a:lnTo>
                        <a:pt x="129" y="177"/>
                      </a:lnTo>
                      <a:cubicBezTo>
                        <a:pt x="129" y="141"/>
                        <a:pt x="114" y="109"/>
                        <a:pt x="91" y="86"/>
                      </a:cubicBezTo>
                      <a:lnTo>
                        <a:pt x="91" y="86"/>
                      </a:lnTo>
                      <a:cubicBezTo>
                        <a:pt x="67" y="62"/>
                        <a:pt x="35" y="48"/>
                        <a:pt x="0" y="48"/>
                      </a:cubicBezTo>
                      <a:lnTo>
                        <a:pt x="0" y="4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4" name="Freeform 1151"/>
                <p:cNvSpPr>
                  <a:spLocks/>
                </p:cNvSpPr>
                <p:nvPr/>
              </p:nvSpPr>
              <p:spPr bwMode="auto">
                <a:xfrm>
                  <a:off x="602" y="1981"/>
                  <a:ext cx="38" cy="3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12" y="46"/>
                    </a:cxn>
                    <a:cxn ang="0">
                      <a:pos x="112" y="46"/>
                    </a:cxn>
                    <a:cxn ang="0">
                      <a:pos x="158" y="158"/>
                    </a:cxn>
                    <a:cxn ang="0">
                      <a:pos x="115" y="158"/>
                    </a:cxn>
                    <a:cxn ang="0">
                      <a:pos x="81" y="76"/>
                    </a:cxn>
                    <a:cxn ang="0">
                      <a:pos x="81" y="76"/>
                    </a:cxn>
                    <a:cxn ang="0">
                      <a:pos x="0" y="42"/>
                    </a:cxn>
                    <a:cxn ang="0">
                      <a:pos x="0" y="42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58" h="158">
                      <a:moveTo>
                        <a:pt x="0" y="0"/>
                      </a:moveTo>
                      <a:cubicBezTo>
                        <a:pt x="43" y="0"/>
                        <a:pt x="83" y="17"/>
                        <a:pt x="112" y="46"/>
                      </a:cubicBezTo>
                      <a:lnTo>
                        <a:pt x="112" y="46"/>
                      </a:lnTo>
                      <a:cubicBezTo>
                        <a:pt x="140" y="75"/>
                        <a:pt x="158" y="114"/>
                        <a:pt x="158" y="158"/>
                      </a:cubicBezTo>
                      <a:lnTo>
                        <a:pt x="115" y="158"/>
                      </a:lnTo>
                      <a:cubicBezTo>
                        <a:pt x="115" y="126"/>
                        <a:pt x="102" y="97"/>
                        <a:pt x="81" y="76"/>
                      </a:cubicBezTo>
                      <a:lnTo>
                        <a:pt x="81" y="76"/>
                      </a:lnTo>
                      <a:cubicBezTo>
                        <a:pt x="60" y="55"/>
                        <a:pt x="32" y="42"/>
                        <a:pt x="0" y="42"/>
                      </a:cubicBezTo>
                      <a:lnTo>
                        <a:pt x="0" y="4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5" name="Freeform 1152"/>
                <p:cNvSpPr>
                  <a:spLocks/>
                </p:cNvSpPr>
                <p:nvPr/>
              </p:nvSpPr>
              <p:spPr bwMode="auto">
                <a:xfrm>
                  <a:off x="602" y="1985"/>
                  <a:ext cx="34" cy="3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99" y="41"/>
                    </a:cxn>
                    <a:cxn ang="0">
                      <a:pos x="99" y="41"/>
                    </a:cxn>
                    <a:cxn ang="0">
                      <a:pos x="140" y="140"/>
                    </a:cxn>
                    <a:cxn ang="0">
                      <a:pos x="102" y="140"/>
                    </a:cxn>
                    <a:cxn ang="0">
                      <a:pos x="72" y="67"/>
                    </a:cxn>
                    <a:cxn ang="0">
                      <a:pos x="72" y="67"/>
                    </a:cxn>
                    <a:cxn ang="0">
                      <a:pos x="0" y="38"/>
                    </a:cxn>
                    <a:cxn ang="0">
                      <a:pos x="0" y="3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0" h="140">
                      <a:moveTo>
                        <a:pt x="0" y="0"/>
                      </a:moveTo>
                      <a:cubicBezTo>
                        <a:pt x="38" y="0"/>
                        <a:pt x="73" y="15"/>
                        <a:pt x="99" y="41"/>
                      </a:cubicBezTo>
                      <a:lnTo>
                        <a:pt x="99" y="41"/>
                      </a:lnTo>
                      <a:cubicBezTo>
                        <a:pt x="124" y="66"/>
                        <a:pt x="140" y="101"/>
                        <a:pt x="140" y="140"/>
                      </a:cubicBezTo>
                      <a:lnTo>
                        <a:pt x="102" y="140"/>
                      </a:lnTo>
                      <a:cubicBezTo>
                        <a:pt x="102" y="111"/>
                        <a:pt x="90" y="86"/>
                        <a:pt x="72" y="67"/>
                      </a:cubicBezTo>
                      <a:lnTo>
                        <a:pt x="72" y="67"/>
                      </a:lnTo>
                      <a:cubicBezTo>
                        <a:pt x="53" y="49"/>
                        <a:pt x="28" y="38"/>
                        <a:pt x="0" y="38"/>
                      </a:cubicBezTo>
                      <a:lnTo>
                        <a:pt x="0" y="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6" name="Freeform 1153"/>
                <p:cNvSpPr>
                  <a:spLocks/>
                </p:cNvSpPr>
                <p:nvPr/>
              </p:nvSpPr>
              <p:spPr bwMode="auto">
                <a:xfrm>
                  <a:off x="602" y="1989"/>
                  <a:ext cx="29" cy="3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6" y="36"/>
                    </a:cxn>
                    <a:cxn ang="0">
                      <a:pos x="86" y="36"/>
                    </a:cxn>
                    <a:cxn ang="0">
                      <a:pos x="121" y="122"/>
                    </a:cxn>
                    <a:cxn ang="0">
                      <a:pos x="88" y="122"/>
                    </a:cxn>
                    <a:cxn ang="0">
                      <a:pos x="62" y="59"/>
                    </a:cxn>
                    <a:cxn ang="0">
                      <a:pos x="62" y="59"/>
                    </a:cxn>
                    <a:cxn ang="0">
                      <a:pos x="0" y="33"/>
                    </a:cxn>
                    <a:cxn ang="0">
                      <a:pos x="0" y="3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21" h="122">
                      <a:moveTo>
                        <a:pt x="0" y="0"/>
                      </a:moveTo>
                      <a:cubicBezTo>
                        <a:pt x="33" y="0"/>
                        <a:pt x="64" y="14"/>
                        <a:pt x="86" y="36"/>
                      </a:cubicBezTo>
                      <a:lnTo>
                        <a:pt x="86" y="36"/>
                      </a:lnTo>
                      <a:cubicBezTo>
                        <a:pt x="108" y="58"/>
                        <a:pt x="121" y="88"/>
                        <a:pt x="121" y="122"/>
                      </a:cubicBezTo>
                      <a:lnTo>
                        <a:pt x="88" y="122"/>
                      </a:lnTo>
                      <a:cubicBezTo>
                        <a:pt x="88" y="97"/>
                        <a:pt x="79" y="75"/>
                        <a:pt x="62" y="59"/>
                      </a:cubicBezTo>
                      <a:lnTo>
                        <a:pt x="62" y="59"/>
                      </a:lnTo>
                      <a:cubicBezTo>
                        <a:pt x="46" y="43"/>
                        <a:pt x="24" y="33"/>
                        <a:pt x="0" y="33"/>
                      </a:cubicBezTo>
                      <a:lnTo>
                        <a:pt x="0" y="3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7" name="Freeform 1154"/>
                <p:cNvSpPr>
                  <a:spLocks/>
                </p:cNvSpPr>
                <p:nvPr/>
              </p:nvSpPr>
              <p:spPr bwMode="auto">
                <a:xfrm>
                  <a:off x="602" y="1994"/>
                  <a:ext cx="25" cy="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73" y="31"/>
                    </a:cxn>
                    <a:cxn ang="0">
                      <a:pos x="73" y="31"/>
                    </a:cxn>
                    <a:cxn ang="0">
                      <a:pos x="103" y="104"/>
                    </a:cxn>
                    <a:cxn ang="0">
                      <a:pos x="75" y="104"/>
                    </a:cxn>
                    <a:cxn ang="0">
                      <a:pos x="53" y="50"/>
                    </a:cxn>
                    <a:cxn ang="0">
                      <a:pos x="53" y="50"/>
                    </a:cxn>
                    <a:cxn ang="0">
                      <a:pos x="0" y="28"/>
                    </a:cxn>
                    <a:cxn ang="0">
                      <a:pos x="0" y="2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3" h="104">
                      <a:moveTo>
                        <a:pt x="0" y="0"/>
                      </a:moveTo>
                      <a:cubicBezTo>
                        <a:pt x="28" y="0"/>
                        <a:pt x="54" y="12"/>
                        <a:pt x="73" y="31"/>
                      </a:cubicBezTo>
                      <a:lnTo>
                        <a:pt x="73" y="31"/>
                      </a:lnTo>
                      <a:cubicBezTo>
                        <a:pt x="91" y="49"/>
                        <a:pt x="103" y="75"/>
                        <a:pt x="103" y="104"/>
                      </a:cubicBezTo>
                      <a:lnTo>
                        <a:pt x="75" y="104"/>
                      </a:lnTo>
                      <a:cubicBezTo>
                        <a:pt x="75" y="83"/>
                        <a:pt x="67" y="64"/>
                        <a:pt x="53" y="50"/>
                      </a:cubicBezTo>
                      <a:lnTo>
                        <a:pt x="53" y="50"/>
                      </a:lnTo>
                      <a:cubicBezTo>
                        <a:pt x="39" y="37"/>
                        <a:pt x="20" y="28"/>
                        <a:pt x="0" y="28"/>
                      </a:cubicBezTo>
                      <a:lnTo>
                        <a:pt x="0" y="2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8" name="Freeform 1155"/>
                <p:cNvSpPr>
                  <a:spLocks/>
                </p:cNvSpPr>
                <p:nvPr/>
              </p:nvSpPr>
              <p:spPr bwMode="auto">
                <a:xfrm>
                  <a:off x="602" y="1999"/>
                  <a:ext cx="20" cy="2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60" y="25"/>
                    </a:cxn>
                    <a:cxn ang="0">
                      <a:pos x="60" y="25"/>
                    </a:cxn>
                    <a:cxn ang="0">
                      <a:pos x="85" y="85"/>
                    </a:cxn>
                    <a:cxn ang="0">
                      <a:pos x="62" y="85"/>
                    </a:cxn>
                    <a:cxn ang="0">
                      <a:pos x="44" y="41"/>
                    </a:cxn>
                    <a:cxn ang="0">
                      <a:pos x="44" y="41"/>
                    </a:cxn>
                    <a:cxn ang="0">
                      <a:pos x="0" y="23"/>
                    </a:cxn>
                    <a:cxn ang="0">
                      <a:pos x="0" y="2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85" h="85">
                      <a:moveTo>
                        <a:pt x="0" y="0"/>
                      </a:moveTo>
                      <a:cubicBezTo>
                        <a:pt x="23" y="0"/>
                        <a:pt x="44" y="9"/>
                        <a:pt x="60" y="25"/>
                      </a:cubicBezTo>
                      <a:lnTo>
                        <a:pt x="60" y="25"/>
                      </a:lnTo>
                      <a:cubicBezTo>
                        <a:pt x="75" y="40"/>
                        <a:pt x="85" y="61"/>
                        <a:pt x="85" y="85"/>
                      </a:cubicBezTo>
                      <a:lnTo>
                        <a:pt x="62" y="85"/>
                      </a:lnTo>
                      <a:cubicBezTo>
                        <a:pt x="62" y="68"/>
                        <a:pt x="55" y="52"/>
                        <a:pt x="44" y="41"/>
                      </a:cubicBezTo>
                      <a:lnTo>
                        <a:pt x="44" y="41"/>
                      </a:lnTo>
                      <a:cubicBezTo>
                        <a:pt x="32" y="29"/>
                        <a:pt x="17" y="23"/>
                        <a:pt x="0" y="23"/>
                      </a:cubicBezTo>
                      <a:lnTo>
                        <a:pt x="0" y="2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29" name="Freeform 1156"/>
                <p:cNvSpPr>
                  <a:spLocks/>
                </p:cNvSpPr>
                <p:nvPr/>
              </p:nvSpPr>
              <p:spPr bwMode="auto">
                <a:xfrm>
                  <a:off x="602" y="2003"/>
                  <a:ext cx="16" cy="16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7" y="19"/>
                    </a:cxn>
                    <a:cxn ang="0">
                      <a:pos x="47" y="19"/>
                    </a:cxn>
                    <a:cxn ang="0">
                      <a:pos x="67" y="67"/>
                    </a:cxn>
                    <a:cxn ang="0">
                      <a:pos x="58" y="67"/>
                    </a:cxn>
                    <a:cxn ang="0">
                      <a:pos x="49" y="67"/>
                    </a:cxn>
                    <a:cxn ang="0">
                      <a:pos x="0" y="67"/>
                    </a:cxn>
                    <a:cxn ang="0">
                      <a:pos x="0" y="47"/>
                    </a:cxn>
                    <a:cxn ang="0">
                      <a:pos x="0" y="43"/>
                    </a:cxn>
                    <a:cxn ang="0">
                      <a:pos x="0" y="18"/>
                    </a:cxn>
                    <a:cxn ang="0">
                      <a:pos x="0" y="18"/>
                    </a:cxn>
                    <a:cxn ang="0">
                      <a:pos x="0" y="15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67" h="67">
                      <a:moveTo>
                        <a:pt x="0" y="0"/>
                      </a:moveTo>
                      <a:cubicBezTo>
                        <a:pt x="18" y="0"/>
                        <a:pt x="35" y="7"/>
                        <a:pt x="47" y="19"/>
                      </a:cubicBezTo>
                      <a:lnTo>
                        <a:pt x="47" y="19"/>
                      </a:lnTo>
                      <a:cubicBezTo>
                        <a:pt x="59" y="31"/>
                        <a:pt x="67" y="48"/>
                        <a:pt x="67" y="67"/>
                      </a:cubicBezTo>
                      <a:lnTo>
                        <a:pt x="58" y="67"/>
                      </a:lnTo>
                      <a:lnTo>
                        <a:pt x="49" y="67"/>
                      </a:lnTo>
                      <a:lnTo>
                        <a:pt x="0" y="67"/>
                      </a:lnTo>
                      <a:lnTo>
                        <a:pt x="0" y="47"/>
                      </a:lnTo>
                      <a:lnTo>
                        <a:pt x="0" y="43"/>
                      </a:lnTo>
                      <a:lnTo>
                        <a:pt x="0" y="18"/>
                      </a:lnTo>
                      <a:lnTo>
                        <a:pt x="0" y="18"/>
                      </a:lnTo>
                      <a:lnTo>
                        <a:pt x="0" y="1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0" name="Freeform 1157"/>
                <p:cNvSpPr>
                  <a:spLocks/>
                </p:cNvSpPr>
                <p:nvPr/>
              </p:nvSpPr>
              <p:spPr bwMode="auto">
                <a:xfrm>
                  <a:off x="602" y="2007"/>
                  <a:ext cx="11" cy="1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4" y="14"/>
                    </a:cxn>
                    <a:cxn ang="0">
                      <a:pos x="34" y="14"/>
                    </a:cxn>
                    <a:cxn ang="0">
                      <a:pos x="48" y="49"/>
                    </a:cxn>
                    <a:cxn ang="0">
                      <a:pos x="42" y="49"/>
                    </a:cxn>
                    <a:cxn ang="0">
                      <a:pos x="35" y="49"/>
                    </a:cxn>
                    <a:cxn ang="0">
                      <a:pos x="0" y="49"/>
                    </a:cxn>
                    <a:cxn ang="0">
                      <a:pos x="0" y="35"/>
                    </a:cxn>
                    <a:cxn ang="0">
                      <a:pos x="0" y="31"/>
                    </a:cxn>
                    <a:cxn ang="0">
                      <a:pos x="0" y="13"/>
                    </a:cxn>
                    <a:cxn ang="0">
                      <a:pos x="0" y="13"/>
                    </a:cxn>
                    <a:cxn ang="0">
                      <a:pos x="0" y="1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8" h="49">
                      <a:moveTo>
                        <a:pt x="0" y="0"/>
                      </a:moveTo>
                      <a:cubicBezTo>
                        <a:pt x="13" y="0"/>
                        <a:pt x="25" y="5"/>
                        <a:pt x="34" y="14"/>
                      </a:cubicBezTo>
                      <a:lnTo>
                        <a:pt x="34" y="14"/>
                      </a:lnTo>
                      <a:cubicBezTo>
                        <a:pt x="43" y="23"/>
                        <a:pt x="48" y="35"/>
                        <a:pt x="48" y="49"/>
                      </a:cubicBezTo>
                      <a:lnTo>
                        <a:pt x="42" y="49"/>
                      </a:lnTo>
                      <a:lnTo>
                        <a:pt x="35" y="49"/>
                      </a:lnTo>
                      <a:lnTo>
                        <a:pt x="0" y="49"/>
                      </a:lnTo>
                      <a:lnTo>
                        <a:pt x="0" y="35"/>
                      </a:lnTo>
                      <a:lnTo>
                        <a:pt x="0" y="31"/>
                      </a:lnTo>
                      <a:lnTo>
                        <a:pt x="0" y="13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1" name="Freeform 1158"/>
                <p:cNvSpPr>
                  <a:spLocks/>
                </p:cNvSpPr>
                <p:nvPr/>
              </p:nvSpPr>
              <p:spPr bwMode="auto">
                <a:xfrm>
                  <a:off x="602" y="2012"/>
                  <a:ext cx="7" cy="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1" y="9"/>
                    </a:cxn>
                    <a:cxn ang="0">
                      <a:pos x="21" y="9"/>
                    </a:cxn>
                    <a:cxn ang="0">
                      <a:pos x="30" y="31"/>
                    </a:cxn>
                    <a:cxn ang="0">
                      <a:pos x="0" y="31"/>
                    </a:cxn>
                    <a:cxn ang="0">
                      <a:pos x="0" y="22"/>
                    </a:cxn>
                    <a:cxn ang="0">
                      <a:pos x="0" y="20"/>
                    </a:cxn>
                    <a:cxn ang="0">
                      <a:pos x="0" y="8"/>
                    </a:cxn>
                    <a:cxn ang="0">
                      <a:pos x="0" y="8"/>
                    </a:cxn>
                    <a:cxn ang="0">
                      <a:pos x="0" y="7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0" h="31">
                      <a:moveTo>
                        <a:pt x="0" y="0"/>
                      </a:moveTo>
                      <a:cubicBezTo>
                        <a:pt x="8" y="0"/>
                        <a:pt x="16" y="4"/>
                        <a:pt x="21" y="9"/>
                      </a:cubicBezTo>
                      <a:lnTo>
                        <a:pt x="21" y="9"/>
                      </a:lnTo>
                      <a:cubicBezTo>
                        <a:pt x="27" y="15"/>
                        <a:pt x="30" y="22"/>
                        <a:pt x="30" y="31"/>
                      </a:cubicBezTo>
                      <a:lnTo>
                        <a:pt x="0" y="31"/>
                      </a:lnTo>
                      <a:lnTo>
                        <a:pt x="0" y="22"/>
                      </a:lnTo>
                      <a:lnTo>
                        <a:pt x="0" y="20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9BBC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2" name="Freeform 1159"/>
                <p:cNvSpPr>
                  <a:spLocks/>
                </p:cNvSpPr>
                <p:nvPr/>
              </p:nvSpPr>
              <p:spPr bwMode="auto">
                <a:xfrm>
                  <a:off x="602" y="201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" y="4"/>
                    </a:cxn>
                    <a:cxn ang="0">
                      <a:pos x="8" y="4"/>
                    </a:cxn>
                    <a:cxn ang="0">
                      <a:pos x="12" y="13"/>
                    </a:cxn>
                    <a:cxn ang="0">
                      <a:pos x="0" y="13"/>
                    </a:cxn>
                    <a:cxn ang="0">
                      <a:pos x="0" y="9"/>
                    </a:cxn>
                    <a:cxn ang="0">
                      <a:pos x="0" y="8"/>
                    </a:cxn>
                    <a:cxn ang="0">
                      <a:pos x="0" y="4"/>
                    </a:cxn>
                    <a:cxn ang="0">
                      <a:pos x="0" y="4"/>
                    </a:cxn>
                    <a:cxn ang="0">
                      <a:pos x="0" y="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2" h="13">
                      <a:moveTo>
                        <a:pt x="0" y="0"/>
                      </a:moveTo>
                      <a:cubicBezTo>
                        <a:pt x="3" y="0"/>
                        <a:pt x="6" y="2"/>
                        <a:pt x="8" y="4"/>
                      </a:cubicBezTo>
                      <a:lnTo>
                        <a:pt x="8" y="4"/>
                      </a:lnTo>
                      <a:cubicBezTo>
                        <a:pt x="11" y="6"/>
                        <a:pt x="12" y="9"/>
                        <a:pt x="12" y="13"/>
                      </a:cubicBezTo>
                      <a:lnTo>
                        <a:pt x="0" y="13"/>
                      </a:lnTo>
                      <a:lnTo>
                        <a:pt x="0" y="9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6F9AA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3" name="Freeform 1160"/>
                <p:cNvSpPr>
                  <a:spLocks/>
                </p:cNvSpPr>
                <p:nvPr/>
              </p:nvSpPr>
              <p:spPr bwMode="auto">
                <a:xfrm>
                  <a:off x="602" y="2019"/>
                  <a:ext cx="112" cy="25"/>
                </a:xfrm>
                <a:custGeom>
                  <a:avLst/>
                  <a:gdLst/>
                  <a:ahLst/>
                  <a:cxnLst>
                    <a:cxn ang="0">
                      <a:pos x="462" y="0"/>
                    </a:cxn>
                    <a:cxn ang="0">
                      <a:pos x="0" y="0"/>
                    </a:cxn>
                    <a:cxn ang="0">
                      <a:pos x="0" y="51"/>
                    </a:cxn>
                    <a:cxn ang="0">
                      <a:pos x="54" y="101"/>
                    </a:cxn>
                    <a:cxn ang="0">
                      <a:pos x="408" y="101"/>
                    </a:cxn>
                    <a:cxn ang="0">
                      <a:pos x="462" y="51"/>
                    </a:cxn>
                    <a:cxn ang="0">
                      <a:pos x="462" y="0"/>
                    </a:cxn>
                  </a:cxnLst>
                  <a:rect l="0" t="0" r="r" b="b"/>
                  <a:pathLst>
                    <a:path w="462" h="101">
                      <a:moveTo>
                        <a:pt x="462" y="0"/>
                      </a:moveTo>
                      <a:lnTo>
                        <a:pt x="0" y="0"/>
                      </a:lnTo>
                      <a:lnTo>
                        <a:pt x="0" y="51"/>
                      </a:lnTo>
                      <a:cubicBezTo>
                        <a:pt x="0" y="78"/>
                        <a:pt x="24" y="101"/>
                        <a:pt x="54" y="101"/>
                      </a:cubicBezTo>
                      <a:lnTo>
                        <a:pt x="408" y="101"/>
                      </a:lnTo>
                      <a:cubicBezTo>
                        <a:pt x="438" y="101"/>
                        <a:pt x="462" y="78"/>
                        <a:pt x="462" y="51"/>
                      </a:cubicBezTo>
                      <a:lnTo>
                        <a:pt x="462" y="0"/>
                      </a:lnTo>
                      <a:close/>
                    </a:path>
                  </a:pathLst>
                </a:custGeom>
                <a:solidFill>
                  <a:srgbClr val="FF973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4" name="Rectangle 1161"/>
                <p:cNvSpPr>
                  <a:spLocks noChangeArrowheads="1"/>
                </p:cNvSpPr>
                <p:nvPr/>
              </p:nvSpPr>
              <p:spPr bwMode="auto">
                <a:xfrm>
                  <a:off x="714" y="2019"/>
                  <a:ext cx="265" cy="12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5" name="Rectangle 1162"/>
                <p:cNvSpPr>
                  <a:spLocks noChangeArrowheads="1"/>
                </p:cNvSpPr>
                <p:nvPr/>
              </p:nvSpPr>
              <p:spPr bwMode="auto">
                <a:xfrm>
                  <a:off x="613" y="2019"/>
                  <a:ext cx="89" cy="10"/>
                </a:xfrm>
                <a:prstGeom prst="rect">
                  <a:avLst/>
                </a:prstGeom>
                <a:solidFill>
                  <a:srgbClr val="79A7B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6" name="Rectangle 1163"/>
                <p:cNvSpPr>
                  <a:spLocks noChangeArrowheads="1"/>
                </p:cNvSpPr>
                <p:nvPr/>
              </p:nvSpPr>
              <p:spPr bwMode="auto">
                <a:xfrm>
                  <a:off x="613" y="2019"/>
                  <a:ext cx="89" cy="5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7" name="Rectangle 1164"/>
                <p:cNvSpPr>
                  <a:spLocks noChangeArrowheads="1"/>
                </p:cNvSpPr>
                <p:nvPr/>
              </p:nvSpPr>
              <p:spPr bwMode="auto">
                <a:xfrm>
                  <a:off x="835" y="1640"/>
                  <a:ext cx="390" cy="519"/>
                </a:xfrm>
                <a:prstGeom prst="rect">
                  <a:avLst/>
                </a:prstGeom>
                <a:solidFill>
                  <a:srgbClr val="D9E8EB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8" name="Freeform 1165"/>
                <p:cNvSpPr>
                  <a:spLocks noEditPoints="1"/>
                </p:cNvSpPr>
                <p:nvPr/>
              </p:nvSpPr>
              <p:spPr bwMode="auto">
                <a:xfrm>
                  <a:off x="877" y="1682"/>
                  <a:ext cx="307" cy="435"/>
                </a:xfrm>
                <a:custGeom>
                  <a:avLst/>
                  <a:gdLst/>
                  <a:ahLst/>
                  <a:cxnLst>
                    <a:cxn ang="0">
                      <a:pos x="19" y="0"/>
                    </a:cxn>
                    <a:cxn ang="0">
                      <a:pos x="1246" y="0"/>
                    </a:cxn>
                    <a:cxn ang="0">
                      <a:pos x="1265" y="0"/>
                    </a:cxn>
                    <a:cxn ang="0">
                      <a:pos x="1265" y="19"/>
                    </a:cxn>
                    <a:cxn ang="0">
                      <a:pos x="1265" y="1759"/>
                    </a:cxn>
                    <a:cxn ang="0">
                      <a:pos x="1265" y="1778"/>
                    </a:cxn>
                    <a:cxn ang="0">
                      <a:pos x="1246" y="1778"/>
                    </a:cxn>
                    <a:cxn ang="0">
                      <a:pos x="19" y="1778"/>
                    </a:cxn>
                    <a:cxn ang="0">
                      <a:pos x="0" y="1778"/>
                    </a:cxn>
                    <a:cxn ang="0">
                      <a:pos x="0" y="1759"/>
                    </a:cxn>
                    <a:cxn ang="0">
                      <a:pos x="0" y="19"/>
                    </a:cxn>
                    <a:cxn ang="0">
                      <a:pos x="0" y="0"/>
                    </a:cxn>
                    <a:cxn ang="0">
                      <a:pos x="19" y="0"/>
                    </a:cxn>
                    <a:cxn ang="0">
                      <a:pos x="1227" y="38"/>
                    </a:cxn>
                    <a:cxn ang="0">
                      <a:pos x="37" y="38"/>
                    </a:cxn>
                    <a:cxn ang="0">
                      <a:pos x="37" y="1740"/>
                    </a:cxn>
                    <a:cxn ang="0">
                      <a:pos x="1227" y="1740"/>
                    </a:cxn>
                    <a:cxn ang="0">
                      <a:pos x="1227" y="38"/>
                    </a:cxn>
                  </a:cxnLst>
                  <a:rect l="0" t="0" r="r" b="b"/>
                  <a:pathLst>
                    <a:path w="1265" h="1778">
                      <a:moveTo>
                        <a:pt x="19" y="0"/>
                      </a:moveTo>
                      <a:lnTo>
                        <a:pt x="1246" y="0"/>
                      </a:lnTo>
                      <a:lnTo>
                        <a:pt x="1265" y="0"/>
                      </a:lnTo>
                      <a:lnTo>
                        <a:pt x="1265" y="19"/>
                      </a:lnTo>
                      <a:lnTo>
                        <a:pt x="1265" y="1759"/>
                      </a:lnTo>
                      <a:lnTo>
                        <a:pt x="1265" y="1778"/>
                      </a:lnTo>
                      <a:lnTo>
                        <a:pt x="1246" y="1778"/>
                      </a:lnTo>
                      <a:lnTo>
                        <a:pt x="19" y="1778"/>
                      </a:lnTo>
                      <a:lnTo>
                        <a:pt x="0" y="1778"/>
                      </a:lnTo>
                      <a:lnTo>
                        <a:pt x="0" y="1759"/>
                      </a:ln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19" y="0"/>
                      </a:lnTo>
                      <a:close/>
                      <a:moveTo>
                        <a:pt x="1227" y="38"/>
                      </a:moveTo>
                      <a:lnTo>
                        <a:pt x="37" y="38"/>
                      </a:lnTo>
                      <a:lnTo>
                        <a:pt x="37" y="1740"/>
                      </a:lnTo>
                      <a:lnTo>
                        <a:pt x="1227" y="1740"/>
                      </a:lnTo>
                      <a:lnTo>
                        <a:pt x="1227" y="38"/>
                      </a:lnTo>
                      <a:close/>
                    </a:path>
                  </a:pathLst>
                </a:custGeom>
                <a:solidFill>
                  <a:srgbClr val="92ACD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39" name="Rectangle 1166"/>
                <p:cNvSpPr>
                  <a:spLocks noChangeArrowheads="1"/>
                </p:cNvSpPr>
                <p:nvPr/>
              </p:nvSpPr>
              <p:spPr bwMode="auto">
                <a:xfrm>
                  <a:off x="835" y="1640"/>
                  <a:ext cx="195" cy="519"/>
                </a:xfrm>
                <a:prstGeom prst="rect">
                  <a:avLst/>
                </a:prstGeom>
                <a:solidFill>
                  <a:srgbClr val="E7F1F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0" name="Freeform 1167"/>
                <p:cNvSpPr>
                  <a:spLocks noEditPoints="1"/>
                </p:cNvSpPr>
                <p:nvPr/>
              </p:nvSpPr>
              <p:spPr bwMode="auto">
                <a:xfrm>
                  <a:off x="859" y="1664"/>
                  <a:ext cx="343" cy="472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1390" y="0"/>
                    </a:cxn>
                    <a:cxn ang="0">
                      <a:pos x="1411" y="0"/>
                    </a:cxn>
                    <a:cxn ang="0">
                      <a:pos x="1411" y="21"/>
                    </a:cxn>
                    <a:cxn ang="0">
                      <a:pos x="1411" y="1909"/>
                    </a:cxn>
                    <a:cxn ang="0">
                      <a:pos x="1411" y="1930"/>
                    </a:cxn>
                    <a:cxn ang="0">
                      <a:pos x="1390" y="1930"/>
                    </a:cxn>
                    <a:cxn ang="0">
                      <a:pos x="21" y="1930"/>
                    </a:cxn>
                    <a:cxn ang="0">
                      <a:pos x="0" y="1930"/>
                    </a:cxn>
                    <a:cxn ang="0">
                      <a:pos x="0" y="1909"/>
                    </a:cxn>
                    <a:cxn ang="0">
                      <a:pos x="0" y="21"/>
                    </a:cxn>
                    <a:cxn ang="0">
                      <a:pos x="0" y="0"/>
                    </a:cxn>
                    <a:cxn ang="0">
                      <a:pos x="21" y="0"/>
                    </a:cxn>
                    <a:cxn ang="0">
                      <a:pos x="1369" y="41"/>
                    </a:cxn>
                    <a:cxn ang="0">
                      <a:pos x="42" y="41"/>
                    </a:cxn>
                    <a:cxn ang="0">
                      <a:pos x="42" y="1888"/>
                    </a:cxn>
                    <a:cxn ang="0">
                      <a:pos x="1369" y="1888"/>
                    </a:cxn>
                    <a:cxn ang="0">
                      <a:pos x="1369" y="41"/>
                    </a:cxn>
                  </a:cxnLst>
                  <a:rect l="0" t="0" r="r" b="b"/>
                  <a:pathLst>
                    <a:path w="1411" h="1930">
                      <a:moveTo>
                        <a:pt x="21" y="0"/>
                      </a:moveTo>
                      <a:lnTo>
                        <a:pt x="1390" y="0"/>
                      </a:lnTo>
                      <a:lnTo>
                        <a:pt x="1411" y="0"/>
                      </a:lnTo>
                      <a:lnTo>
                        <a:pt x="1411" y="21"/>
                      </a:lnTo>
                      <a:lnTo>
                        <a:pt x="1411" y="1909"/>
                      </a:lnTo>
                      <a:lnTo>
                        <a:pt x="1411" y="1930"/>
                      </a:lnTo>
                      <a:lnTo>
                        <a:pt x="1390" y="1930"/>
                      </a:lnTo>
                      <a:lnTo>
                        <a:pt x="21" y="1930"/>
                      </a:lnTo>
                      <a:lnTo>
                        <a:pt x="0" y="1930"/>
                      </a:lnTo>
                      <a:lnTo>
                        <a:pt x="0" y="1909"/>
                      </a:lnTo>
                      <a:lnTo>
                        <a:pt x="0" y="21"/>
                      </a:lnTo>
                      <a:lnTo>
                        <a:pt x="0" y="0"/>
                      </a:lnTo>
                      <a:lnTo>
                        <a:pt x="21" y="0"/>
                      </a:lnTo>
                      <a:close/>
                      <a:moveTo>
                        <a:pt x="1369" y="41"/>
                      </a:moveTo>
                      <a:lnTo>
                        <a:pt x="42" y="41"/>
                      </a:lnTo>
                      <a:lnTo>
                        <a:pt x="42" y="1888"/>
                      </a:lnTo>
                      <a:lnTo>
                        <a:pt x="1369" y="1888"/>
                      </a:lnTo>
                      <a:lnTo>
                        <a:pt x="1369" y="41"/>
                      </a:lnTo>
                      <a:close/>
                    </a:path>
                  </a:pathLst>
                </a:custGeom>
                <a:solidFill>
                  <a:srgbClr val="7391C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1" name="Freeform 1168"/>
                <p:cNvSpPr>
                  <a:spLocks/>
                </p:cNvSpPr>
                <p:nvPr/>
              </p:nvSpPr>
              <p:spPr bwMode="auto">
                <a:xfrm>
                  <a:off x="859" y="1664"/>
                  <a:ext cx="171" cy="472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705" y="0"/>
                    </a:cxn>
                    <a:cxn ang="0">
                      <a:pos x="705" y="41"/>
                    </a:cxn>
                    <a:cxn ang="0">
                      <a:pos x="42" y="41"/>
                    </a:cxn>
                    <a:cxn ang="0">
                      <a:pos x="42" y="1888"/>
                    </a:cxn>
                    <a:cxn ang="0">
                      <a:pos x="705" y="1888"/>
                    </a:cxn>
                    <a:cxn ang="0">
                      <a:pos x="705" y="1930"/>
                    </a:cxn>
                    <a:cxn ang="0">
                      <a:pos x="21" y="1930"/>
                    </a:cxn>
                    <a:cxn ang="0">
                      <a:pos x="0" y="1930"/>
                    </a:cxn>
                    <a:cxn ang="0">
                      <a:pos x="0" y="1909"/>
                    </a:cxn>
                    <a:cxn ang="0">
                      <a:pos x="0" y="21"/>
                    </a:cxn>
                    <a:cxn ang="0">
                      <a:pos x="0" y="0"/>
                    </a:cxn>
                    <a:cxn ang="0">
                      <a:pos x="21" y="0"/>
                    </a:cxn>
                  </a:cxnLst>
                  <a:rect l="0" t="0" r="r" b="b"/>
                  <a:pathLst>
                    <a:path w="705" h="1930">
                      <a:moveTo>
                        <a:pt x="21" y="0"/>
                      </a:moveTo>
                      <a:lnTo>
                        <a:pt x="705" y="0"/>
                      </a:lnTo>
                      <a:lnTo>
                        <a:pt x="705" y="41"/>
                      </a:lnTo>
                      <a:lnTo>
                        <a:pt x="42" y="41"/>
                      </a:lnTo>
                      <a:lnTo>
                        <a:pt x="42" y="1888"/>
                      </a:lnTo>
                      <a:lnTo>
                        <a:pt x="705" y="1888"/>
                      </a:lnTo>
                      <a:lnTo>
                        <a:pt x="705" y="1930"/>
                      </a:lnTo>
                      <a:lnTo>
                        <a:pt x="21" y="1930"/>
                      </a:lnTo>
                      <a:lnTo>
                        <a:pt x="0" y="1930"/>
                      </a:lnTo>
                      <a:lnTo>
                        <a:pt x="0" y="1909"/>
                      </a:lnTo>
                      <a:lnTo>
                        <a:pt x="0" y="21"/>
                      </a:lnTo>
                      <a:lnTo>
                        <a:pt x="0" y="0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A9C5F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2" name="Rectangle 1169"/>
                <p:cNvSpPr>
                  <a:spLocks noChangeArrowheads="1"/>
                </p:cNvSpPr>
                <p:nvPr/>
              </p:nvSpPr>
              <p:spPr bwMode="auto">
                <a:xfrm>
                  <a:off x="904" y="1814"/>
                  <a:ext cx="252" cy="10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3" name="Rectangle 1170"/>
                <p:cNvSpPr>
                  <a:spLocks noChangeArrowheads="1"/>
                </p:cNvSpPr>
                <p:nvPr/>
              </p:nvSpPr>
              <p:spPr bwMode="auto">
                <a:xfrm>
                  <a:off x="904" y="1814"/>
                  <a:ext cx="126" cy="10"/>
                </a:xfrm>
                <a:prstGeom prst="rect">
                  <a:avLst/>
                </a:prstGeom>
                <a:solidFill>
                  <a:srgbClr val="CADFE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4" name="Rectangle 1171"/>
                <p:cNvSpPr>
                  <a:spLocks noChangeArrowheads="1"/>
                </p:cNvSpPr>
                <p:nvPr/>
              </p:nvSpPr>
              <p:spPr bwMode="auto">
                <a:xfrm>
                  <a:off x="904" y="1853"/>
                  <a:ext cx="252" cy="10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5" name="Rectangle 1172"/>
                <p:cNvSpPr>
                  <a:spLocks noChangeArrowheads="1"/>
                </p:cNvSpPr>
                <p:nvPr/>
              </p:nvSpPr>
              <p:spPr bwMode="auto">
                <a:xfrm>
                  <a:off x="904" y="1853"/>
                  <a:ext cx="126" cy="10"/>
                </a:xfrm>
                <a:prstGeom prst="rect">
                  <a:avLst/>
                </a:prstGeom>
                <a:solidFill>
                  <a:srgbClr val="CADFE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6" name="Rectangle 1173"/>
                <p:cNvSpPr>
                  <a:spLocks noChangeArrowheads="1"/>
                </p:cNvSpPr>
                <p:nvPr/>
              </p:nvSpPr>
              <p:spPr bwMode="auto">
                <a:xfrm>
                  <a:off x="904" y="1892"/>
                  <a:ext cx="252" cy="10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7" name="Rectangle 1174"/>
                <p:cNvSpPr>
                  <a:spLocks noChangeArrowheads="1"/>
                </p:cNvSpPr>
                <p:nvPr/>
              </p:nvSpPr>
              <p:spPr bwMode="auto">
                <a:xfrm>
                  <a:off x="904" y="1892"/>
                  <a:ext cx="126" cy="10"/>
                </a:xfrm>
                <a:prstGeom prst="rect">
                  <a:avLst/>
                </a:prstGeom>
                <a:solidFill>
                  <a:srgbClr val="CADFE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8" name="Rectangle 1175"/>
                <p:cNvSpPr>
                  <a:spLocks noChangeArrowheads="1"/>
                </p:cNvSpPr>
                <p:nvPr/>
              </p:nvSpPr>
              <p:spPr bwMode="auto">
                <a:xfrm>
                  <a:off x="904" y="1931"/>
                  <a:ext cx="252" cy="10"/>
                </a:xfrm>
                <a:prstGeom prst="rect">
                  <a:avLst/>
                </a:prstGeom>
                <a:solidFill>
                  <a:srgbClr val="AECBD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49" name="Rectangle 1176"/>
                <p:cNvSpPr>
                  <a:spLocks noChangeArrowheads="1"/>
                </p:cNvSpPr>
                <p:nvPr/>
              </p:nvSpPr>
              <p:spPr bwMode="auto">
                <a:xfrm>
                  <a:off x="904" y="1931"/>
                  <a:ext cx="126" cy="10"/>
                </a:xfrm>
                <a:prstGeom prst="rect">
                  <a:avLst/>
                </a:prstGeom>
                <a:solidFill>
                  <a:srgbClr val="CADFE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0" name="Rectangle 1177"/>
                <p:cNvSpPr>
                  <a:spLocks noChangeArrowheads="1"/>
                </p:cNvSpPr>
                <p:nvPr/>
              </p:nvSpPr>
              <p:spPr bwMode="auto">
                <a:xfrm>
                  <a:off x="904" y="1970"/>
                  <a:ext cx="126" cy="10"/>
                </a:xfrm>
                <a:prstGeom prst="rect">
                  <a:avLst/>
                </a:prstGeom>
                <a:solidFill>
                  <a:srgbClr val="CADFE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1" name="Freeform 1178"/>
                <p:cNvSpPr>
                  <a:spLocks/>
                </p:cNvSpPr>
                <p:nvPr/>
              </p:nvSpPr>
              <p:spPr bwMode="auto">
                <a:xfrm>
                  <a:off x="877" y="1682"/>
                  <a:ext cx="153" cy="435"/>
                </a:xfrm>
                <a:custGeom>
                  <a:avLst/>
                  <a:gdLst/>
                  <a:ahLst/>
                  <a:cxnLst>
                    <a:cxn ang="0">
                      <a:pos x="19" y="0"/>
                    </a:cxn>
                    <a:cxn ang="0">
                      <a:pos x="632" y="0"/>
                    </a:cxn>
                    <a:cxn ang="0">
                      <a:pos x="632" y="38"/>
                    </a:cxn>
                    <a:cxn ang="0">
                      <a:pos x="37" y="38"/>
                    </a:cxn>
                    <a:cxn ang="0">
                      <a:pos x="37" y="1740"/>
                    </a:cxn>
                    <a:cxn ang="0">
                      <a:pos x="632" y="1740"/>
                    </a:cxn>
                    <a:cxn ang="0">
                      <a:pos x="632" y="1778"/>
                    </a:cxn>
                    <a:cxn ang="0">
                      <a:pos x="19" y="1778"/>
                    </a:cxn>
                    <a:cxn ang="0">
                      <a:pos x="0" y="1778"/>
                    </a:cxn>
                    <a:cxn ang="0">
                      <a:pos x="0" y="1759"/>
                    </a:cxn>
                    <a:cxn ang="0">
                      <a:pos x="0" y="19"/>
                    </a:cxn>
                    <a:cxn ang="0">
                      <a:pos x="0" y="0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632" h="1778">
                      <a:moveTo>
                        <a:pt x="19" y="0"/>
                      </a:moveTo>
                      <a:lnTo>
                        <a:pt x="632" y="0"/>
                      </a:lnTo>
                      <a:lnTo>
                        <a:pt x="632" y="38"/>
                      </a:lnTo>
                      <a:lnTo>
                        <a:pt x="37" y="38"/>
                      </a:lnTo>
                      <a:lnTo>
                        <a:pt x="37" y="1740"/>
                      </a:lnTo>
                      <a:lnTo>
                        <a:pt x="632" y="1740"/>
                      </a:lnTo>
                      <a:lnTo>
                        <a:pt x="632" y="1778"/>
                      </a:lnTo>
                      <a:lnTo>
                        <a:pt x="19" y="1778"/>
                      </a:lnTo>
                      <a:lnTo>
                        <a:pt x="0" y="1778"/>
                      </a:lnTo>
                      <a:lnTo>
                        <a:pt x="0" y="1759"/>
                      </a:ln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solidFill>
                  <a:srgbClr val="A9C5F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2" name="Freeform 1179"/>
                <p:cNvSpPr>
                  <a:spLocks/>
                </p:cNvSpPr>
                <p:nvPr/>
              </p:nvSpPr>
              <p:spPr bwMode="auto">
                <a:xfrm>
                  <a:off x="1072" y="1989"/>
                  <a:ext cx="99" cy="99"/>
                </a:xfrm>
                <a:custGeom>
                  <a:avLst/>
                  <a:gdLst/>
                  <a:ahLst/>
                  <a:cxnLst>
                    <a:cxn ang="0">
                      <a:pos x="210" y="3"/>
                    </a:cxn>
                    <a:cxn ang="0">
                      <a:pos x="238" y="24"/>
                    </a:cxn>
                    <a:cxn ang="0">
                      <a:pos x="273" y="15"/>
                    </a:cxn>
                    <a:cxn ang="0">
                      <a:pos x="286" y="21"/>
                    </a:cxn>
                    <a:cxn ang="0">
                      <a:pos x="304" y="51"/>
                    </a:cxn>
                    <a:cxn ang="0">
                      <a:pos x="339" y="56"/>
                    </a:cxn>
                    <a:cxn ang="0">
                      <a:pos x="349" y="66"/>
                    </a:cxn>
                    <a:cxn ang="0">
                      <a:pos x="354" y="101"/>
                    </a:cxn>
                    <a:cxn ang="0">
                      <a:pos x="384" y="120"/>
                    </a:cxn>
                    <a:cxn ang="0">
                      <a:pos x="390" y="133"/>
                    </a:cxn>
                    <a:cxn ang="0">
                      <a:pos x="382" y="167"/>
                    </a:cxn>
                    <a:cxn ang="0">
                      <a:pos x="402" y="196"/>
                    </a:cxn>
                    <a:cxn ang="0">
                      <a:pos x="402" y="210"/>
                    </a:cxn>
                    <a:cxn ang="0">
                      <a:pos x="382" y="238"/>
                    </a:cxn>
                    <a:cxn ang="0">
                      <a:pos x="390" y="272"/>
                    </a:cxn>
                    <a:cxn ang="0">
                      <a:pos x="384" y="286"/>
                    </a:cxn>
                    <a:cxn ang="0">
                      <a:pos x="354" y="304"/>
                    </a:cxn>
                    <a:cxn ang="0">
                      <a:pos x="349" y="339"/>
                    </a:cxn>
                    <a:cxn ang="0">
                      <a:pos x="339" y="349"/>
                    </a:cxn>
                    <a:cxn ang="0">
                      <a:pos x="304" y="354"/>
                    </a:cxn>
                    <a:cxn ang="0">
                      <a:pos x="286" y="384"/>
                    </a:cxn>
                    <a:cxn ang="0">
                      <a:pos x="273" y="390"/>
                    </a:cxn>
                    <a:cxn ang="0">
                      <a:pos x="238" y="382"/>
                    </a:cxn>
                    <a:cxn ang="0">
                      <a:pos x="210" y="402"/>
                    </a:cxn>
                    <a:cxn ang="0">
                      <a:pos x="195" y="402"/>
                    </a:cxn>
                    <a:cxn ang="0">
                      <a:pos x="167" y="382"/>
                    </a:cxn>
                    <a:cxn ang="0">
                      <a:pos x="133" y="390"/>
                    </a:cxn>
                    <a:cxn ang="0">
                      <a:pos x="120" y="384"/>
                    </a:cxn>
                    <a:cxn ang="0">
                      <a:pos x="101" y="354"/>
                    </a:cxn>
                    <a:cxn ang="0">
                      <a:pos x="67" y="349"/>
                    </a:cxn>
                    <a:cxn ang="0">
                      <a:pos x="57" y="339"/>
                    </a:cxn>
                    <a:cxn ang="0">
                      <a:pos x="51" y="304"/>
                    </a:cxn>
                    <a:cxn ang="0">
                      <a:pos x="21" y="286"/>
                    </a:cxn>
                    <a:cxn ang="0">
                      <a:pos x="16" y="272"/>
                    </a:cxn>
                    <a:cxn ang="0">
                      <a:pos x="24" y="238"/>
                    </a:cxn>
                    <a:cxn ang="0">
                      <a:pos x="3" y="210"/>
                    </a:cxn>
                    <a:cxn ang="0">
                      <a:pos x="3" y="195"/>
                    </a:cxn>
                    <a:cxn ang="0">
                      <a:pos x="24" y="167"/>
                    </a:cxn>
                    <a:cxn ang="0">
                      <a:pos x="16" y="133"/>
                    </a:cxn>
                    <a:cxn ang="0">
                      <a:pos x="21" y="119"/>
                    </a:cxn>
                    <a:cxn ang="0">
                      <a:pos x="51" y="101"/>
                    </a:cxn>
                    <a:cxn ang="0">
                      <a:pos x="57" y="66"/>
                    </a:cxn>
                    <a:cxn ang="0">
                      <a:pos x="67" y="56"/>
                    </a:cxn>
                    <a:cxn ang="0">
                      <a:pos x="101" y="51"/>
                    </a:cxn>
                    <a:cxn ang="0">
                      <a:pos x="120" y="21"/>
                    </a:cxn>
                    <a:cxn ang="0">
                      <a:pos x="133" y="15"/>
                    </a:cxn>
                    <a:cxn ang="0">
                      <a:pos x="167" y="24"/>
                    </a:cxn>
                    <a:cxn ang="0">
                      <a:pos x="196" y="3"/>
                    </a:cxn>
                    <a:cxn ang="0">
                      <a:pos x="210" y="3"/>
                    </a:cxn>
                  </a:cxnLst>
                  <a:rect l="0" t="0" r="r" b="b"/>
                  <a:pathLst>
                    <a:path w="406" h="405">
                      <a:moveTo>
                        <a:pt x="210" y="3"/>
                      </a:moveTo>
                      <a:lnTo>
                        <a:pt x="238" y="24"/>
                      </a:lnTo>
                      <a:lnTo>
                        <a:pt x="273" y="15"/>
                      </a:lnTo>
                      <a:cubicBezTo>
                        <a:pt x="278" y="14"/>
                        <a:pt x="283" y="17"/>
                        <a:pt x="286" y="21"/>
                      </a:cubicBezTo>
                      <a:lnTo>
                        <a:pt x="304" y="51"/>
                      </a:lnTo>
                      <a:lnTo>
                        <a:pt x="339" y="56"/>
                      </a:lnTo>
                      <a:cubicBezTo>
                        <a:pt x="344" y="57"/>
                        <a:pt x="348" y="61"/>
                        <a:pt x="349" y="66"/>
                      </a:cubicBezTo>
                      <a:lnTo>
                        <a:pt x="354" y="101"/>
                      </a:lnTo>
                      <a:lnTo>
                        <a:pt x="384" y="120"/>
                      </a:lnTo>
                      <a:cubicBezTo>
                        <a:pt x="389" y="122"/>
                        <a:pt x="391" y="128"/>
                        <a:pt x="390" y="133"/>
                      </a:cubicBezTo>
                      <a:lnTo>
                        <a:pt x="382" y="167"/>
                      </a:lnTo>
                      <a:lnTo>
                        <a:pt x="402" y="196"/>
                      </a:lnTo>
                      <a:cubicBezTo>
                        <a:pt x="406" y="200"/>
                        <a:pt x="405" y="206"/>
                        <a:pt x="402" y="210"/>
                      </a:cubicBezTo>
                      <a:lnTo>
                        <a:pt x="382" y="238"/>
                      </a:lnTo>
                      <a:lnTo>
                        <a:pt x="390" y="272"/>
                      </a:lnTo>
                      <a:cubicBezTo>
                        <a:pt x="391" y="278"/>
                        <a:pt x="389" y="283"/>
                        <a:pt x="384" y="286"/>
                      </a:cubicBezTo>
                      <a:lnTo>
                        <a:pt x="354" y="304"/>
                      </a:lnTo>
                      <a:lnTo>
                        <a:pt x="349" y="339"/>
                      </a:lnTo>
                      <a:cubicBezTo>
                        <a:pt x="348" y="344"/>
                        <a:pt x="344" y="348"/>
                        <a:pt x="339" y="349"/>
                      </a:cubicBezTo>
                      <a:lnTo>
                        <a:pt x="304" y="354"/>
                      </a:lnTo>
                      <a:lnTo>
                        <a:pt x="286" y="384"/>
                      </a:lnTo>
                      <a:cubicBezTo>
                        <a:pt x="283" y="389"/>
                        <a:pt x="278" y="391"/>
                        <a:pt x="273" y="390"/>
                      </a:cubicBezTo>
                      <a:lnTo>
                        <a:pt x="238" y="382"/>
                      </a:lnTo>
                      <a:lnTo>
                        <a:pt x="210" y="402"/>
                      </a:lnTo>
                      <a:cubicBezTo>
                        <a:pt x="205" y="405"/>
                        <a:pt x="200" y="405"/>
                        <a:pt x="195" y="402"/>
                      </a:cubicBezTo>
                      <a:lnTo>
                        <a:pt x="167" y="382"/>
                      </a:lnTo>
                      <a:lnTo>
                        <a:pt x="133" y="390"/>
                      </a:lnTo>
                      <a:cubicBezTo>
                        <a:pt x="128" y="391"/>
                        <a:pt x="122" y="389"/>
                        <a:pt x="120" y="384"/>
                      </a:cubicBezTo>
                      <a:lnTo>
                        <a:pt x="101" y="354"/>
                      </a:lnTo>
                      <a:lnTo>
                        <a:pt x="67" y="349"/>
                      </a:lnTo>
                      <a:cubicBezTo>
                        <a:pt x="61" y="348"/>
                        <a:pt x="57" y="344"/>
                        <a:pt x="57" y="339"/>
                      </a:cubicBezTo>
                      <a:lnTo>
                        <a:pt x="51" y="304"/>
                      </a:lnTo>
                      <a:lnTo>
                        <a:pt x="21" y="286"/>
                      </a:lnTo>
                      <a:cubicBezTo>
                        <a:pt x="16" y="283"/>
                        <a:pt x="14" y="277"/>
                        <a:pt x="16" y="272"/>
                      </a:cubicBezTo>
                      <a:lnTo>
                        <a:pt x="24" y="238"/>
                      </a:lnTo>
                      <a:lnTo>
                        <a:pt x="3" y="210"/>
                      </a:lnTo>
                      <a:cubicBezTo>
                        <a:pt x="0" y="205"/>
                        <a:pt x="0" y="199"/>
                        <a:pt x="3" y="195"/>
                      </a:cubicBezTo>
                      <a:lnTo>
                        <a:pt x="24" y="167"/>
                      </a:lnTo>
                      <a:lnTo>
                        <a:pt x="16" y="133"/>
                      </a:lnTo>
                      <a:cubicBezTo>
                        <a:pt x="14" y="127"/>
                        <a:pt x="17" y="122"/>
                        <a:pt x="21" y="119"/>
                      </a:cubicBezTo>
                      <a:lnTo>
                        <a:pt x="51" y="101"/>
                      </a:lnTo>
                      <a:lnTo>
                        <a:pt x="57" y="66"/>
                      </a:lnTo>
                      <a:cubicBezTo>
                        <a:pt x="57" y="61"/>
                        <a:pt x="62" y="57"/>
                        <a:pt x="67" y="56"/>
                      </a:cubicBezTo>
                      <a:lnTo>
                        <a:pt x="101" y="51"/>
                      </a:lnTo>
                      <a:lnTo>
                        <a:pt x="120" y="21"/>
                      </a:lnTo>
                      <a:cubicBezTo>
                        <a:pt x="123" y="16"/>
                        <a:pt x="128" y="14"/>
                        <a:pt x="133" y="15"/>
                      </a:cubicBezTo>
                      <a:lnTo>
                        <a:pt x="167" y="24"/>
                      </a:lnTo>
                      <a:lnTo>
                        <a:pt x="196" y="3"/>
                      </a:lnTo>
                      <a:cubicBezTo>
                        <a:pt x="200" y="0"/>
                        <a:pt x="206" y="0"/>
                        <a:pt x="210" y="3"/>
                      </a:cubicBezTo>
                      <a:close/>
                    </a:path>
                  </a:pathLst>
                </a:custGeom>
                <a:solidFill>
                  <a:srgbClr val="2185A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3" name="Freeform 1180"/>
                <p:cNvSpPr>
                  <a:spLocks noEditPoints="1"/>
                </p:cNvSpPr>
                <p:nvPr/>
              </p:nvSpPr>
              <p:spPr bwMode="auto">
                <a:xfrm>
                  <a:off x="1084" y="2000"/>
                  <a:ext cx="75" cy="76"/>
                </a:xfrm>
                <a:custGeom>
                  <a:avLst/>
                  <a:gdLst/>
                  <a:ahLst/>
                  <a:cxnLst>
                    <a:cxn ang="0">
                      <a:pos x="156" y="0"/>
                    </a:cxn>
                    <a:cxn ang="0">
                      <a:pos x="266" y="46"/>
                    </a:cxn>
                    <a:cxn ang="0">
                      <a:pos x="266" y="46"/>
                    </a:cxn>
                    <a:cxn ang="0">
                      <a:pos x="266" y="46"/>
                    </a:cxn>
                    <a:cxn ang="0">
                      <a:pos x="311" y="156"/>
                    </a:cxn>
                    <a:cxn ang="0">
                      <a:pos x="266" y="265"/>
                    </a:cxn>
                    <a:cxn ang="0">
                      <a:pos x="266" y="265"/>
                    </a:cxn>
                    <a:cxn ang="0">
                      <a:pos x="266" y="265"/>
                    </a:cxn>
                    <a:cxn ang="0">
                      <a:pos x="156" y="311"/>
                    </a:cxn>
                    <a:cxn ang="0">
                      <a:pos x="46" y="265"/>
                    </a:cxn>
                    <a:cxn ang="0">
                      <a:pos x="46" y="265"/>
                    </a:cxn>
                    <a:cxn ang="0">
                      <a:pos x="46" y="265"/>
                    </a:cxn>
                    <a:cxn ang="0">
                      <a:pos x="0" y="156"/>
                    </a:cxn>
                    <a:cxn ang="0">
                      <a:pos x="46" y="46"/>
                    </a:cxn>
                    <a:cxn ang="0">
                      <a:pos x="46" y="46"/>
                    </a:cxn>
                    <a:cxn ang="0">
                      <a:pos x="46" y="46"/>
                    </a:cxn>
                    <a:cxn ang="0">
                      <a:pos x="156" y="0"/>
                    </a:cxn>
                    <a:cxn ang="0">
                      <a:pos x="248" y="63"/>
                    </a:cxn>
                    <a:cxn ang="0">
                      <a:pos x="156" y="24"/>
                    </a:cxn>
                    <a:cxn ang="0">
                      <a:pos x="63" y="63"/>
                    </a:cxn>
                    <a:cxn ang="0">
                      <a:pos x="63" y="63"/>
                    </a:cxn>
                    <a:cxn ang="0">
                      <a:pos x="24" y="156"/>
                    </a:cxn>
                    <a:cxn ang="0">
                      <a:pos x="63" y="248"/>
                    </a:cxn>
                    <a:cxn ang="0">
                      <a:pos x="63" y="248"/>
                    </a:cxn>
                    <a:cxn ang="0">
                      <a:pos x="156" y="287"/>
                    </a:cxn>
                    <a:cxn ang="0">
                      <a:pos x="248" y="248"/>
                    </a:cxn>
                    <a:cxn ang="0">
                      <a:pos x="249" y="248"/>
                    </a:cxn>
                    <a:cxn ang="0">
                      <a:pos x="287" y="156"/>
                    </a:cxn>
                    <a:cxn ang="0">
                      <a:pos x="249" y="63"/>
                    </a:cxn>
                    <a:cxn ang="0">
                      <a:pos x="248" y="63"/>
                    </a:cxn>
                  </a:cxnLst>
                  <a:rect l="0" t="0" r="r" b="b"/>
                  <a:pathLst>
                    <a:path w="311" h="311">
                      <a:moveTo>
                        <a:pt x="156" y="0"/>
                      </a:moveTo>
                      <a:cubicBezTo>
                        <a:pt x="199" y="0"/>
                        <a:pt x="237" y="18"/>
                        <a:pt x="266" y="46"/>
                      </a:cubicBezTo>
                      <a:lnTo>
                        <a:pt x="266" y="46"/>
                      </a:lnTo>
                      <a:lnTo>
                        <a:pt x="266" y="46"/>
                      </a:lnTo>
                      <a:cubicBezTo>
                        <a:pt x="294" y="74"/>
                        <a:pt x="311" y="113"/>
                        <a:pt x="311" y="156"/>
                      </a:cubicBezTo>
                      <a:cubicBezTo>
                        <a:pt x="311" y="198"/>
                        <a:pt x="294" y="237"/>
                        <a:pt x="266" y="265"/>
                      </a:cubicBezTo>
                      <a:lnTo>
                        <a:pt x="266" y="265"/>
                      </a:lnTo>
                      <a:lnTo>
                        <a:pt x="266" y="265"/>
                      </a:lnTo>
                      <a:cubicBezTo>
                        <a:pt x="237" y="294"/>
                        <a:pt x="199" y="311"/>
                        <a:pt x="156" y="311"/>
                      </a:cubicBezTo>
                      <a:cubicBezTo>
                        <a:pt x="113" y="311"/>
                        <a:pt x="74" y="294"/>
                        <a:pt x="46" y="265"/>
                      </a:cubicBezTo>
                      <a:lnTo>
                        <a:pt x="46" y="265"/>
                      </a:lnTo>
                      <a:lnTo>
                        <a:pt x="46" y="265"/>
                      </a:lnTo>
                      <a:cubicBezTo>
                        <a:pt x="18" y="237"/>
                        <a:pt x="0" y="198"/>
                        <a:pt x="0" y="156"/>
                      </a:cubicBezTo>
                      <a:cubicBezTo>
                        <a:pt x="0" y="113"/>
                        <a:pt x="18" y="74"/>
                        <a:pt x="46" y="46"/>
                      </a:cubicBezTo>
                      <a:lnTo>
                        <a:pt x="46" y="46"/>
                      </a:lnTo>
                      <a:lnTo>
                        <a:pt x="46" y="46"/>
                      </a:lnTo>
                      <a:cubicBezTo>
                        <a:pt x="74" y="18"/>
                        <a:pt x="113" y="0"/>
                        <a:pt x="156" y="0"/>
                      </a:cubicBezTo>
                      <a:close/>
                      <a:moveTo>
                        <a:pt x="248" y="63"/>
                      </a:moveTo>
                      <a:cubicBezTo>
                        <a:pt x="225" y="39"/>
                        <a:pt x="192" y="24"/>
                        <a:pt x="156" y="24"/>
                      </a:cubicBezTo>
                      <a:cubicBezTo>
                        <a:pt x="119" y="24"/>
                        <a:pt x="87" y="39"/>
                        <a:pt x="63" y="63"/>
                      </a:cubicBezTo>
                      <a:lnTo>
                        <a:pt x="63" y="63"/>
                      </a:lnTo>
                      <a:cubicBezTo>
                        <a:pt x="39" y="87"/>
                        <a:pt x="24" y="119"/>
                        <a:pt x="24" y="156"/>
                      </a:cubicBezTo>
                      <a:cubicBezTo>
                        <a:pt x="24" y="192"/>
                        <a:pt x="39" y="225"/>
                        <a:pt x="63" y="248"/>
                      </a:cubicBezTo>
                      <a:lnTo>
                        <a:pt x="63" y="248"/>
                      </a:lnTo>
                      <a:cubicBezTo>
                        <a:pt x="87" y="272"/>
                        <a:pt x="119" y="287"/>
                        <a:pt x="156" y="287"/>
                      </a:cubicBezTo>
                      <a:cubicBezTo>
                        <a:pt x="192" y="287"/>
                        <a:pt x="225" y="272"/>
                        <a:pt x="248" y="248"/>
                      </a:cubicBezTo>
                      <a:lnTo>
                        <a:pt x="249" y="248"/>
                      </a:lnTo>
                      <a:cubicBezTo>
                        <a:pt x="272" y="225"/>
                        <a:pt x="287" y="192"/>
                        <a:pt x="287" y="156"/>
                      </a:cubicBezTo>
                      <a:cubicBezTo>
                        <a:pt x="287" y="119"/>
                        <a:pt x="272" y="87"/>
                        <a:pt x="249" y="63"/>
                      </a:cubicBezTo>
                      <a:lnTo>
                        <a:pt x="248" y="63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4" name="Freeform 1181"/>
                <p:cNvSpPr>
                  <a:spLocks/>
                </p:cNvSpPr>
                <p:nvPr/>
              </p:nvSpPr>
              <p:spPr bwMode="auto">
                <a:xfrm>
                  <a:off x="912" y="1728"/>
                  <a:ext cx="55" cy="4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26" y="0"/>
                    </a:cxn>
                    <a:cxn ang="0">
                      <a:pos x="226" y="166"/>
                    </a:cxn>
                    <a:cxn ang="0">
                      <a:pos x="0" y="166"/>
                    </a:cxn>
                    <a:cxn ang="0">
                      <a:pos x="84" y="8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26" h="166">
                      <a:moveTo>
                        <a:pt x="0" y="0"/>
                      </a:moveTo>
                      <a:lnTo>
                        <a:pt x="226" y="0"/>
                      </a:lnTo>
                      <a:lnTo>
                        <a:pt x="226" y="166"/>
                      </a:lnTo>
                      <a:lnTo>
                        <a:pt x="0" y="166"/>
                      </a:lnTo>
                      <a:lnTo>
                        <a:pt x="84" y="8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F753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5" name="Freeform 1182"/>
                <p:cNvSpPr>
                  <a:spLocks/>
                </p:cNvSpPr>
                <p:nvPr/>
              </p:nvSpPr>
              <p:spPr bwMode="auto">
                <a:xfrm>
                  <a:off x="940" y="1758"/>
                  <a:ext cx="27" cy="1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09" y="41"/>
                    </a:cxn>
                    <a:cxn ang="0">
                      <a:pos x="109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09" h="41">
                      <a:moveTo>
                        <a:pt x="0" y="0"/>
                      </a:moveTo>
                      <a:lnTo>
                        <a:pt x="109" y="41"/>
                      </a:lnTo>
                      <a:lnTo>
                        <a:pt x="109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B5B0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6" name="Rectangle 1183"/>
                <p:cNvSpPr>
                  <a:spLocks noChangeArrowheads="1"/>
                </p:cNvSpPr>
                <p:nvPr/>
              </p:nvSpPr>
              <p:spPr bwMode="auto">
                <a:xfrm>
                  <a:off x="940" y="1718"/>
                  <a:ext cx="90" cy="40"/>
                </a:xfrm>
                <a:prstGeom prst="rect">
                  <a:avLst/>
                </a:prstGeom>
                <a:solidFill>
                  <a:srgbClr val="FF9736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7" name="Freeform 1184"/>
                <p:cNvSpPr>
                  <a:spLocks/>
                </p:cNvSpPr>
                <p:nvPr/>
              </p:nvSpPr>
              <p:spPr bwMode="auto">
                <a:xfrm>
                  <a:off x="1094" y="1728"/>
                  <a:ext cx="55" cy="40"/>
                </a:xfrm>
                <a:custGeom>
                  <a:avLst/>
                  <a:gdLst/>
                  <a:ahLst/>
                  <a:cxnLst>
                    <a:cxn ang="0">
                      <a:pos x="225" y="0"/>
                    </a:cxn>
                    <a:cxn ang="0">
                      <a:pos x="0" y="0"/>
                    </a:cxn>
                    <a:cxn ang="0">
                      <a:pos x="0" y="166"/>
                    </a:cxn>
                    <a:cxn ang="0">
                      <a:pos x="225" y="166"/>
                    </a:cxn>
                    <a:cxn ang="0">
                      <a:pos x="142" y="83"/>
                    </a:cxn>
                    <a:cxn ang="0">
                      <a:pos x="225" y="0"/>
                    </a:cxn>
                  </a:cxnLst>
                  <a:rect l="0" t="0" r="r" b="b"/>
                  <a:pathLst>
                    <a:path w="225" h="166">
                      <a:moveTo>
                        <a:pt x="225" y="0"/>
                      </a:moveTo>
                      <a:lnTo>
                        <a:pt x="0" y="0"/>
                      </a:lnTo>
                      <a:lnTo>
                        <a:pt x="0" y="166"/>
                      </a:lnTo>
                      <a:lnTo>
                        <a:pt x="225" y="166"/>
                      </a:lnTo>
                      <a:lnTo>
                        <a:pt x="142" y="83"/>
                      </a:lnTo>
                      <a:lnTo>
                        <a:pt x="225" y="0"/>
                      </a:lnTo>
                      <a:close/>
                    </a:path>
                  </a:pathLst>
                </a:custGeom>
                <a:solidFill>
                  <a:srgbClr val="EB5B0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8" name="Freeform 1185"/>
                <p:cNvSpPr>
                  <a:spLocks/>
                </p:cNvSpPr>
                <p:nvPr/>
              </p:nvSpPr>
              <p:spPr bwMode="auto">
                <a:xfrm>
                  <a:off x="1094" y="1758"/>
                  <a:ext cx="26" cy="10"/>
                </a:xfrm>
                <a:custGeom>
                  <a:avLst/>
                  <a:gdLst/>
                  <a:ahLst/>
                  <a:cxnLst>
                    <a:cxn ang="0">
                      <a:pos x="108" y="0"/>
                    </a:cxn>
                    <a:cxn ang="0">
                      <a:pos x="0" y="41"/>
                    </a:cxn>
                    <a:cxn ang="0">
                      <a:pos x="0" y="0"/>
                    </a:cxn>
                    <a:cxn ang="0">
                      <a:pos x="108" y="0"/>
                    </a:cxn>
                  </a:cxnLst>
                  <a:rect l="0" t="0" r="r" b="b"/>
                  <a:pathLst>
                    <a:path w="108" h="41">
                      <a:moveTo>
                        <a:pt x="108" y="0"/>
                      </a:moveTo>
                      <a:lnTo>
                        <a:pt x="0" y="41"/>
                      </a:lnTo>
                      <a:lnTo>
                        <a:pt x="0" y="0"/>
                      </a:lnTo>
                      <a:lnTo>
                        <a:pt x="108" y="0"/>
                      </a:lnTo>
                      <a:close/>
                    </a:path>
                  </a:pathLst>
                </a:custGeom>
                <a:solidFill>
                  <a:srgbClr val="D64B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59" name="Rectangle 1186"/>
                <p:cNvSpPr>
                  <a:spLocks noChangeArrowheads="1"/>
                </p:cNvSpPr>
                <p:nvPr/>
              </p:nvSpPr>
              <p:spPr bwMode="auto">
                <a:xfrm>
                  <a:off x="1030" y="1718"/>
                  <a:ext cx="90" cy="40"/>
                </a:xfrm>
                <a:prstGeom prst="rect">
                  <a:avLst/>
                </a:prstGeom>
                <a:solidFill>
                  <a:srgbClr val="EF753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0" name="Freeform 1187"/>
                <p:cNvSpPr>
                  <a:spLocks/>
                </p:cNvSpPr>
                <p:nvPr/>
              </p:nvSpPr>
              <p:spPr bwMode="auto">
                <a:xfrm>
                  <a:off x="868" y="1819"/>
                  <a:ext cx="60" cy="59"/>
                </a:xfrm>
                <a:custGeom>
                  <a:avLst/>
                  <a:gdLst/>
                  <a:ahLst/>
                  <a:cxnLst>
                    <a:cxn ang="0">
                      <a:pos x="124" y="0"/>
                    </a:cxn>
                    <a:cxn ang="0">
                      <a:pos x="36" y="35"/>
                    </a:cxn>
                    <a:cxn ang="0">
                      <a:pos x="36" y="35"/>
                    </a:cxn>
                    <a:cxn ang="0">
                      <a:pos x="0" y="120"/>
                    </a:cxn>
                    <a:cxn ang="0">
                      <a:pos x="36" y="206"/>
                    </a:cxn>
                    <a:cxn ang="0">
                      <a:pos x="36" y="206"/>
                    </a:cxn>
                    <a:cxn ang="0">
                      <a:pos x="124" y="241"/>
                    </a:cxn>
                    <a:cxn ang="0">
                      <a:pos x="211" y="206"/>
                    </a:cxn>
                    <a:cxn ang="0">
                      <a:pos x="211" y="206"/>
                    </a:cxn>
                    <a:cxn ang="0">
                      <a:pos x="247" y="120"/>
                    </a:cxn>
                    <a:cxn ang="0">
                      <a:pos x="211" y="35"/>
                    </a:cxn>
                    <a:cxn ang="0">
                      <a:pos x="211" y="35"/>
                    </a:cxn>
                    <a:cxn ang="0">
                      <a:pos x="124" y="0"/>
                    </a:cxn>
                  </a:cxnLst>
                  <a:rect l="0" t="0" r="r" b="b"/>
                  <a:pathLst>
                    <a:path w="247" h="241">
                      <a:moveTo>
                        <a:pt x="124" y="0"/>
                      </a:moveTo>
                      <a:cubicBezTo>
                        <a:pt x="90" y="0"/>
                        <a:pt x="59" y="13"/>
                        <a:pt x="36" y="35"/>
                      </a:cubicBezTo>
                      <a:lnTo>
                        <a:pt x="36" y="35"/>
                      </a:lnTo>
                      <a:cubicBezTo>
                        <a:pt x="14" y="57"/>
                        <a:pt x="0" y="87"/>
                        <a:pt x="0" y="120"/>
                      </a:cubicBezTo>
                      <a:cubicBezTo>
                        <a:pt x="0" y="154"/>
                        <a:pt x="14" y="184"/>
                        <a:pt x="36" y="206"/>
                      </a:cubicBezTo>
                      <a:lnTo>
                        <a:pt x="36" y="206"/>
                      </a:lnTo>
                      <a:cubicBezTo>
                        <a:pt x="59" y="228"/>
                        <a:pt x="90" y="241"/>
                        <a:pt x="124" y="241"/>
                      </a:cubicBezTo>
                      <a:cubicBezTo>
                        <a:pt x="158" y="241"/>
                        <a:pt x="189" y="228"/>
                        <a:pt x="211" y="206"/>
                      </a:cubicBezTo>
                      <a:lnTo>
                        <a:pt x="211" y="206"/>
                      </a:lnTo>
                      <a:cubicBezTo>
                        <a:pt x="233" y="184"/>
                        <a:pt x="247" y="154"/>
                        <a:pt x="247" y="120"/>
                      </a:cubicBezTo>
                      <a:cubicBezTo>
                        <a:pt x="247" y="87"/>
                        <a:pt x="233" y="57"/>
                        <a:pt x="211" y="35"/>
                      </a:cubicBezTo>
                      <a:lnTo>
                        <a:pt x="211" y="35"/>
                      </a:lnTo>
                      <a:cubicBezTo>
                        <a:pt x="189" y="13"/>
                        <a:pt x="158" y="0"/>
                        <a:pt x="124" y="0"/>
                      </a:cubicBezTo>
                      <a:close/>
                    </a:path>
                  </a:pathLst>
                </a:custGeom>
                <a:solidFill>
                  <a:srgbClr val="30394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1" name="Freeform 1188"/>
                <p:cNvSpPr>
                  <a:spLocks/>
                </p:cNvSpPr>
                <p:nvPr/>
              </p:nvSpPr>
              <p:spPr bwMode="auto">
                <a:xfrm>
                  <a:off x="781" y="1946"/>
                  <a:ext cx="114" cy="48"/>
                </a:xfrm>
                <a:custGeom>
                  <a:avLst/>
                  <a:gdLst/>
                  <a:ahLst/>
                  <a:cxnLst>
                    <a:cxn ang="0">
                      <a:pos x="473" y="90"/>
                    </a:cxn>
                    <a:cxn ang="0">
                      <a:pos x="21" y="0"/>
                    </a:cxn>
                    <a:cxn ang="0">
                      <a:pos x="0" y="104"/>
                    </a:cxn>
                    <a:cxn ang="0">
                      <a:pos x="452" y="194"/>
                    </a:cxn>
                    <a:cxn ang="0">
                      <a:pos x="473" y="90"/>
                    </a:cxn>
                  </a:cxnLst>
                  <a:rect l="0" t="0" r="r" b="b"/>
                  <a:pathLst>
                    <a:path w="473" h="194">
                      <a:moveTo>
                        <a:pt x="473" y="90"/>
                      </a:moveTo>
                      <a:lnTo>
                        <a:pt x="21" y="0"/>
                      </a:lnTo>
                      <a:lnTo>
                        <a:pt x="0" y="104"/>
                      </a:lnTo>
                      <a:lnTo>
                        <a:pt x="452" y="194"/>
                      </a:lnTo>
                      <a:lnTo>
                        <a:pt x="473" y="90"/>
                      </a:lnTo>
                      <a:close/>
                    </a:path>
                  </a:pathLst>
                </a:custGeom>
                <a:solidFill>
                  <a:srgbClr val="30394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2" name="Freeform 1189"/>
                <p:cNvSpPr>
                  <a:spLocks/>
                </p:cNvSpPr>
                <p:nvPr/>
              </p:nvSpPr>
              <p:spPr bwMode="auto">
                <a:xfrm>
                  <a:off x="804" y="1785"/>
                  <a:ext cx="106" cy="180"/>
                </a:xfrm>
                <a:custGeom>
                  <a:avLst/>
                  <a:gdLst/>
                  <a:ahLst/>
                  <a:cxnLst>
                    <a:cxn ang="0">
                      <a:pos x="0" y="676"/>
                    </a:cxn>
                    <a:cxn ang="0">
                      <a:pos x="301" y="736"/>
                    </a:cxn>
                    <a:cxn ang="0">
                      <a:pos x="436" y="60"/>
                    </a:cxn>
                    <a:cxn ang="0">
                      <a:pos x="135" y="0"/>
                    </a:cxn>
                    <a:cxn ang="0">
                      <a:pos x="0" y="676"/>
                    </a:cxn>
                  </a:cxnLst>
                  <a:rect l="0" t="0" r="r" b="b"/>
                  <a:pathLst>
                    <a:path w="436" h="736">
                      <a:moveTo>
                        <a:pt x="0" y="676"/>
                      </a:moveTo>
                      <a:lnTo>
                        <a:pt x="301" y="736"/>
                      </a:lnTo>
                      <a:lnTo>
                        <a:pt x="436" y="60"/>
                      </a:lnTo>
                      <a:lnTo>
                        <a:pt x="135" y="0"/>
                      </a:lnTo>
                      <a:lnTo>
                        <a:pt x="0" y="676"/>
                      </a:lnTo>
                      <a:close/>
                    </a:path>
                  </a:pathLst>
                </a:custGeom>
                <a:solidFill>
                  <a:srgbClr val="30394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3" name="Freeform 1190"/>
                <p:cNvSpPr>
                  <a:spLocks/>
                </p:cNvSpPr>
                <p:nvPr/>
              </p:nvSpPr>
              <p:spPr bwMode="auto">
                <a:xfrm>
                  <a:off x="847" y="1751"/>
                  <a:ext cx="60" cy="47"/>
                </a:xfrm>
                <a:custGeom>
                  <a:avLst/>
                  <a:gdLst/>
                  <a:ahLst/>
                  <a:cxnLst>
                    <a:cxn ang="0">
                      <a:pos x="219" y="192"/>
                    </a:cxn>
                    <a:cxn ang="0">
                      <a:pos x="0" y="148"/>
                    </a:cxn>
                    <a:cxn ang="0">
                      <a:pos x="30" y="0"/>
                    </a:cxn>
                    <a:cxn ang="0">
                      <a:pos x="249" y="44"/>
                    </a:cxn>
                    <a:cxn ang="0">
                      <a:pos x="219" y="192"/>
                    </a:cxn>
                  </a:cxnLst>
                  <a:rect l="0" t="0" r="r" b="b"/>
                  <a:pathLst>
                    <a:path w="249" h="192">
                      <a:moveTo>
                        <a:pt x="219" y="192"/>
                      </a:moveTo>
                      <a:lnTo>
                        <a:pt x="0" y="148"/>
                      </a:lnTo>
                      <a:lnTo>
                        <a:pt x="30" y="0"/>
                      </a:lnTo>
                      <a:lnTo>
                        <a:pt x="249" y="44"/>
                      </a:lnTo>
                      <a:lnTo>
                        <a:pt x="219" y="192"/>
                      </a:lnTo>
                      <a:close/>
                    </a:path>
                  </a:pathLst>
                </a:custGeom>
                <a:solidFill>
                  <a:srgbClr val="30394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4" name="Freeform 1191"/>
                <p:cNvSpPr>
                  <a:spLocks/>
                </p:cNvSpPr>
                <p:nvPr/>
              </p:nvSpPr>
              <p:spPr bwMode="auto">
                <a:xfrm>
                  <a:off x="865" y="1722"/>
                  <a:ext cx="38" cy="37"/>
                </a:xfrm>
                <a:custGeom>
                  <a:avLst/>
                  <a:gdLst/>
                  <a:ahLst/>
                  <a:cxnLst>
                    <a:cxn ang="0">
                      <a:pos x="0" y="126"/>
                    </a:cxn>
                    <a:cxn ang="0">
                      <a:pos x="131" y="152"/>
                    </a:cxn>
                    <a:cxn ang="0">
                      <a:pos x="156" y="26"/>
                    </a:cxn>
                    <a:cxn ang="0">
                      <a:pos x="25" y="0"/>
                    </a:cxn>
                    <a:cxn ang="0">
                      <a:pos x="0" y="126"/>
                    </a:cxn>
                  </a:cxnLst>
                  <a:rect l="0" t="0" r="r" b="b"/>
                  <a:pathLst>
                    <a:path w="156" h="152">
                      <a:moveTo>
                        <a:pt x="0" y="126"/>
                      </a:moveTo>
                      <a:lnTo>
                        <a:pt x="131" y="152"/>
                      </a:lnTo>
                      <a:lnTo>
                        <a:pt x="156" y="26"/>
                      </a:lnTo>
                      <a:lnTo>
                        <a:pt x="25" y="0"/>
                      </a:lnTo>
                      <a:lnTo>
                        <a:pt x="0" y="126"/>
                      </a:lnTo>
                      <a:close/>
                    </a:path>
                  </a:pathLst>
                </a:custGeom>
                <a:solidFill>
                  <a:srgbClr val="30394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5" name="Freeform 1192"/>
                <p:cNvSpPr>
                  <a:spLocks/>
                </p:cNvSpPr>
                <p:nvPr/>
              </p:nvSpPr>
              <p:spPr bwMode="auto">
                <a:xfrm>
                  <a:off x="781" y="1946"/>
                  <a:ext cx="60" cy="37"/>
                </a:xfrm>
                <a:custGeom>
                  <a:avLst/>
                  <a:gdLst/>
                  <a:ahLst/>
                  <a:cxnLst>
                    <a:cxn ang="0">
                      <a:pos x="247" y="45"/>
                    </a:cxn>
                    <a:cxn ang="0">
                      <a:pos x="21" y="0"/>
                    </a:cxn>
                    <a:cxn ang="0">
                      <a:pos x="0" y="104"/>
                    </a:cxn>
                    <a:cxn ang="0">
                      <a:pos x="226" y="149"/>
                    </a:cxn>
                    <a:cxn ang="0">
                      <a:pos x="247" y="45"/>
                    </a:cxn>
                  </a:cxnLst>
                  <a:rect l="0" t="0" r="r" b="b"/>
                  <a:pathLst>
                    <a:path w="247" h="149">
                      <a:moveTo>
                        <a:pt x="247" y="45"/>
                      </a:moveTo>
                      <a:lnTo>
                        <a:pt x="21" y="0"/>
                      </a:lnTo>
                      <a:lnTo>
                        <a:pt x="0" y="104"/>
                      </a:lnTo>
                      <a:lnTo>
                        <a:pt x="226" y="149"/>
                      </a:lnTo>
                      <a:lnTo>
                        <a:pt x="247" y="45"/>
                      </a:lnTo>
                      <a:close/>
                    </a:path>
                  </a:pathLst>
                </a:custGeom>
                <a:solidFill>
                  <a:srgbClr val="43505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6" name="Freeform 1193"/>
                <p:cNvSpPr>
                  <a:spLocks/>
                </p:cNvSpPr>
                <p:nvPr/>
              </p:nvSpPr>
              <p:spPr bwMode="auto">
                <a:xfrm>
                  <a:off x="804" y="1785"/>
                  <a:ext cx="69" cy="172"/>
                </a:xfrm>
                <a:custGeom>
                  <a:avLst/>
                  <a:gdLst/>
                  <a:ahLst/>
                  <a:cxnLst>
                    <a:cxn ang="0">
                      <a:pos x="0" y="676"/>
                    </a:cxn>
                    <a:cxn ang="0">
                      <a:pos x="151" y="706"/>
                    </a:cxn>
                    <a:cxn ang="0">
                      <a:pos x="286" y="30"/>
                    </a:cxn>
                    <a:cxn ang="0">
                      <a:pos x="135" y="0"/>
                    </a:cxn>
                    <a:cxn ang="0">
                      <a:pos x="0" y="676"/>
                    </a:cxn>
                  </a:cxnLst>
                  <a:rect l="0" t="0" r="r" b="b"/>
                  <a:pathLst>
                    <a:path w="286" h="706">
                      <a:moveTo>
                        <a:pt x="0" y="676"/>
                      </a:moveTo>
                      <a:lnTo>
                        <a:pt x="151" y="706"/>
                      </a:lnTo>
                      <a:lnTo>
                        <a:pt x="286" y="30"/>
                      </a:lnTo>
                      <a:lnTo>
                        <a:pt x="135" y="0"/>
                      </a:lnTo>
                      <a:lnTo>
                        <a:pt x="0" y="676"/>
                      </a:lnTo>
                      <a:close/>
                    </a:path>
                  </a:pathLst>
                </a:custGeom>
                <a:solidFill>
                  <a:srgbClr val="43505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7" name="Freeform 1194"/>
                <p:cNvSpPr>
                  <a:spLocks/>
                </p:cNvSpPr>
                <p:nvPr/>
              </p:nvSpPr>
              <p:spPr bwMode="auto">
                <a:xfrm>
                  <a:off x="847" y="1751"/>
                  <a:ext cx="33" cy="41"/>
                </a:xfrm>
                <a:custGeom>
                  <a:avLst/>
                  <a:gdLst/>
                  <a:ahLst/>
                  <a:cxnLst>
                    <a:cxn ang="0">
                      <a:pos x="110" y="170"/>
                    </a:cxn>
                    <a:cxn ang="0">
                      <a:pos x="0" y="148"/>
                    </a:cxn>
                    <a:cxn ang="0">
                      <a:pos x="30" y="0"/>
                    </a:cxn>
                    <a:cxn ang="0">
                      <a:pos x="139" y="22"/>
                    </a:cxn>
                    <a:cxn ang="0">
                      <a:pos x="110" y="170"/>
                    </a:cxn>
                  </a:cxnLst>
                  <a:rect l="0" t="0" r="r" b="b"/>
                  <a:pathLst>
                    <a:path w="139" h="170">
                      <a:moveTo>
                        <a:pt x="110" y="170"/>
                      </a:moveTo>
                      <a:lnTo>
                        <a:pt x="0" y="148"/>
                      </a:lnTo>
                      <a:lnTo>
                        <a:pt x="30" y="0"/>
                      </a:lnTo>
                      <a:lnTo>
                        <a:pt x="139" y="22"/>
                      </a:lnTo>
                      <a:lnTo>
                        <a:pt x="110" y="170"/>
                      </a:lnTo>
                      <a:close/>
                    </a:path>
                  </a:pathLst>
                </a:custGeom>
                <a:solidFill>
                  <a:srgbClr val="43505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8" name="Freeform 1195"/>
                <p:cNvSpPr>
                  <a:spLocks/>
                </p:cNvSpPr>
                <p:nvPr/>
              </p:nvSpPr>
              <p:spPr bwMode="auto">
                <a:xfrm>
                  <a:off x="865" y="1722"/>
                  <a:ext cx="22" cy="34"/>
                </a:xfrm>
                <a:custGeom>
                  <a:avLst/>
                  <a:gdLst/>
                  <a:ahLst/>
                  <a:cxnLst>
                    <a:cxn ang="0">
                      <a:pos x="0" y="126"/>
                    </a:cxn>
                    <a:cxn ang="0">
                      <a:pos x="65" y="139"/>
                    </a:cxn>
                    <a:cxn ang="0">
                      <a:pos x="91" y="13"/>
                    </a:cxn>
                    <a:cxn ang="0">
                      <a:pos x="25" y="0"/>
                    </a:cxn>
                    <a:cxn ang="0">
                      <a:pos x="0" y="126"/>
                    </a:cxn>
                  </a:cxnLst>
                  <a:rect l="0" t="0" r="r" b="b"/>
                  <a:pathLst>
                    <a:path w="91" h="139">
                      <a:moveTo>
                        <a:pt x="0" y="126"/>
                      </a:moveTo>
                      <a:lnTo>
                        <a:pt x="65" y="139"/>
                      </a:lnTo>
                      <a:lnTo>
                        <a:pt x="91" y="13"/>
                      </a:lnTo>
                      <a:lnTo>
                        <a:pt x="25" y="0"/>
                      </a:lnTo>
                      <a:lnTo>
                        <a:pt x="0" y="126"/>
                      </a:lnTo>
                      <a:close/>
                    </a:path>
                  </a:pathLst>
                </a:custGeom>
                <a:solidFill>
                  <a:srgbClr val="43505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69" name="Rectangle 1196"/>
                <p:cNvSpPr>
                  <a:spLocks noChangeArrowheads="1"/>
                </p:cNvSpPr>
                <p:nvPr/>
              </p:nvSpPr>
              <p:spPr bwMode="auto">
                <a:xfrm>
                  <a:off x="727" y="2061"/>
                  <a:ext cx="251" cy="22"/>
                </a:xfrm>
                <a:prstGeom prst="rect">
                  <a:avLst/>
                </a:prstGeom>
                <a:solidFill>
                  <a:srgbClr val="43505C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0" name="Rectangle 1197"/>
                <p:cNvSpPr>
                  <a:spLocks noChangeArrowheads="1"/>
                </p:cNvSpPr>
                <p:nvPr/>
              </p:nvSpPr>
              <p:spPr bwMode="auto">
                <a:xfrm>
                  <a:off x="727" y="2101"/>
                  <a:ext cx="251" cy="58"/>
                </a:xfrm>
                <a:prstGeom prst="rect">
                  <a:avLst/>
                </a:prstGeom>
                <a:solidFill>
                  <a:srgbClr val="303942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1" name="Freeform 1198"/>
                <p:cNvSpPr>
                  <a:spLocks/>
                </p:cNvSpPr>
                <p:nvPr/>
              </p:nvSpPr>
              <p:spPr bwMode="auto">
                <a:xfrm>
                  <a:off x="898" y="1834"/>
                  <a:ext cx="151" cy="283"/>
                </a:xfrm>
                <a:custGeom>
                  <a:avLst/>
                  <a:gdLst/>
                  <a:ahLst/>
                  <a:cxnLst>
                    <a:cxn ang="0">
                      <a:pos x="22" y="0"/>
                    </a:cxn>
                    <a:cxn ang="0">
                      <a:pos x="0" y="1"/>
                    </a:cxn>
                    <a:cxn ang="0">
                      <a:pos x="0" y="124"/>
                    </a:cxn>
                    <a:cxn ang="0">
                      <a:pos x="22" y="124"/>
                    </a:cxn>
                    <a:cxn ang="0">
                      <a:pos x="359" y="263"/>
                    </a:cxn>
                    <a:cxn ang="0">
                      <a:pos x="498" y="600"/>
                    </a:cxn>
                    <a:cxn ang="0">
                      <a:pos x="359" y="937"/>
                    </a:cxn>
                    <a:cxn ang="0">
                      <a:pos x="243" y="1022"/>
                    </a:cxn>
                    <a:cxn ang="0">
                      <a:pos x="243" y="1158"/>
                    </a:cxn>
                    <a:cxn ang="0">
                      <a:pos x="446" y="1025"/>
                    </a:cxn>
                    <a:cxn ang="0">
                      <a:pos x="622" y="600"/>
                    </a:cxn>
                    <a:cxn ang="0">
                      <a:pos x="446" y="176"/>
                    </a:cxn>
                    <a:cxn ang="0">
                      <a:pos x="22" y="0"/>
                    </a:cxn>
                  </a:cxnLst>
                  <a:rect l="0" t="0" r="r" b="b"/>
                  <a:pathLst>
                    <a:path w="622" h="1158">
                      <a:moveTo>
                        <a:pt x="22" y="0"/>
                      </a:moveTo>
                      <a:cubicBezTo>
                        <a:pt x="14" y="0"/>
                        <a:pt x="7" y="0"/>
                        <a:pt x="0" y="1"/>
                      </a:cubicBezTo>
                      <a:lnTo>
                        <a:pt x="0" y="124"/>
                      </a:lnTo>
                      <a:cubicBezTo>
                        <a:pt x="7" y="124"/>
                        <a:pt x="14" y="124"/>
                        <a:pt x="22" y="124"/>
                      </a:cubicBezTo>
                      <a:cubicBezTo>
                        <a:pt x="153" y="124"/>
                        <a:pt x="272" y="177"/>
                        <a:pt x="359" y="263"/>
                      </a:cubicBezTo>
                      <a:cubicBezTo>
                        <a:pt x="445" y="350"/>
                        <a:pt x="498" y="469"/>
                        <a:pt x="498" y="600"/>
                      </a:cubicBezTo>
                      <a:cubicBezTo>
                        <a:pt x="498" y="732"/>
                        <a:pt x="445" y="851"/>
                        <a:pt x="359" y="937"/>
                      </a:cubicBezTo>
                      <a:cubicBezTo>
                        <a:pt x="325" y="971"/>
                        <a:pt x="286" y="1000"/>
                        <a:pt x="243" y="1022"/>
                      </a:cubicBezTo>
                      <a:lnTo>
                        <a:pt x="243" y="1158"/>
                      </a:lnTo>
                      <a:cubicBezTo>
                        <a:pt x="320" y="1128"/>
                        <a:pt x="389" y="1082"/>
                        <a:pt x="446" y="1025"/>
                      </a:cubicBezTo>
                      <a:cubicBezTo>
                        <a:pt x="555" y="916"/>
                        <a:pt x="622" y="766"/>
                        <a:pt x="622" y="600"/>
                      </a:cubicBezTo>
                      <a:cubicBezTo>
                        <a:pt x="622" y="435"/>
                        <a:pt x="555" y="285"/>
                        <a:pt x="446" y="176"/>
                      </a:cubicBezTo>
                      <a:cubicBezTo>
                        <a:pt x="337" y="67"/>
                        <a:pt x="187" y="0"/>
                        <a:pt x="22" y="0"/>
                      </a:cubicBezTo>
                      <a:close/>
                    </a:path>
                  </a:pathLst>
                </a:custGeom>
                <a:solidFill>
                  <a:srgbClr val="AECBD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2" name="Rectangle 1199"/>
                <p:cNvSpPr>
                  <a:spLocks noChangeArrowheads="1"/>
                </p:cNvSpPr>
                <p:nvPr/>
              </p:nvSpPr>
              <p:spPr bwMode="auto">
                <a:xfrm>
                  <a:off x="758" y="2039"/>
                  <a:ext cx="125" cy="22"/>
                </a:xfrm>
                <a:prstGeom prst="rect">
                  <a:avLst/>
                </a:prstGeom>
                <a:solidFill>
                  <a:srgbClr val="27D3D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3" name="Oval 1200"/>
                <p:cNvSpPr>
                  <a:spLocks noChangeArrowheads="1"/>
                </p:cNvSpPr>
                <p:nvPr/>
              </p:nvSpPr>
              <p:spPr bwMode="auto">
                <a:xfrm>
                  <a:off x="890" y="2071"/>
                  <a:ext cx="68" cy="67"/>
                </a:xfrm>
                <a:prstGeom prst="ellipse">
                  <a:avLst/>
                </a:prstGeom>
                <a:solidFill>
                  <a:srgbClr val="79A7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4" name="Freeform 1201"/>
                <p:cNvSpPr>
                  <a:spLocks noEditPoints="1"/>
                </p:cNvSpPr>
                <p:nvPr/>
              </p:nvSpPr>
              <p:spPr bwMode="auto">
                <a:xfrm>
                  <a:off x="880" y="2062"/>
                  <a:ext cx="87" cy="85"/>
                </a:xfrm>
                <a:custGeom>
                  <a:avLst/>
                  <a:gdLst/>
                  <a:ahLst/>
                  <a:cxnLst>
                    <a:cxn ang="0">
                      <a:pos x="179" y="0"/>
                    </a:cxn>
                    <a:cxn ang="0">
                      <a:pos x="52" y="52"/>
                    </a:cxn>
                    <a:cxn ang="0">
                      <a:pos x="52" y="52"/>
                    </a:cxn>
                    <a:cxn ang="0">
                      <a:pos x="0" y="175"/>
                    </a:cxn>
                    <a:cxn ang="0">
                      <a:pos x="52" y="299"/>
                    </a:cxn>
                    <a:cxn ang="0">
                      <a:pos x="52" y="299"/>
                    </a:cxn>
                    <a:cxn ang="0">
                      <a:pos x="179" y="350"/>
                    </a:cxn>
                    <a:cxn ang="0">
                      <a:pos x="305" y="299"/>
                    </a:cxn>
                    <a:cxn ang="0">
                      <a:pos x="305" y="299"/>
                    </a:cxn>
                    <a:cxn ang="0">
                      <a:pos x="358" y="175"/>
                    </a:cxn>
                    <a:cxn ang="0">
                      <a:pos x="305" y="52"/>
                    </a:cxn>
                    <a:cxn ang="0">
                      <a:pos x="305" y="52"/>
                    </a:cxn>
                    <a:cxn ang="0">
                      <a:pos x="179" y="0"/>
                    </a:cxn>
                    <a:cxn ang="0">
                      <a:pos x="107" y="105"/>
                    </a:cxn>
                    <a:cxn ang="0">
                      <a:pos x="179" y="76"/>
                    </a:cxn>
                    <a:cxn ang="0">
                      <a:pos x="250" y="105"/>
                    </a:cxn>
                    <a:cxn ang="0">
                      <a:pos x="250" y="105"/>
                    </a:cxn>
                    <a:cxn ang="0">
                      <a:pos x="280" y="175"/>
                    </a:cxn>
                    <a:cxn ang="0">
                      <a:pos x="250" y="245"/>
                    </a:cxn>
                    <a:cxn ang="0">
                      <a:pos x="250" y="246"/>
                    </a:cxn>
                    <a:cxn ang="0">
                      <a:pos x="179" y="275"/>
                    </a:cxn>
                    <a:cxn ang="0">
                      <a:pos x="107" y="246"/>
                    </a:cxn>
                    <a:cxn ang="0">
                      <a:pos x="107" y="245"/>
                    </a:cxn>
                    <a:cxn ang="0">
                      <a:pos x="77" y="175"/>
                    </a:cxn>
                    <a:cxn ang="0">
                      <a:pos x="107" y="105"/>
                    </a:cxn>
                  </a:cxnLst>
                  <a:rect l="0" t="0" r="r" b="b"/>
                  <a:pathLst>
                    <a:path w="358" h="350">
                      <a:moveTo>
                        <a:pt x="179" y="0"/>
                      </a:moveTo>
                      <a:cubicBezTo>
                        <a:pt x="129" y="0"/>
                        <a:pt x="85" y="20"/>
                        <a:pt x="52" y="52"/>
                      </a:cubicBezTo>
                      <a:lnTo>
                        <a:pt x="52" y="52"/>
                      </a:lnTo>
                      <a:cubicBezTo>
                        <a:pt x="20" y="83"/>
                        <a:pt x="0" y="127"/>
                        <a:pt x="0" y="175"/>
                      </a:cubicBezTo>
                      <a:cubicBezTo>
                        <a:pt x="0" y="224"/>
                        <a:pt x="20" y="267"/>
                        <a:pt x="52" y="299"/>
                      </a:cubicBezTo>
                      <a:lnTo>
                        <a:pt x="52" y="299"/>
                      </a:lnTo>
                      <a:cubicBezTo>
                        <a:pt x="85" y="331"/>
                        <a:pt x="129" y="350"/>
                        <a:pt x="179" y="350"/>
                      </a:cubicBezTo>
                      <a:cubicBezTo>
                        <a:pt x="228" y="350"/>
                        <a:pt x="273" y="331"/>
                        <a:pt x="305" y="299"/>
                      </a:cubicBezTo>
                      <a:lnTo>
                        <a:pt x="305" y="299"/>
                      </a:lnTo>
                      <a:cubicBezTo>
                        <a:pt x="338" y="267"/>
                        <a:pt x="358" y="224"/>
                        <a:pt x="358" y="175"/>
                      </a:cubicBezTo>
                      <a:cubicBezTo>
                        <a:pt x="358" y="127"/>
                        <a:pt x="338" y="83"/>
                        <a:pt x="305" y="52"/>
                      </a:cubicBezTo>
                      <a:lnTo>
                        <a:pt x="305" y="52"/>
                      </a:lnTo>
                      <a:cubicBezTo>
                        <a:pt x="273" y="20"/>
                        <a:pt x="228" y="0"/>
                        <a:pt x="179" y="0"/>
                      </a:cubicBezTo>
                      <a:close/>
                      <a:moveTo>
                        <a:pt x="107" y="105"/>
                      </a:moveTo>
                      <a:cubicBezTo>
                        <a:pt x="125" y="87"/>
                        <a:pt x="150" y="76"/>
                        <a:pt x="179" y="76"/>
                      </a:cubicBezTo>
                      <a:cubicBezTo>
                        <a:pt x="207" y="76"/>
                        <a:pt x="232" y="87"/>
                        <a:pt x="250" y="105"/>
                      </a:cubicBezTo>
                      <a:lnTo>
                        <a:pt x="250" y="105"/>
                      </a:lnTo>
                      <a:cubicBezTo>
                        <a:pt x="269" y="123"/>
                        <a:pt x="280" y="148"/>
                        <a:pt x="280" y="175"/>
                      </a:cubicBezTo>
                      <a:cubicBezTo>
                        <a:pt x="280" y="203"/>
                        <a:pt x="269" y="228"/>
                        <a:pt x="250" y="245"/>
                      </a:cubicBezTo>
                      <a:lnTo>
                        <a:pt x="250" y="246"/>
                      </a:lnTo>
                      <a:cubicBezTo>
                        <a:pt x="232" y="263"/>
                        <a:pt x="207" y="275"/>
                        <a:pt x="179" y="275"/>
                      </a:cubicBezTo>
                      <a:cubicBezTo>
                        <a:pt x="150" y="275"/>
                        <a:pt x="125" y="263"/>
                        <a:pt x="107" y="246"/>
                      </a:cubicBezTo>
                      <a:lnTo>
                        <a:pt x="107" y="245"/>
                      </a:lnTo>
                      <a:cubicBezTo>
                        <a:pt x="88" y="228"/>
                        <a:pt x="77" y="203"/>
                        <a:pt x="77" y="175"/>
                      </a:cubicBezTo>
                      <a:cubicBezTo>
                        <a:pt x="77" y="148"/>
                        <a:pt x="88" y="123"/>
                        <a:pt x="107" y="105"/>
                      </a:cubicBez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5" name="Oval 1202"/>
                <p:cNvSpPr>
                  <a:spLocks noChangeArrowheads="1"/>
                </p:cNvSpPr>
                <p:nvPr/>
              </p:nvSpPr>
              <p:spPr bwMode="auto">
                <a:xfrm>
                  <a:off x="883" y="1834"/>
                  <a:ext cx="30" cy="29"/>
                </a:xfrm>
                <a:prstGeom prst="ellipse">
                  <a:avLst/>
                </a:prstGeom>
                <a:solidFill>
                  <a:srgbClr val="79A7B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6" name="Freeform 1203"/>
                <p:cNvSpPr>
                  <a:spLocks/>
                </p:cNvSpPr>
                <p:nvPr/>
              </p:nvSpPr>
              <p:spPr bwMode="auto">
                <a:xfrm>
                  <a:off x="1435" y="1870"/>
                  <a:ext cx="79" cy="238"/>
                </a:xfrm>
                <a:custGeom>
                  <a:avLst/>
                  <a:gdLst/>
                  <a:ahLst/>
                  <a:cxnLst>
                    <a:cxn ang="0">
                      <a:pos x="162" y="0"/>
                    </a:cxn>
                    <a:cxn ang="0">
                      <a:pos x="162" y="0"/>
                    </a:cxn>
                    <a:cxn ang="0">
                      <a:pos x="53" y="0"/>
                    </a:cxn>
                    <a:cxn ang="0">
                      <a:pos x="41" y="0"/>
                    </a:cxn>
                    <a:cxn ang="0">
                      <a:pos x="0" y="42"/>
                    </a:cxn>
                    <a:cxn ang="0">
                      <a:pos x="0" y="42"/>
                    </a:cxn>
                    <a:cxn ang="0">
                      <a:pos x="41" y="83"/>
                    </a:cxn>
                    <a:cxn ang="0">
                      <a:pos x="53" y="83"/>
                    </a:cxn>
                    <a:cxn ang="0">
                      <a:pos x="53" y="112"/>
                    </a:cxn>
                    <a:cxn ang="0">
                      <a:pos x="53" y="312"/>
                    </a:cxn>
                    <a:cxn ang="0">
                      <a:pos x="53" y="863"/>
                    </a:cxn>
                    <a:cxn ang="0">
                      <a:pos x="162" y="975"/>
                    </a:cxn>
                    <a:cxn ang="0">
                      <a:pos x="162" y="975"/>
                    </a:cxn>
                    <a:cxn ang="0">
                      <a:pos x="274" y="863"/>
                    </a:cxn>
                    <a:cxn ang="0">
                      <a:pos x="274" y="312"/>
                    </a:cxn>
                    <a:cxn ang="0">
                      <a:pos x="274" y="112"/>
                    </a:cxn>
                    <a:cxn ang="0">
                      <a:pos x="274" y="83"/>
                    </a:cxn>
                    <a:cxn ang="0">
                      <a:pos x="286" y="83"/>
                    </a:cxn>
                    <a:cxn ang="0">
                      <a:pos x="327" y="42"/>
                    </a:cxn>
                    <a:cxn ang="0">
                      <a:pos x="327" y="42"/>
                    </a:cxn>
                    <a:cxn ang="0">
                      <a:pos x="286" y="0"/>
                    </a:cxn>
                    <a:cxn ang="0">
                      <a:pos x="274" y="0"/>
                    </a:cxn>
                    <a:cxn ang="0">
                      <a:pos x="162" y="0"/>
                    </a:cxn>
                  </a:cxnLst>
                  <a:rect l="0" t="0" r="r" b="b"/>
                  <a:pathLst>
                    <a:path w="327" h="975">
                      <a:moveTo>
                        <a:pt x="162" y="0"/>
                      </a:moveTo>
                      <a:lnTo>
                        <a:pt x="162" y="0"/>
                      </a:lnTo>
                      <a:lnTo>
                        <a:pt x="53" y="0"/>
                      </a:lnTo>
                      <a:lnTo>
                        <a:pt x="41" y="0"/>
                      </a:lnTo>
                      <a:cubicBezTo>
                        <a:pt x="19" y="0"/>
                        <a:pt x="0" y="19"/>
                        <a:pt x="0" y="42"/>
                      </a:cubicBezTo>
                      <a:lnTo>
                        <a:pt x="0" y="42"/>
                      </a:lnTo>
                      <a:cubicBezTo>
                        <a:pt x="0" y="65"/>
                        <a:pt x="19" y="83"/>
                        <a:pt x="41" y="83"/>
                      </a:cubicBezTo>
                      <a:lnTo>
                        <a:pt x="53" y="83"/>
                      </a:lnTo>
                      <a:lnTo>
                        <a:pt x="53" y="112"/>
                      </a:lnTo>
                      <a:lnTo>
                        <a:pt x="53" y="312"/>
                      </a:lnTo>
                      <a:lnTo>
                        <a:pt x="53" y="863"/>
                      </a:lnTo>
                      <a:cubicBezTo>
                        <a:pt x="53" y="924"/>
                        <a:pt x="102" y="975"/>
                        <a:pt x="162" y="975"/>
                      </a:cubicBezTo>
                      <a:lnTo>
                        <a:pt x="162" y="975"/>
                      </a:lnTo>
                      <a:cubicBezTo>
                        <a:pt x="223" y="975"/>
                        <a:pt x="274" y="924"/>
                        <a:pt x="274" y="863"/>
                      </a:cubicBezTo>
                      <a:lnTo>
                        <a:pt x="274" y="312"/>
                      </a:lnTo>
                      <a:lnTo>
                        <a:pt x="274" y="112"/>
                      </a:lnTo>
                      <a:lnTo>
                        <a:pt x="274" y="83"/>
                      </a:lnTo>
                      <a:lnTo>
                        <a:pt x="286" y="83"/>
                      </a:lnTo>
                      <a:cubicBezTo>
                        <a:pt x="308" y="83"/>
                        <a:pt x="327" y="65"/>
                        <a:pt x="327" y="42"/>
                      </a:cubicBezTo>
                      <a:lnTo>
                        <a:pt x="327" y="42"/>
                      </a:lnTo>
                      <a:cubicBezTo>
                        <a:pt x="327" y="19"/>
                        <a:pt x="308" y="0"/>
                        <a:pt x="286" y="0"/>
                      </a:cubicBezTo>
                      <a:lnTo>
                        <a:pt x="274" y="0"/>
                      </a:lnTo>
                      <a:lnTo>
                        <a:pt x="162" y="0"/>
                      </a:lnTo>
                      <a:close/>
                    </a:path>
                  </a:pathLst>
                </a:custGeom>
                <a:solidFill>
                  <a:srgbClr val="E7F1F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7" name="Freeform 1204"/>
                <p:cNvSpPr>
                  <a:spLocks/>
                </p:cNvSpPr>
                <p:nvPr/>
              </p:nvSpPr>
              <p:spPr bwMode="auto">
                <a:xfrm>
                  <a:off x="1452" y="1947"/>
                  <a:ext cx="45" cy="15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86"/>
                    </a:cxn>
                    <a:cxn ang="0">
                      <a:pos x="0" y="547"/>
                    </a:cxn>
                    <a:cxn ang="0">
                      <a:pos x="91" y="641"/>
                    </a:cxn>
                    <a:cxn ang="0">
                      <a:pos x="91" y="641"/>
                    </a:cxn>
                    <a:cxn ang="0">
                      <a:pos x="185" y="547"/>
                    </a:cxn>
                    <a:cxn ang="0">
                      <a:pos x="185" y="86"/>
                    </a:cxn>
                    <a:cxn ang="0">
                      <a:pos x="185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85" h="641">
                      <a:moveTo>
                        <a:pt x="0" y="0"/>
                      </a:moveTo>
                      <a:lnTo>
                        <a:pt x="0" y="86"/>
                      </a:lnTo>
                      <a:lnTo>
                        <a:pt x="0" y="547"/>
                      </a:lnTo>
                      <a:cubicBezTo>
                        <a:pt x="0" y="598"/>
                        <a:pt x="41" y="641"/>
                        <a:pt x="91" y="641"/>
                      </a:cubicBezTo>
                      <a:lnTo>
                        <a:pt x="91" y="641"/>
                      </a:lnTo>
                      <a:cubicBezTo>
                        <a:pt x="142" y="641"/>
                        <a:pt x="185" y="598"/>
                        <a:pt x="185" y="547"/>
                      </a:cubicBezTo>
                      <a:lnTo>
                        <a:pt x="185" y="86"/>
                      </a:lnTo>
                      <a:lnTo>
                        <a:pt x="18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7D3D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8" name="Freeform 1205"/>
                <p:cNvSpPr>
                  <a:spLocks/>
                </p:cNvSpPr>
                <p:nvPr/>
              </p:nvSpPr>
              <p:spPr bwMode="auto">
                <a:xfrm>
                  <a:off x="1474" y="1870"/>
                  <a:ext cx="40" cy="238"/>
                </a:xfrm>
                <a:custGeom>
                  <a:avLst/>
                  <a:gdLst/>
                  <a:ahLst/>
                  <a:cxnLst>
                    <a:cxn ang="0">
                      <a:pos x="0" y="975"/>
                    </a:cxn>
                    <a:cxn ang="0">
                      <a:pos x="112" y="863"/>
                    </a:cxn>
                    <a:cxn ang="0">
                      <a:pos x="112" y="312"/>
                    </a:cxn>
                    <a:cxn ang="0">
                      <a:pos x="112" y="112"/>
                    </a:cxn>
                    <a:cxn ang="0">
                      <a:pos x="112" y="83"/>
                    </a:cxn>
                    <a:cxn ang="0">
                      <a:pos x="124" y="83"/>
                    </a:cxn>
                    <a:cxn ang="0">
                      <a:pos x="165" y="42"/>
                    </a:cxn>
                    <a:cxn ang="0">
                      <a:pos x="165" y="42"/>
                    </a:cxn>
                    <a:cxn ang="0">
                      <a:pos x="124" y="0"/>
                    </a:cxn>
                    <a:cxn ang="0">
                      <a:pos x="112" y="0"/>
                    </a:cxn>
                    <a:cxn ang="0">
                      <a:pos x="0" y="0"/>
                    </a:cxn>
                    <a:cxn ang="0">
                      <a:pos x="0" y="975"/>
                    </a:cxn>
                  </a:cxnLst>
                  <a:rect l="0" t="0" r="r" b="b"/>
                  <a:pathLst>
                    <a:path w="165" h="975">
                      <a:moveTo>
                        <a:pt x="0" y="975"/>
                      </a:moveTo>
                      <a:cubicBezTo>
                        <a:pt x="61" y="975"/>
                        <a:pt x="112" y="924"/>
                        <a:pt x="112" y="863"/>
                      </a:cubicBezTo>
                      <a:lnTo>
                        <a:pt x="112" y="312"/>
                      </a:lnTo>
                      <a:lnTo>
                        <a:pt x="112" y="112"/>
                      </a:lnTo>
                      <a:lnTo>
                        <a:pt x="112" y="83"/>
                      </a:lnTo>
                      <a:lnTo>
                        <a:pt x="124" y="83"/>
                      </a:lnTo>
                      <a:cubicBezTo>
                        <a:pt x="146" y="83"/>
                        <a:pt x="165" y="65"/>
                        <a:pt x="165" y="42"/>
                      </a:cubicBezTo>
                      <a:lnTo>
                        <a:pt x="165" y="42"/>
                      </a:lnTo>
                      <a:cubicBezTo>
                        <a:pt x="165" y="19"/>
                        <a:pt x="146" y="0"/>
                        <a:pt x="124" y="0"/>
                      </a:cubicBezTo>
                      <a:lnTo>
                        <a:pt x="112" y="0"/>
                      </a:lnTo>
                      <a:lnTo>
                        <a:pt x="0" y="0"/>
                      </a:lnTo>
                      <a:lnTo>
                        <a:pt x="0" y="975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79" name="Freeform 1206"/>
                <p:cNvSpPr>
                  <a:spLocks/>
                </p:cNvSpPr>
                <p:nvPr/>
              </p:nvSpPr>
              <p:spPr bwMode="auto">
                <a:xfrm>
                  <a:off x="1474" y="1947"/>
                  <a:ext cx="23" cy="157"/>
                </a:xfrm>
                <a:custGeom>
                  <a:avLst/>
                  <a:gdLst/>
                  <a:ahLst/>
                  <a:cxnLst>
                    <a:cxn ang="0">
                      <a:pos x="0" y="641"/>
                    </a:cxn>
                    <a:cxn ang="0">
                      <a:pos x="94" y="547"/>
                    </a:cxn>
                    <a:cxn ang="0">
                      <a:pos x="94" y="86"/>
                    </a:cxn>
                    <a:cxn ang="0">
                      <a:pos x="94" y="0"/>
                    </a:cxn>
                    <a:cxn ang="0">
                      <a:pos x="0" y="0"/>
                    </a:cxn>
                    <a:cxn ang="0">
                      <a:pos x="0" y="641"/>
                    </a:cxn>
                  </a:cxnLst>
                  <a:rect l="0" t="0" r="r" b="b"/>
                  <a:pathLst>
                    <a:path w="94" h="641">
                      <a:moveTo>
                        <a:pt x="0" y="641"/>
                      </a:moveTo>
                      <a:cubicBezTo>
                        <a:pt x="51" y="641"/>
                        <a:pt x="94" y="598"/>
                        <a:pt x="94" y="547"/>
                      </a:cubicBezTo>
                      <a:lnTo>
                        <a:pt x="94" y="86"/>
                      </a:lnTo>
                      <a:lnTo>
                        <a:pt x="94" y="0"/>
                      </a:lnTo>
                      <a:lnTo>
                        <a:pt x="0" y="0"/>
                      </a:lnTo>
                      <a:lnTo>
                        <a:pt x="0" y="641"/>
                      </a:lnTo>
                      <a:close/>
                    </a:path>
                  </a:pathLst>
                </a:custGeom>
                <a:solidFill>
                  <a:srgbClr val="00ADB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80" name="Freeform 1207"/>
                <p:cNvSpPr>
                  <a:spLocks/>
                </p:cNvSpPr>
                <p:nvPr/>
              </p:nvSpPr>
              <p:spPr bwMode="auto">
                <a:xfrm>
                  <a:off x="1474" y="1848"/>
                  <a:ext cx="27" cy="2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12" y="0"/>
                    </a:cxn>
                    <a:cxn ang="0">
                      <a:pos x="101" y="90"/>
                    </a:cxn>
                    <a:cxn ang="0">
                      <a:pos x="0" y="9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12" h="90">
                      <a:moveTo>
                        <a:pt x="0" y="0"/>
                      </a:moveTo>
                      <a:lnTo>
                        <a:pt x="112" y="0"/>
                      </a:lnTo>
                      <a:lnTo>
                        <a:pt x="101" y="90"/>
                      </a:lnTo>
                      <a:lnTo>
                        <a:pt x="0" y="9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D0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81" name="Freeform 1208"/>
                <p:cNvSpPr>
                  <a:spLocks/>
                </p:cNvSpPr>
                <p:nvPr/>
              </p:nvSpPr>
              <p:spPr bwMode="auto">
                <a:xfrm>
                  <a:off x="1447" y="1848"/>
                  <a:ext cx="27" cy="22"/>
                </a:xfrm>
                <a:custGeom>
                  <a:avLst/>
                  <a:gdLst/>
                  <a:ahLst/>
                  <a:cxnLst>
                    <a:cxn ang="0">
                      <a:pos x="111" y="0"/>
                    </a:cxn>
                    <a:cxn ang="0">
                      <a:pos x="0" y="0"/>
                    </a:cxn>
                    <a:cxn ang="0">
                      <a:pos x="11" y="90"/>
                    </a:cxn>
                    <a:cxn ang="0">
                      <a:pos x="111" y="90"/>
                    </a:cxn>
                    <a:cxn ang="0">
                      <a:pos x="111" y="0"/>
                    </a:cxn>
                  </a:cxnLst>
                  <a:rect l="0" t="0" r="r" b="b"/>
                  <a:pathLst>
                    <a:path w="111" h="90">
                      <a:moveTo>
                        <a:pt x="111" y="0"/>
                      </a:moveTo>
                      <a:lnTo>
                        <a:pt x="0" y="0"/>
                      </a:lnTo>
                      <a:lnTo>
                        <a:pt x="11" y="90"/>
                      </a:lnTo>
                      <a:lnTo>
                        <a:pt x="111" y="90"/>
                      </a:lnTo>
                      <a:lnTo>
                        <a:pt x="111" y="0"/>
                      </a:lnTo>
                      <a:close/>
                    </a:path>
                  </a:pathLst>
                </a:custGeom>
                <a:solidFill>
                  <a:srgbClr val="FFEA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82" name="Freeform 1209"/>
                <p:cNvSpPr>
                  <a:spLocks/>
                </p:cNvSpPr>
                <p:nvPr/>
              </p:nvSpPr>
              <p:spPr bwMode="auto">
                <a:xfrm>
                  <a:off x="1546" y="1870"/>
                  <a:ext cx="79" cy="238"/>
                </a:xfrm>
                <a:custGeom>
                  <a:avLst/>
                  <a:gdLst/>
                  <a:ahLst/>
                  <a:cxnLst>
                    <a:cxn ang="0">
                      <a:pos x="163" y="0"/>
                    </a:cxn>
                    <a:cxn ang="0">
                      <a:pos x="163" y="0"/>
                    </a:cxn>
                    <a:cxn ang="0">
                      <a:pos x="53" y="0"/>
                    </a:cxn>
                    <a:cxn ang="0">
                      <a:pos x="41" y="0"/>
                    </a:cxn>
                    <a:cxn ang="0">
                      <a:pos x="0" y="42"/>
                    </a:cxn>
                    <a:cxn ang="0">
                      <a:pos x="0" y="42"/>
                    </a:cxn>
                    <a:cxn ang="0">
                      <a:pos x="41" y="83"/>
                    </a:cxn>
                    <a:cxn ang="0">
                      <a:pos x="53" y="83"/>
                    </a:cxn>
                    <a:cxn ang="0">
                      <a:pos x="53" y="112"/>
                    </a:cxn>
                    <a:cxn ang="0">
                      <a:pos x="53" y="312"/>
                    </a:cxn>
                    <a:cxn ang="0">
                      <a:pos x="53" y="863"/>
                    </a:cxn>
                    <a:cxn ang="0">
                      <a:pos x="163" y="975"/>
                    </a:cxn>
                    <a:cxn ang="0">
                      <a:pos x="163" y="975"/>
                    </a:cxn>
                    <a:cxn ang="0">
                      <a:pos x="274" y="863"/>
                    </a:cxn>
                    <a:cxn ang="0">
                      <a:pos x="274" y="312"/>
                    </a:cxn>
                    <a:cxn ang="0">
                      <a:pos x="274" y="112"/>
                    </a:cxn>
                    <a:cxn ang="0">
                      <a:pos x="274" y="83"/>
                    </a:cxn>
                    <a:cxn ang="0">
                      <a:pos x="286" y="83"/>
                    </a:cxn>
                    <a:cxn ang="0">
                      <a:pos x="327" y="42"/>
                    </a:cxn>
                    <a:cxn ang="0">
                      <a:pos x="327" y="42"/>
                    </a:cxn>
                    <a:cxn ang="0">
                      <a:pos x="286" y="0"/>
                    </a:cxn>
                    <a:cxn ang="0">
                      <a:pos x="274" y="0"/>
                    </a:cxn>
                    <a:cxn ang="0">
                      <a:pos x="163" y="0"/>
                    </a:cxn>
                  </a:cxnLst>
                  <a:rect l="0" t="0" r="r" b="b"/>
                  <a:pathLst>
                    <a:path w="327" h="975">
                      <a:moveTo>
                        <a:pt x="163" y="0"/>
                      </a:moveTo>
                      <a:lnTo>
                        <a:pt x="163" y="0"/>
                      </a:lnTo>
                      <a:lnTo>
                        <a:pt x="53" y="0"/>
                      </a:lnTo>
                      <a:lnTo>
                        <a:pt x="41" y="0"/>
                      </a:lnTo>
                      <a:cubicBezTo>
                        <a:pt x="19" y="0"/>
                        <a:pt x="0" y="19"/>
                        <a:pt x="0" y="42"/>
                      </a:cubicBezTo>
                      <a:lnTo>
                        <a:pt x="0" y="42"/>
                      </a:lnTo>
                      <a:cubicBezTo>
                        <a:pt x="0" y="65"/>
                        <a:pt x="19" y="83"/>
                        <a:pt x="41" y="83"/>
                      </a:cubicBezTo>
                      <a:lnTo>
                        <a:pt x="53" y="83"/>
                      </a:lnTo>
                      <a:lnTo>
                        <a:pt x="53" y="112"/>
                      </a:lnTo>
                      <a:lnTo>
                        <a:pt x="53" y="312"/>
                      </a:lnTo>
                      <a:lnTo>
                        <a:pt x="53" y="863"/>
                      </a:lnTo>
                      <a:cubicBezTo>
                        <a:pt x="53" y="924"/>
                        <a:pt x="102" y="975"/>
                        <a:pt x="163" y="975"/>
                      </a:cubicBezTo>
                      <a:lnTo>
                        <a:pt x="163" y="975"/>
                      </a:lnTo>
                      <a:cubicBezTo>
                        <a:pt x="223" y="975"/>
                        <a:pt x="274" y="924"/>
                        <a:pt x="274" y="863"/>
                      </a:cubicBezTo>
                      <a:lnTo>
                        <a:pt x="274" y="312"/>
                      </a:lnTo>
                      <a:lnTo>
                        <a:pt x="274" y="112"/>
                      </a:lnTo>
                      <a:lnTo>
                        <a:pt x="274" y="83"/>
                      </a:lnTo>
                      <a:lnTo>
                        <a:pt x="286" y="83"/>
                      </a:lnTo>
                      <a:cubicBezTo>
                        <a:pt x="308" y="83"/>
                        <a:pt x="327" y="65"/>
                        <a:pt x="327" y="42"/>
                      </a:cubicBezTo>
                      <a:lnTo>
                        <a:pt x="327" y="42"/>
                      </a:lnTo>
                      <a:cubicBezTo>
                        <a:pt x="327" y="19"/>
                        <a:pt x="308" y="0"/>
                        <a:pt x="286" y="0"/>
                      </a:cubicBezTo>
                      <a:lnTo>
                        <a:pt x="274" y="0"/>
                      </a:lnTo>
                      <a:lnTo>
                        <a:pt x="163" y="0"/>
                      </a:lnTo>
                      <a:close/>
                    </a:path>
                  </a:pathLst>
                </a:custGeom>
                <a:solidFill>
                  <a:srgbClr val="E7F1F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83" name="Freeform 1210"/>
                <p:cNvSpPr>
                  <a:spLocks/>
                </p:cNvSpPr>
                <p:nvPr/>
              </p:nvSpPr>
              <p:spPr bwMode="auto">
                <a:xfrm>
                  <a:off x="1563" y="1909"/>
                  <a:ext cx="45" cy="19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243"/>
                    </a:cxn>
                    <a:cxn ang="0">
                      <a:pos x="0" y="704"/>
                    </a:cxn>
                    <a:cxn ang="0">
                      <a:pos x="92" y="798"/>
                    </a:cxn>
                    <a:cxn ang="0">
                      <a:pos x="92" y="798"/>
                    </a:cxn>
                    <a:cxn ang="0">
                      <a:pos x="185" y="704"/>
                    </a:cxn>
                    <a:cxn ang="0">
                      <a:pos x="185" y="243"/>
                    </a:cxn>
                    <a:cxn ang="0">
                      <a:pos x="185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85" h="798">
                      <a:moveTo>
                        <a:pt x="0" y="0"/>
                      </a:moveTo>
                      <a:lnTo>
                        <a:pt x="0" y="243"/>
                      </a:lnTo>
                      <a:lnTo>
                        <a:pt x="0" y="704"/>
                      </a:lnTo>
                      <a:cubicBezTo>
                        <a:pt x="0" y="755"/>
                        <a:pt x="41" y="798"/>
                        <a:pt x="92" y="798"/>
                      </a:cubicBezTo>
                      <a:lnTo>
                        <a:pt x="92" y="798"/>
                      </a:lnTo>
                      <a:cubicBezTo>
                        <a:pt x="142" y="798"/>
                        <a:pt x="185" y="755"/>
                        <a:pt x="185" y="704"/>
                      </a:cubicBezTo>
                      <a:lnTo>
                        <a:pt x="185" y="243"/>
                      </a:lnTo>
                      <a:lnTo>
                        <a:pt x="18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973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84" name="Freeform 1211"/>
                <p:cNvSpPr>
                  <a:spLocks/>
                </p:cNvSpPr>
                <p:nvPr/>
              </p:nvSpPr>
              <p:spPr bwMode="auto">
                <a:xfrm>
                  <a:off x="1585" y="1870"/>
                  <a:ext cx="40" cy="238"/>
                </a:xfrm>
                <a:custGeom>
                  <a:avLst/>
                  <a:gdLst/>
                  <a:ahLst/>
                  <a:cxnLst>
                    <a:cxn ang="0">
                      <a:pos x="0" y="975"/>
                    </a:cxn>
                    <a:cxn ang="0">
                      <a:pos x="111" y="863"/>
                    </a:cxn>
                    <a:cxn ang="0">
                      <a:pos x="111" y="312"/>
                    </a:cxn>
                    <a:cxn ang="0">
                      <a:pos x="111" y="112"/>
                    </a:cxn>
                    <a:cxn ang="0">
                      <a:pos x="111" y="83"/>
                    </a:cxn>
                    <a:cxn ang="0">
                      <a:pos x="123" y="83"/>
                    </a:cxn>
                    <a:cxn ang="0">
                      <a:pos x="164" y="42"/>
                    </a:cxn>
                    <a:cxn ang="0">
                      <a:pos x="164" y="42"/>
                    </a:cxn>
                    <a:cxn ang="0">
                      <a:pos x="123" y="0"/>
                    </a:cxn>
                    <a:cxn ang="0">
                      <a:pos x="111" y="0"/>
                    </a:cxn>
                    <a:cxn ang="0">
                      <a:pos x="0" y="0"/>
                    </a:cxn>
                    <a:cxn ang="0">
                      <a:pos x="0" y="975"/>
                    </a:cxn>
                  </a:cxnLst>
                  <a:rect l="0" t="0" r="r" b="b"/>
                  <a:pathLst>
                    <a:path w="164" h="975">
                      <a:moveTo>
                        <a:pt x="0" y="975"/>
                      </a:moveTo>
                      <a:cubicBezTo>
                        <a:pt x="60" y="975"/>
                        <a:pt x="111" y="924"/>
                        <a:pt x="111" y="863"/>
                      </a:cubicBezTo>
                      <a:lnTo>
                        <a:pt x="111" y="312"/>
                      </a:lnTo>
                      <a:lnTo>
                        <a:pt x="111" y="112"/>
                      </a:lnTo>
                      <a:lnTo>
                        <a:pt x="111" y="83"/>
                      </a:lnTo>
                      <a:lnTo>
                        <a:pt x="123" y="83"/>
                      </a:lnTo>
                      <a:cubicBezTo>
                        <a:pt x="145" y="83"/>
                        <a:pt x="164" y="65"/>
                        <a:pt x="164" y="42"/>
                      </a:cubicBezTo>
                      <a:lnTo>
                        <a:pt x="164" y="42"/>
                      </a:lnTo>
                      <a:cubicBezTo>
                        <a:pt x="164" y="19"/>
                        <a:pt x="145" y="0"/>
                        <a:pt x="123" y="0"/>
                      </a:cubicBezTo>
                      <a:lnTo>
                        <a:pt x="111" y="0"/>
                      </a:lnTo>
                      <a:lnTo>
                        <a:pt x="0" y="0"/>
                      </a:lnTo>
                      <a:lnTo>
                        <a:pt x="0" y="975"/>
                      </a:lnTo>
                      <a:close/>
                    </a:path>
                  </a:pathLst>
                </a:custGeom>
                <a:solidFill>
                  <a:srgbClr val="D9E8EB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85" name="Freeform 1212"/>
                <p:cNvSpPr>
                  <a:spLocks/>
                </p:cNvSpPr>
                <p:nvPr/>
              </p:nvSpPr>
              <p:spPr bwMode="auto">
                <a:xfrm>
                  <a:off x="1585" y="1909"/>
                  <a:ext cx="23" cy="195"/>
                </a:xfrm>
                <a:custGeom>
                  <a:avLst/>
                  <a:gdLst/>
                  <a:ahLst/>
                  <a:cxnLst>
                    <a:cxn ang="0">
                      <a:pos x="0" y="798"/>
                    </a:cxn>
                    <a:cxn ang="0">
                      <a:pos x="93" y="704"/>
                    </a:cxn>
                    <a:cxn ang="0">
                      <a:pos x="93" y="243"/>
                    </a:cxn>
                    <a:cxn ang="0">
                      <a:pos x="93" y="0"/>
                    </a:cxn>
                    <a:cxn ang="0">
                      <a:pos x="0" y="0"/>
                    </a:cxn>
                    <a:cxn ang="0">
                      <a:pos x="0" y="798"/>
                    </a:cxn>
                  </a:cxnLst>
                  <a:rect l="0" t="0" r="r" b="b"/>
                  <a:pathLst>
                    <a:path w="93" h="798">
                      <a:moveTo>
                        <a:pt x="0" y="798"/>
                      </a:moveTo>
                      <a:cubicBezTo>
                        <a:pt x="50" y="798"/>
                        <a:pt x="93" y="755"/>
                        <a:pt x="93" y="704"/>
                      </a:cubicBezTo>
                      <a:lnTo>
                        <a:pt x="93" y="243"/>
                      </a:lnTo>
                      <a:lnTo>
                        <a:pt x="93" y="0"/>
                      </a:lnTo>
                      <a:lnTo>
                        <a:pt x="0" y="0"/>
                      </a:lnTo>
                      <a:lnTo>
                        <a:pt x="0" y="798"/>
                      </a:lnTo>
                      <a:close/>
                    </a:path>
                  </a:pathLst>
                </a:custGeom>
                <a:solidFill>
                  <a:srgbClr val="EF753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86" name="Freeform 1213"/>
                <p:cNvSpPr>
                  <a:spLocks/>
                </p:cNvSpPr>
                <p:nvPr/>
              </p:nvSpPr>
              <p:spPr bwMode="auto">
                <a:xfrm>
                  <a:off x="1585" y="1848"/>
                  <a:ext cx="27" cy="2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11" y="0"/>
                    </a:cxn>
                    <a:cxn ang="0">
                      <a:pos x="100" y="90"/>
                    </a:cxn>
                    <a:cxn ang="0">
                      <a:pos x="0" y="9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11" h="90">
                      <a:moveTo>
                        <a:pt x="0" y="0"/>
                      </a:moveTo>
                      <a:lnTo>
                        <a:pt x="111" y="0"/>
                      </a:lnTo>
                      <a:lnTo>
                        <a:pt x="100" y="90"/>
                      </a:lnTo>
                      <a:lnTo>
                        <a:pt x="0" y="9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D0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  <p:sp>
              <p:nvSpPr>
                <p:cNvPr id="287" name="Freeform 1214"/>
                <p:cNvSpPr>
                  <a:spLocks/>
                </p:cNvSpPr>
                <p:nvPr/>
              </p:nvSpPr>
              <p:spPr bwMode="auto">
                <a:xfrm>
                  <a:off x="1558" y="1848"/>
                  <a:ext cx="27" cy="22"/>
                </a:xfrm>
                <a:custGeom>
                  <a:avLst/>
                  <a:gdLst/>
                  <a:ahLst/>
                  <a:cxnLst>
                    <a:cxn ang="0">
                      <a:pos x="112" y="0"/>
                    </a:cxn>
                    <a:cxn ang="0">
                      <a:pos x="0" y="0"/>
                    </a:cxn>
                    <a:cxn ang="0">
                      <a:pos x="11" y="90"/>
                    </a:cxn>
                    <a:cxn ang="0">
                      <a:pos x="112" y="90"/>
                    </a:cxn>
                    <a:cxn ang="0">
                      <a:pos x="112" y="0"/>
                    </a:cxn>
                  </a:cxnLst>
                  <a:rect l="0" t="0" r="r" b="b"/>
                  <a:pathLst>
                    <a:path w="112" h="90">
                      <a:moveTo>
                        <a:pt x="112" y="0"/>
                      </a:moveTo>
                      <a:lnTo>
                        <a:pt x="0" y="0"/>
                      </a:lnTo>
                      <a:lnTo>
                        <a:pt x="11" y="90"/>
                      </a:lnTo>
                      <a:lnTo>
                        <a:pt x="112" y="90"/>
                      </a:lnTo>
                      <a:lnTo>
                        <a:pt x="112" y="0"/>
                      </a:lnTo>
                      <a:close/>
                    </a:path>
                  </a:pathLst>
                </a:custGeom>
                <a:solidFill>
                  <a:srgbClr val="FFEAC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solidFill>
                      <a:prstClr val="black"/>
                    </a:solidFill>
                    <a:sym typeface="Helvetica"/>
                  </a:endParaRPr>
                </a:p>
              </p:txBody>
            </p:sp>
          </p:grpSp>
          <p:sp>
            <p:nvSpPr>
              <p:cNvPr id="22" name="Freeform 1216"/>
              <p:cNvSpPr>
                <a:spLocks/>
              </p:cNvSpPr>
              <p:nvPr/>
            </p:nvSpPr>
            <p:spPr bwMode="auto">
              <a:xfrm>
                <a:off x="1657" y="1870"/>
                <a:ext cx="80" cy="238"/>
              </a:xfrm>
              <a:custGeom>
                <a:avLst/>
                <a:gdLst/>
                <a:ahLst/>
                <a:cxnLst>
                  <a:cxn ang="0">
                    <a:pos x="163" y="0"/>
                  </a:cxn>
                  <a:cxn ang="0">
                    <a:pos x="163" y="0"/>
                  </a:cxn>
                  <a:cxn ang="0">
                    <a:pos x="53" y="0"/>
                  </a:cxn>
                  <a:cxn ang="0">
                    <a:pos x="42" y="0"/>
                  </a:cxn>
                  <a:cxn ang="0">
                    <a:pos x="0" y="42"/>
                  </a:cxn>
                  <a:cxn ang="0">
                    <a:pos x="0" y="42"/>
                  </a:cxn>
                  <a:cxn ang="0">
                    <a:pos x="42" y="83"/>
                  </a:cxn>
                  <a:cxn ang="0">
                    <a:pos x="53" y="83"/>
                  </a:cxn>
                  <a:cxn ang="0">
                    <a:pos x="53" y="112"/>
                  </a:cxn>
                  <a:cxn ang="0">
                    <a:pos x="53" y="312"/>
                  </a:cxn>
                  <a:cxn ang="0">
                    <a:pos x="53" y="863"/>
                  </a:cxn>
                  <a:cxn ang="0">
                    <a:pos x="163" y="975"/>
                  </a:cxn>
                  <a:cxn ang="0">
                    <a:pos x="163" y="975"/>
                  </a:cxn>
                  <a:cxn ang="0">
                    <a:pos x="274" y="863"/>
                  </a:cxn>
                  <a:cxn ang="0">
                    <a:pos x="274" y="312"/>
                  </a:cxn>
                  <a:cxn ang="0">
                    <a:pos x="274" y="112"/>
                  </a:cxn>
                  <a:cxn ang="0">
                    <a:pos x="274" y="83"/>
                  </a:cxn>
                  <a:cxn ang="0">
                    <a:pos x="286" y="83"/>
                  </a:cxn>
                  <a:cxn ang="0">
                    <a:pos x="327" y="42"/>
                  </a:cxn>
                  <a:cxn ang="0">
                    <a:pos x="327" y="42"/>
                  </a:cxn>
                  <a:cxn ang="0">
                    <a:pos x="286" y="0"/>
                  </a:cxn>
                  <a:cxn ang="0">
                    <a:pos x="274" y="0"/>
                  </a:cxn>
                  <a:cxn ang="0">
                    <a:pos x="163" y="0"/>
                  </a:cxn>
                </a:cxnLst>
                <a:rect l="0" t="0" r="r" b="b"/>
                <a:pathLst>
                  <a:path w="327" h="975">
                    <a:moveTo>
                      <a:pt x="163" y="0"/>
                    </a:moveTo>
                    <a:lnTo>
                      <a:pt x="163" y="0"/>
                    </a:lnTo>
                    <a:lnTo>
                      <a:pt x="53" y="0"/>
                    </a:lnTo>
                    <a:lnTo>
                      <a:pt x="42" y="0"/>
                    </a:lnTo>
                    <a:cubicBezTo>
                      <a:pt x="19" y="0"/>
                      <a:pt x="0" y="19"/>
                      <a:pt x="0" y="42"/>
                    </a:cubicBezTo>
                    <a:lnTo>
                      <a:pt x="0" y="42"/>
                    </a:lnTo>
                    <a:cubicBezTo>
                      <a:pt x="0" y="65"/>
                      <a:pt x="19" y="83"/>
                      <a:pt x="42" y="83"/>
                    </a:cubicBezTo>
                    <a:lnTo>
                      <a:pt x="53" y="83"/>
                    </a:lnTo>
                    <a:lnTo>
                      <a:pt x="53" y="112"/>
                    </a:lnTo>
                    <a:lnTo>
                      <a:pt x="53" y="312"/>
                    </a:lnTo>
                    <a:lnTo>
                      <a:pt x="53" y="863"/>
                    </a:lnTo>
                    <a:cubicBezTo>
                      <a:pt x="53" y="924"/>
                      <a:pt x="102" y="975"/>
                      <a:pt x="163" y="975"/>
                    </a:cubicBezTo>
                    <a:lnTo>
                      <a:pt x="163" y="975"/>
                    </a:lnTo>
                    <a:cubicBezTo>
                      <a:pt x="223" y="975"/>
                      <a:pt x="274" y="924"/>
                      <a:pt x="274" y="863"/>
                    </a:cubicBezTo>
                    <a:lnTo>
                      <a:pt x="274" y="312"/>
                    </a:lnTo>
                    <a:lnTo>
                      <a:pt x="274" y="112"/>
                    </a:lnTo>
                    <a:lnTo>
                      <a:pt x="274" y="83"/>
                    </a:lnTo>
                    <a:lnTo>
                      <a:pt x="286" y="83"/>
                    </a:lnTo>
                    <a:cubicBezTo>
                      <a:pt x="309" y="83"/>
                      <a:pt x="327" y="65"/>
                      <a:pt x="327" y="42"/>
                    </a:cubicBezTo>
                    <a:lnTo>
                      <a:pt x="327" y="42"/>
                    </a:lnTo>
                    <a:cubicBezTo>
                      <a:pt x="327" y="19"/>
                      <a:pt x="309" y="0"/>
                      <a:pt x="286" y="0"/>
                    </a:cubicBezTo>
                    <a:lnTo>
                      <a:pt x="274" y="0"/>
                    </a:lnTo>
                    <a:lnTo>
                      <a:pt x="163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23" name="Freeform 1217"/>
              <p:cNvSpPr>
                <a:spLocks/>
              </p:cNvSpPr>
              <p:nvPr/>
            </p:nvSpPr>
            <p:spPr bwMode="auto">
              <a:xfrm>
                <a:off x="1674" y="2009"/>
                <a:ext cx="45" cy="9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86"/>
                  </a:cxn>
                  <a:cxn ang="0">
                    <a:pos x="0" y="292"/>
                  </a:cxn>
                  <a:cxn ang="0">
                    <a:pos x="92" y="386"/>
                  </a:cxn>
                  <a:cxn ang="0">
                    <a:pos x="92" y="386"/>
                  </a:cxn>
                  <a:cxn ang="0">
                    <a:pos x="185" y="292"/>
                  </a:cxn>
                  <a:cxn ang="0">
                    <a:pos x="185" y="86"/>
                  </a:cxn>
                  <a:cxn ang="0">
                    <a:pos x="185" y="0"/>
                  </a:cxn>
                  <a:cxn ang="0">
                    <a:pos x="0" y="0"/>
                  </a:cxn>
                </a:cxnLst>
                <a:rect l="0" t="0" r="r" b="b"/>
                <a:pathLst>
                  <a:path w="185" h="386">
                    <a:moveTo>
                      <a:pt x="0" y="0"/>
                    </a:moveTo>
                    <a:lnTo>
                      <a:pt x="0" y="86"/>
                    </a:lnTo>
                    <a:lnTo>
                      <a:pt x="0" y="292"/>
                    </a:lnTo>
                    <a:cubicBezTo>
                      <a:pt x="0" y="343"/>
                      <a:pt x="41" y="386"/>
                      <a:pt x="92" y="386"/>
                    </a:cubicBezTo>
                    <a:lnTo>
                      <a:pt x="92" y="386"/>
                    </a:lnTo>
                    <a:cubicBezTo>
                      <a:pt x="143" y="386"/>
                      <a:pt x="185" y="343"/>
                      <a:pt x="185" y="292"/>
                    </a:cubicBezTo>
                    <a:lnTo>
                      <a:pt x="185" y="86"/>
                    </a:lnTo>
                    <a:lnTo>
                      <a:pt x="18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24" name="Freeform 1218"/>
              <p:cNvSpPr>
                <a:spLocks/>
              </p:cNvSpPr>
              <p:nvPr/>
            </p:nvSpPr>
            <p:spPr bwMode="auto">
              <a:xfrm>
                <a:off x="1697" y="1870"/>
                <a:ext cx="40" cy="238"/>
              </a:xfrm>
              <a:custGeom>
                <a:avLst/>
                <a:gdLst/>
                <a:ahLst/>
                <a:cxnLst>
                  <a:cxn ang="0">
                    <a:pos x="0" y="975"/>
                  </a:cxn>
                  <a:cxn ang="0">
                    <a:pos x="111" y="863"/>
                  </a:cxn>
                  <a:cxn ang="0">
                    <a:pos x="111" y="312"/>
                  </a:cxn>
                  <a:cxn ang="0">
                    <a:pos x="111" y="112"/>
                  </a:cxn>
                  <a:cxn ang="0">
                    <a:pos x="111" y="83"/>
                  </a:cxn>
                  <a:cxn ang="0">
                    <a:pos x="123" y="83"/>
                  </a:cxn>
                  <a:cxn ang="0">
                    <a:pos x="164" y="42"/>
                  </a:cxn>
                  <a:cxn ang="0">
                    <a:pos x="164" y="42"/>
                  </a:cxn>
                  <a:cxn ang="0">
                    <a:pos x="123" y="0"/>
                  </a:cxn>
                  <a:cxn ang="0">
                    <a:pos x="111" y="0"/>
                  </a:cxn>
                  <a:cxn ang="0">
                    <a:pos x="0" y="0"/>
                  </a:cxn>
                  <a:cxn ang="0">
                    <a:pos x="0" y="975"/>
                  </a:cxn>
                </a:cxnLst>
                <a:rect l="0" t="0" r="r" b="b"/>
                <a:pathLst>
                  <a:path w="164" h="975">
                    <a:moveTo>
                      <a:pt x="0" y="975"/>
                    </a:moveTo>
                    <a:cubicBezTo>
                      <a:pt x="60" y="975"/>
                      <a:pt x="111" y="924"/>
                      <a:pt x="111" y="863"/>
                    </a:cubicBezTo>
                    <a:lnTo>
                      <a:pt x="111" y="312"/>
                    </a:lnTo>
                    <a:lnTo>
                      <a:pt x="111" y="112"/>
                    </a:lnTo>
                    <a:lnTo>
                      <a:pt x="111" y="83"/>
                    </a:lnTo>
                    <a:lnTo>
                      <a:pt x="123" y="83"/>
                    </a:lnTo>
                    <a:cubicBezTo>
                      <a:pt x="146" y="83"/>
                      <a:pt x="164" y="65"/>
                      <a:pt x="164" y="42"/>
                    </a:cubicBezTo>
                    <a:lnTo>
                      <a:pt x="164" y="42"/>
                    </a:lnTo>
                    <a:cubicBezTo>
                      <a:pt x="164" y="19"/>
                      <a:pt x="146" y="0"/>
                      <a:pt x="123" y="0"/>
                    </a:cubicBezTo>
                    <a:lnTo>
                      <a:pt x="111" y="0"/>
                    </a:lnTo>
                    <a:lnTo>
                      <a:pt x="0" y="0"/>
                    </a:lnTo>
                    <a:lnTo>
                      <a:pt x="0" y="975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25" name="Freeform 1219"/>
              <p:cNvSpPr>
                <a:spLocks/>
              </p:cNvSpPr>
              <p:nvPr/>
            </p:nvSpPr>
            <p:spPr bwMode="auto">
              <a:xfrm>
                <a:off x="1697" y="2009"/>
                <a:ext cx="22" cy="95"/>
              </a:xfrm>
              <a:custGeom>
                <a:avLst/>
                <a:gdLst/>
                <a:ahLst/>
                <a:cxnLst>
                  <a:cxn ang="0">
                    <a:pos x="0" y="386"/>
                  </a:cxn>
                  <a:cxn ang="0">
                    <a:pos x="93" y="292"/>
                  </a:cxn>
                  <a:cxn ang="0">
                    <a:pos x="93" y="86"/>
                  </a:cxn>
                  <a:cxn ang="0">
                    <a:pos x="93" y="0"/>
                  </a:cxn>
                  <a:cxn ang="0">
                    <a:pos x="0" y="0"/>
                  </a:cxn>
                  <a:cxn ang="0">
                    <a:pos x="0" y="386"/>
                  </a:cxn>
                </a:cxnLst>
                <a:rect l="0" t="0" r="r" b="b"/>
                <a:pathLst>
                  <a:path w="93" h="386">
                    <a:moveTo>
                      <a:pt x="0" y="386"/>
                    </a:moveTo>
                    <a:cubicBezTo>
                      <a:pt x="51" y="386"/>
                      <a:pt x="93" y="343"/>
                      <a:pt x="93" y="292"/>
                    </a:cubicBezTo>
                    <a:lnTo>
                      <a:pt x="93" y="86"/>
                    </a:lnTo>
                    <a:lnTo>
                      <a:pt x="93" y="0"/>
                    </a:lnTo>
                    <a:lnTo>
                      <a:pt x="0" y="0"/>
                    </a:lnTo>
                    <a:lnTo>
                      <a:pt x="0" y="386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26" name="Freeform 1220"/>
              <p:cNvSpPr>
                <a:spLocks/>
              </p:cNvSpPr>
              <p:nvPr/>
            </p:nvSpPr>
            <p:spPr bwMode="auto">
              <a:xfrm>
                <a:off x="1697" y="1848"/>
                <a:ext cx="27" cy="2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1" y="0"/>
                  </a:cxn>
                  <a:cxn ang="0">
                    <a:pos x="100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11" h="90">
                    <a:moveTo>
                      <a:pt x="0" y="0"/>
                    </a:moveTo>
                    <a:lnTo>
                      <a:pt x="111" y="0"/>
                    </a:lnTo>
                    <a:lnTo>
                      <a:pt x="100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27" name="Freeform 1221"/>
              <p:cNvSpPr>
                <a:spLocks/>
              </p:cNvSpPr>
              <p:nvPr/>
            </p:nvSpPr>
            <p:spPr bwMode="auto">
              <a:xfrm>
                <a:off x="1669" y="1848"/>
                <a:ext cx="28" cy="22"/>
              </a:xfrm>
              <a:custGeom>
                <a:avLst/>
                <a:gdLst/>
                <a:ahLst/>
                <a:cxnLst>
                  <a:cxn ang="0">
                    <a:pos x="112" y="0"/>
                  </a:cxn>
                  <a:cxn ang="0">
                    <a:pos x="0" y="0"/>
                  </a:cxn>
                  <a:cxn ang="0">
                    <a:pos x="11" y="90"/>
                  </a:cxn>
                  <a:cxn ang="0">
                    <a:pos x="112" y="90"/>
                  </a:cxn>
                  <a:cxn ang="0">
                    <a:pos x="112" y="0"/>
                  </a:cxn>
                </a:cxnLst>
                <a:rect l="0" t="0" r="r" b="b"/>
                <a:pathLst>
                  <a:path w="112" h="90">
                    <a:moveTo>
                      <a:pt x="112" y="0"/>
                    </a:moveTo>
                    <a:lnTo>
                      <a:pt x="0" y="0"/>
                    </a:lnTo>
                    <a:lnTo>
                      <a:pt x="11" y="90"/>
                    </a:lnTo>
                    <a:lnTo>
                      <a:pt x="112" y="90"/>
                    </a:lnTo>
                    <a:lnTo>
                      <a:pt x="112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28" name="Freeform 1222"/>
              <p:cNvSpPr>
                <a:spLocks noEditPoints="1"/>
              </p:cNvSpPr>
              <p:nvPr/>
            </p:nvSpPr>
            <p:spPr bwMode="auto">
              <a:xfrm>
                <a:off x="1376" y="1958"/>
                <a:ext cx="420" cy="196"/>
              </a:xfrm>
              <a:custGeom>
                <a:avLst/>
                <a:gdLst/>
                <a:ahLst/>
                <a:cxnLst>
                  <a:cxn ang="0">
                    <a:pos x="295" y="0"/>
                  </a:cxn>
                  <a:cxn ang="0">
                    <a:pos x="1434" y="0"/>
                  </a:cxn>
                  <a:cxn ang="0">
                    <a:pos x="1643" y="87"/>
                  </a:cxn>
                  <a:cxn ang="0">
                    <a:pos x="1730" y="295"/>
                  </a:cxn>
                  <a:cxn ang="0">
                    <a:pos x="1730" y="509"/>
                  </a:cxn>
                  <a:cxn ang="0">
                    <a:pos x="1643" y="718"/>
                  </a:cxn>
                  <a:cxn ang="0">
                    <a:pos x="1434" y="804"/>
                  </a:cxn>
                  <a:cxn ang="0">
                    <a:pos x="295" y="804"/>
                  </a:cxn>
                  <a:cxn ang="0">
                    <a:pos x="86" y="718"/>
                  </a:cxn>
                  <a:cxn ang="0">
                    <a:pos x="0" y="509"/>
                  </a:cxn>
                  <a:cxn ang="0">
                    <a:pos x="0" y="295"/>
                  </a:cxn>
                  <a:cxn ang="0">
                    <a:pos x="86" y="87"/>
                  </a:cxn>
                  <a:cxn ang="0">
                    <a:pos x="295" y="0"/>
                  </a:cxn>
                  <a:cxn ang="0">
                    <a:pos x="1434" y="138"/>
                  </a:cxn>
                  <a:cxn ang="0">
                    <a:pos x="1432" y="138"/>
                  </a:cxn>
                  <a:cxn ang="0">
                    <a:pos x="1432" y="68"/>
                  </a:cxn>
                  <a:cxn ang="0">
                    <a:pos x="1211" y="68"/>
                  </a:cxn>
                  <a:cxn ang="0">
                    <a:pos x="1211" y="138"/>
                  </a:cxn>
                  <a:cxn ang="0">
                    <a:pos x="974" y="138"/>
                  </a:cxn>
                  <a:cxn ang="0">
                    <a:pos x="974" y="68"/>
                  </a:cxn>
                  <a:cxn ang="0">
                    <a:pos x="753" y="68"/>
                  </a:cxn>
                  <a:cxn ang="0">
                    <a:pos x="753" y="138"/>
                  </a:cxn>
                  <a:cxn ang="0">
                    <a:pos x="516" y="138"/>
                  </a:cxn>
                  <a:cxn ang="0">
                    <a:pos x="516" y="68"/>
                  </a:cxn>
                  <a:cxn ang="0">
                    <a:pos x="295" y="68"/>
                  </a:cxn>
                  <a:cxn ang="0">
                    <a:pos x="295" y="138"/>
                  </a:cxn>
                  <a:cxn ang="0">
                    <a:pos x="184" y="184"/>
                  </a:cxn>
                  <a:cxn ang="0">
                    <a:pos x="138" y="295"/>
                  </a:cxn>
                  <a:cxn ang="0">
                    <a:pos x="138" y="509"/>
                  </a:cxn>
                  <a:cxn ang="0">
                    <a:pos x="184" y="620"/>
                  </a:cxn>
                  <a:cxn ang="0">
                    <a:pos x="295" y="666"/>
                  </a:cxn>
                  <a:cxn ang="0">
                    <a:pos x="1434" y="666"/>
                  </a:cxn>
                  <a:cxn ang="0">
                    <a:pos x="1545" y="620"/>
                  </a:cxn>
                  <a:cxn ang="0">
                    <a:pos x="1591" y="509"/>
                  </a:cxn>
                  <a:cxn ang="0">
                    <a:pos x="1591" y="295"/>
                  </a:cxn>
                  <a:cxn ang="0">
                    <a:pos x="1545" y="184"/>
                  </a:cxn>
                  <a:cxn ang="0">
                    <a:pos x="1434" y="138"/>
                  </a:cxn>
                </a:cxnLst>
                <a:rect l="0" t="0" r="r" b="b"/>
                <a:pathLst>
                  <a:path w="1730" h="804">
                    <a:moveTo>
                      <a:pt x="295" y="0"/>
                    </a:moveTo>
                    <a:lnTo>
                      <a:pt x="1434" y="0"/>
                    </a:lnTo>
                    <a:cubicBezTo>
                      <a:pt x="1516" y="0"/>
                      <a:pt x="1589" y="33"/>
                      <a:pt x="1643" y="87"/>
                    </a:cubicBezTo>
                    <a:cubicBezTo>
                      <a:pt x="1696" y="140"/>
                      <a:pt x="1730" y="214"/>
                      <a:pt x="1730" y="295"/>
                    </a:cubicBezTo>
                    <a:lnTo>
                      <a:pt x="1730" y="509"/>
                    </a:lnTo>
                    <a:cubicBezTo>
                      <a:pt x="1730" y="591"/>
                      <a:pt x="1696" y="664"/>
                      <a:pt x="1643" y="718"/>
                    </a:cubicBezTo>
                    <a:cubicBezTo>
                      <a:pt x="1589" y="771"/>
                      <a:pt x="1516" y="804"/>
                      <a:pt x="1434" y="804"/>
                    </a:cubicBezTo>
                    <a:lnTo>
                      <a:pt x="295" y="804"/>
                    </a:lnTo>
                    <a:cubicBezTo>
                      <a:pt x="213" y="804"/>
                      <a:pt x="140" y="771"/>
                      <a:pt x="86" y="718"/>
                    </a:cubicBezTo>
                    <a:cubicBezTo>
                      <a:pt x="33" y="664"/>
                      <a:pt x="0" y="591"/>
                      <a:pt x="0" y="509"/>
                    </a:cubicBezTo>
                    <a:lnTo>
                      <a:pt x="0" y="295"/>
                    </a:lnTo>
                    <a:cubicBezTo>
                      <a:pt x="0" y="214"/>
                      <a:pt x="33" y="140"/>
                      <a:pt x="86" y="87"/>
                    </a:cubicBezTo>
                    <a:cubicBezTo>
                      <a:pt x="140" y="33"/>
                      <a:pt x="213" y="0"/>
                      <a:pt x="295" y="0"/>
                    </a:cubicBezTo>
                    <a:close/>
                    <a:moveTo>
                      <a:pt x="1434" y="138"/>
                    </a:moveTo>
                    <a:lnTo>
                      <a:pt x="1432" y="138"/>
                    </a:lnTo>
                    <a:lnTo>
                      <a:pt x="1432" y="68"/>
                    </a:lnTo>
                    <a:lnTo>
                      <a:pt x="1211" y="68"/>
                    </a:lnTo>
                    <a:lnTo>
                      <a:pt x="1211" y="138"/>
                    </a:lnTo>
                    <a:lnTo>
                      <a:pt x="974" y="138"/>
                    </a:lnTo>
                    <a:lnTo>
                      <a:pt x="974" y="68"/>
                    </a:lnTo>
                    <a:lnTo>
                      <a:pt x="753" y="68"/>
                    </a:lnTo>
                    <a:lnTo>
                      <a:pt x="753" y="138"/>
                    </a:lnTo>
                    <a:lnTo>
                      <a:pt x="516" y="138"/>
                    </a:lnTo>
                    <a:lnTo>
                      <a:pt x="516" y="68"/>
                    </a:lnTo>
                    <a:lnTo>
                      <a:pt x="295" y="68"/>
                    </a:lnTo>
                    <a:lnTo>
                      <a:pt x="295" y="138"/>
                    </a:lnTo>
                    <a:cubicBezTo>
                      <a:pt x="252" y="138"/>
                      <a:pt x="212" y="156"/>
                      <a:pt x="184" y="184"/>
                    </a:cubicBezTo>
                    <a:cubicBezTo>
                      <a:pt x="156" y="213"/>
                      <a:pt x="138" y="252"/>
                      <a:pt x="138" y="295"/>
                    </a:cubicBezTo>
                    <a:lnTo>
                      <a:pt x="138" y="509"/>
                    </a:lnTo>
                    <a:cubicBezTo>
                      <a:pt x="138" y="552"/>
                      <a:pt x="156" y="592"/>
                      <a:pt x="184" y="620"/>
                    </a:cubicBezTo>
                    <a:cubicBezTo>
                      <a:pt x="212" y="648"/>
                      <a:pt x="252" y="666"/>
                      <a:pt x="295" y="666"/>
                    </a:cubicBezTo>
                    <a:lnTo>
                      <a:pt x="1434" y="666"/>
                    </a:lnTo>
                    <a:cubicBezTo>
                      <a:pt x="1477" y="666"/>
                      <a:pt x="1517" y="648"/>
                      <a:pt x="1545" y="620"/>
                    </a:cubicBezTo>
                    <a:cubicBezTo>
                      <a:pt x="1573" y="592"/>
                      <a:pt x="1591" y="552"/>
                      <a:pt x="1591" y="509"/>
                    </a:cubicBezTo>
                    <a:lnTo>
                      <a:pt x="1591" y="295"/>
                    </a:lnTo>
                    <a:cubicBezTo>
                      <a:pt x="1591" y="252"/>
                      <a:pt x="1573" y="213"/>
                      <a:pt x="1545" y="184"/>
                    </a:cubicBezTo>
                    <a:cubicBezTo>
                      <a:pt x="1517" y="156"/>
                      <a:pt x="1477" y="138"/>
                      <a:pt x="1434" y="138"/>
                    </a:cubicBez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29" name="Freeform 1223"/>
              <p:cNvSpPr>
                <a:spLocks/>
              </p:cNvSpPr>
              <p:nvPr/>
            </p:nvSpPr>
            <p:spPr bwMode="auto">
              <a:xfrm>
                <a:off x="1586" y="1958"/>
                <a:ext cx="210" cy="19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70" y="0"/>
                  </a:cxn>
                  <a:cxn ang="0">
                    <a:pos x="779" y="87"/>
                  </a:cxn>
                  <a:cxn ang="0">
                    <a:pos x="866" y="295"/>
                  </a:cxn>
                  <a:cxn ang="0">
                    <a:pos x="866" y="509"/>
                  </a:cxn>
                  <a:cxn ang="0">
                    <a:pos x="779" y="718"/>
                  </a:cxn>
                  <a:cxn ang="0">
                    <a:pos x="570" y="804"/>
                  </a:cxn>
                  <a:cxn ang="0">
                    <a:pos x="0" y="804"/>
                  </a:cxn>
                  <a:cxn ang="0">
                    <a:pos x="0" y="666"/>
                  </a:cxn>
                  <a:cxn ang="0">
                    <a:pos x="570" y="666"/>
                  </a:cxn>
                  <a:cxn ang="0">
                    <a:pos x="681" y="620"/>
                  </a:cxn>
                  <a:cxn ang="0">
                    <a:pos x="727" y="509"/>
                  </a:cxn>
                  <a:cxn ang="0">
                    <a:pos x="727" y="295"/>
                  </a:cxn>
                  <a:cxn ang="0">
                    <a:pos x="681" y="184"/>
                  </a:cxn>
                  <a:cxn ang="0">
                    <a:pos x="570" y="138"/>
                  </a:cxn>
                  <a:cxn ang="0">
                    <a:pos x="568" y="138"/>
                  </a:cxn>
                  <a:cxn ang="0">
                    <a:pos x="568" y="68"/>
                  </a:cxn>
                  <a:cxn ang="0">
                    <a:pos x="347" y="68"/>
                  </a:cxn>
                  <a:cxn ang="0">
                    <a:pos x="347" y="138"/>
                  </a:cxn>
                  <a:cxn ang="0">
                    <a:pos x="110" y="138"/>
                  </a:cxn>
                  <a:cxn ang="0">
                    <a:pos x="110" y="68"/>
                  </a:cxn>
                  <a:cxn ang="0">
                    <a:pos x="0" y="68"/>
                  </a:cxn>
                  <a:cxn ang="0">
                    <a:pos x="0" y="0"/>
                  </a:cxn>
                </a:cxnLst>
                <a:rect l="0" t="0" r="r" b="b"/>
                <a:pathLst>
                  <a:path w="866" h="804">
                    <a:moveTo>
                      <a:pt x="0" y="0"/>
                    </a:moveTo>
                    <a:lnTo>
                      <a:pt x="570" y="0"/>
                    </a:lnTo>
                    <a:cubicBezTo>
                      <a:pt x="652" y="0"/>
                      <a:pt x="725" y="33"/>
                      <a:pt x="779" y="87"/>
                    </a:cubicBezTo>
                    <a:cubicBezTo>
                      <a:pt x="832" y="140"/>
                      <a:pt x="866" y="214"/>
                      <a:pt x="866" y="295"/>
                    </a:cubicBezTo>
                    <a:lnTo>
                      <a:pt x="866" y="509"/>
                    </a:lnTo>
                    <a:cubicBezTo>
                      <a:pt x="866" y="591"/>
                      <a:pt x="832" y="664"/>
                      <a:pt x="779" y="718"/>
                    </a:cubicBezTo>
                    <a:cubicBezTo>
                      <a:pt x="725" y="771"/>
                      <a:pt x="652" y="804"/>
                      <a:pt x="570" y="804"/>
                    </a:cubicBezTo>
                    <a:lnTo>
                      <a:pt x="0" y="804"/>
                    </a:lnTo>
                    <a:lnTo>
                      <a:pt x="0" y="666"/>
                    </a:lnTo>
                    <a:lnTo>
                      <a:pt x="570" y="666"/>
                    </a:lnTo>
                    <a:cubicBezTo>
                      <a:pt x="613" y="666"/>
                      <a:pt x="653" y="648"/>
                      <a:pt x="681" y="620"/>
                    </a:cubicBezTo>
                    <a:cubicBezTo>
                      <a:pt x="709" y="592"/>
                      <a:pt x="727" y="552"/>
                      <a:pt x="727" y="509"/>
                    </a:cubicBezTo>
                    <a:lnTo>
                      <a:pt x="727" y="295"/>
                    </a:lnTo>
                    <a:cubicBezTo>
                      <a:pt x="727" y="252"/>
                      <a:pt x="709" y="213"/>
                      <a:pt x="681" y="184"/>
                    </a:cubicBezTo>
                    <a:cubicBezTo>
                      <a:pt x="653" y="156"/>
                      <a:pt x="613" y="138"/>
                      <a:pt x="570" y="138"/>
                    </a:cubicBezTo>
                    <a:lnTo>
                      <a:pt x="568" y="138"/>
                    </a:lnTo>
                    <a:lnTo>
                      <a:pt x="568" y="68"/>
                    </a:lnTo>
                    <a:lnTo>
                      <a:pt x="347" y="68"/>
                    </a:lnTo>
                    <a:lnTo>
                      <a:pt x="347" y="138"/>
                    </a:lnTo>
                    <a:lnTo>
                      <a:pt x="110" y="138"/>
                    </a:lnTo>
                    <a:lnTo>
                      <a:pt x="110" y="68"/>
                    </a:lnTo>
                    <a:lnTo>
                      <a:pt x="0" y="6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0" name="Freeform 1224"/>
              <p:cNvSpPr>
                <a:spLocks/>
              </p:cNvSpPr>
              <p:nvPr/>
            </p:nvSpPr>
            <p:spPr bwMode="auto">
              <a:xfrm>
                <a:off x="1828" y="2054"/>
                <a:ext cx="797" cy="100"/>
              </a:xfrm>
              <a:custGeom>
                <a:avLst/>
                <a:gdLst/>
                <a:ahLst/>
                <a:cxnLst>
                  <a:cxn ang="0">
                    <a:pos x="3236" y="0"/>
                  </a:cxn>
                  <a:cxn ang="0">
                    <a:pos x="1928" y="0"/>
                  </a:cxn>
                  <a:cxn ang="0">
                    <a:pos x="1928" y="0"/>
                  </a:cxn>
                  <a:cxn ang="0">
                    <a:pos x="1725" y="84"/>
                  </a:cxn>
                  <a:cxn ang="0">
                    <a:pos x="1725" y="84"/>
                  </a:cxn>
                  <a:cxn ang="0">
                    <a:pos x="1641" y="285"/>
                  </a:cxn>
                  <a:cxn ang="0">
                    <a:pos x="1641" y="285"/>
                  </a:cxn>
                  <a:cxn ang="0">
                    <a:pos x="1557" y="84"/>
                  </a:cxn>
                  <a:cxn ang="0">
                    <a:pos x="1557" y="84"/>
                  </a:cxn>
                  <a:cxn ang="0">
                    <a:pos x="1354" y="0"/>
                  </a:cxn>
                  <a:cxn ang="0">
                    <a:pos x="1354" y="0"/>
                  </a:cxn>
                  <a:cxn ang="0">
                    <a:pos x="46" y="0"/>
                  </a:cxn>
                  <a:cxn ang="0">
                    <a:pos x="46" y="22"/>
                  </a:cxn>
                  <a:cxn ang="0">
                    <a:pos x="46" y="45"/>
                  </a:cxn>
                  <a:cxn ang="0">
                    <a:pos x="46" y="68"/>
                  </a:cxn>
                  <a:cxn ang="0">
                    <a:pos x="46" y="90"/>
                  </a:cxn>
                  <a:cxn ang="0">
                    <a:pos x="46" y="113"/>
                  </a:cxn>
                  <a:cxn ang="0">
                    <a:pos x="46" y="136"/>
                  </a:cxn>
                  <a:cxn ang="0">
                    <a:pos x="46" y="158"/>
                  </a:cxn>
                  <a:cxn ang="0">
                    <a:pos x="46" y="181"/>
                  </a:cxn>
                  <a:cxn ang="0">
                    <a:pos x="46" y="204"/>
                  </a:cxn>
                  <a:cxn ang="0">
                    <a:pos x="46" y="226"/>
                  </a:cxn>
                  <a:cxn ang="0">
                    <a:pos x="46" y="249"/>
                  </a:cxn>
                  <a:cxn ang="0">
                    <a:pos x="46" y="272"/>
                  </a:cxn>
                  <a:cxn ang="0">
                    <a:pos x="46" y="272"/>
                  </a:cxn>
                  <a:cxn ang="0">
                    <a:pos x="46" y="285"/>
                  </a:cxn>
                  <a:cxn ang="0">
                    <a:pos x="0" y="285"/>
                  </a:cxn>
                  <a:cxn ang="0">
                    <a:pos x="0" y="348"/>
                  </a:cxn>
                  <a:cxn ang="0">
                    <a:pos x="1353" y="348"/>
                  </a:cxn>
                  <a:cxn ang="0">
                    <a:pos x="1421" y="410"/>
                  </a:cxn>
                  <a:cxn ang="0">
                    <a:pos x="1860" y="410"/>
                  </a:cxn>
                  <a:cxn ang="0">
                    <a:pos x="1928" y="350"/>
                  </a:cxn>
                  <a:cxn ang="0">
                    <a:pos x="3282" y="350"/>
                  </a:cxn>
                  <a:cxn ang="0">
                    <a:pos x="3282" y="287"/>
                  </a:cxn>
                  <a:cxn ang="0">
                    <a:pos x="3236" y="287"/>
                  </a:cxn>
                  <a:cxn ang="0">
                    <a:pos x="3236" y="272"/>
                  </a:cxn>
                  <a:cxn ang="0">
                    <a:pos x="3236" y="272"/>
                  </a:cxn>
                  <a:cxn ang="0">
                    <a:pos x="3236" y="249"/>
                  </a:cxn>
                  <a:cxn ang="0">
                    <a:pos x="3236" y="226"/>
                  </a:cxn>
                  <a:cxn ang="0">
                    <a:pos x="3236" y="204"/>
                  </a:cxn>
                  <a:cxn ang="0">
                    <a:pos x="3236" y="181"/>
                  </a:cxn>
                  <a:cxn ang="0">
                    <a:pos x="3236" y="158"/>
                  </a:cxn>
                  <a:cxn ang="0">
                    <a:pos x="3236" y="136"/>
                  </a:cxn>
                  <a:cxn ang="0">
                    <a:pos x="3236" y="113"/>
                  </a:cxn>
                  <a:cxn ang="0">
                    <a:pos x="3236" y="90"/>
                  </a:cxn>
                  <a:cxn ang="0">
                    <a:pos x="3236" y="68"/>
                  </a:cxn>
                  <a:cxn ang="0">
                    <a:pos x="3236" y="45"/>
                  </a:cxn>
                  <a:cxn ang="0">
                    <a:pos x="3236" y="22"/>
                  </a:cxn>
                  <a:cxn ang="0">
                    <a:pos x="3236" y="0"/>
                  </a:cxn>
                </a:cxnLst>
                <a:rect l="0" t="0" r="r" b="b"/>
                <a:pathLst>
                  <a:path w="3282" h="410">
                    <a:moveTo>
                      <a:pt x="3236" y="0"/>
                    </a:moveTo>
                    <a:lnTo>
                      <a:pt x="1928" y="0"/>
                    </a:lnTo>
                    <a:lnTo>
                      <a:pt x="1928" y="0"/>
                    </a:lnTo>
                    <a:cubicBezTo>
                      <a:pt x="1849" y="0"/>
                      <a:pt x="1777" y="32"/>
                      <a:pt x="1725" y="84"/>
                    </a:cubicBezTo>
                    <a:lnTo>
                      <a:pt x="1725" y="84"/>
                    </a:lnTo>
                    <a:cubicBezTo>
                      <a:pt x="1673" y="135"/>
                      <a:pt x="1641" y="206"/>
                      <a:pt x="1641" y="285"/>
                    </a:cubicBezTo>
                    <a:lnTo>
                      <a:pt x="1641" y="285"/>
                    </a:lnTo>
                    <a:cubicBezTo>
                      <a:pt x="1640" y="206"/>
                      <a:pt x="1608" y="135"/>
                      <a:pt x="1557" y="84"/>
                    </a:cubicBezTo>
                    <a:lnTo>
                      <a:pt x="1557" y="84"/>
                    </a:lnTo>
                    <a:cubicBezTo>
                      <a:pt x="1505" y="32"/>
                      <a:pt x="1433" y="0"/>
                      <a:pt x="1354" y="0"/>
                    </a:cubicBezTo>
                    <a:lnTo>
                      <a:pt x="1354" y="0"/>
                    </a:lnTo>
                    <a:lnTo>
                      <a:pt x="46" y="0"/>
                    </a:lnTo>
                    <a:lnTo>
                      <a:pt x="46" y="22"/>
                    </a:lnTo>
                    <a:lnTo>
                      <a:pt x="46" y="45"/>
                    </a:lnTo>
                    <a:lnTo>
                      <a:pt x="46" y="68"/>
                    </a:lnTo>
                    <a:lnTo>
                      <a:pt x="46" y="90"/>
                    </a:lnTo>
                    <a:lnTo>
                      <a:pt x="46" y="113"/>
                    </a:lnTo>
                    <a:lnTo>
                      <a:pt x="46" y="136"/>
                    </a:lnTo>
                    <a:lnTo>
                      <a:pt x="46" y="158"/>
                    </a:lnTo>
                    <a:lnTo>
                      <a:pt x="46" y="181"/>
                    </a:lnTo>
                    <a:lnTo>
                      <a:pt x="46" y="204"/>
                    </a:lnTo>
                    <a:lnTo>
                      <a:pt x="46" y="226"/>
                    </a:lnTo>
                    <a:lnTo>
                      <a:pt x="46" y="249"/>
                    </a:lnTo>
                    <a:lnTo>
                      <a:pt x="46" y="272"/>
                    </a:lnTo>
                    <a:lnTo>
                      <a:pt x="46" y="272"/>
                    </a:lnTo>
                    <a:lnTo>
                      <a:pt x="46" y="285"/>
                    </a:lnTo>
                    <a:lnTo>
                      <a:pt x="0" y="285"/>
                    </a:lnTo>
                    <a:lnTo>
                      <a:pt x="0" y="348"/>
                    </a:lnTo>
                    <a:lnTo>
                      <a:pt x="1353" y="348"/>
                    </a:lnTo>
                    <a:cubicBezTo>
                      <a:pt x="1353" y="382"/>
                      <a:pt x="1384" y="410"/>
                      <a:pt x="1421" y="410"/>
                    </a:cubicBezTo>
                    <a:lnTo>
                      <a:pt x="1860" y="410"/>
                    </a:lnTo>
                    <a:cubicBezTo>
                      <a:pt x="1897" y="410"/>
                      <a:pt x="1927" y="383"/>
                      <a:pt x="1928" y="350"/>
                    </a:cubicBezTo>
                    <a:lnTo>
                      <a:pt x="3282" y="350"/>
                    </a:lnTo>
                    <a:lnTo>
                      <a:pt x="3282" y="287"/>
                    </a:lnTo>
                    <a:lnTo>
                      <a:pt x="3236" y="287"/>
                    </a:lnTo>
                    <a:lnTo>
                      <a:pt x="3236" y="272"/>
                    </a:lnTo>
                    <a:lnTo>
                      <a:pt x="3236" y="272"/>
                    </a:lnTo>
                    <a:lnTo>
                      <a:pt x="3236" y="249"/>
                    </a:lnTo>
                    <a:lnTo>
                      <a:pt x="3236" y="226"/>
                    </a:lnTo>
                    <a:lnTo>
                      <a:pt x="3236" y="204"/>
                    </a:lnTo>
                    <a:lnTo>
                      <a:pt x="3236" y="181"/>
                    </a:lnTo>
                    <a:lnTo>
                      <a:pt x="3236" y="158"/>
                    </a:lnTo>
                    <a:lnTo>
                      <a:pt x="3236" y="136"/>
                    </a:lnTo>
                    <a:lnTo>
                      <a:pt x="3236" y="113"/>
                    </a:lnTo>
                    <a:lnTo>
                      <a:pt x="3236" y="90"/>
                    </a:lnTo>
                    <a:lnTo>
                      <a:pt x="3236" y="68"/>
                    </a:lnTo>
                    <a:lnTo>
                      <a:pt x="3236" y="45"/>
                    </a:lnTo>
                    <a:lnTo>
                      <a:pt x="3236" y="22"/>
                    </a:lnTo>
                    <a:lnTo>
                      <a:pt x="323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1" name="Rectangle 1225"/>
              <p:cNvSpPr>
                <a:spLocks noChangeArrowheads="1"/>
              </p:cNvSpPr>
              <p:nvPr/>
            </p:nvSpPr>
            <p:spPr bwMode="auto">
              <a:xfrm>
                <a:off x="2226" y="2124"/>
                <a:ext cx="399" cy="16"/>
              </a:xfrm>
              <a:prstGeom prst="rect">
                <a:avLst/>
              </a:prstGeom>
              <a:solidFill>
                <a:srgbClr val="04688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2" name="Rectangle 1226"/>
              <p:cNvSpPr>
                <a:spLocks noChangeArrowheads="1"/>
              </p:cNvSpPr>
              <p:nvPr/>
            </p:nvSpPr>
            <p:spPr bwMode="auto">
              <a:xfrm>
                <a:off x="1839" y="2054"/>
                <a:ext cx="318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3" name="Rectangle 1227"/>
              <p:cNvSpPr>
                <a:spLocks noChangeArrowheads="1"/>
              </p:cNvSpPr>
              <p:nvPr/>
            </p:nvSpPr>
            <p:spPr bwMode="auto">
              <a:xfrm>
                <a:off x="1839" y="2065"/>
                <a:ext cx="318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4" name="Rectangle 1228"/>
              <p:cNvSpPr>
                <a:spLocks noChangeArrowheads="1"/>
              </p:cNvSpPr>
              <p:nvPr/>
            </p:nvSpPr>
            <p:spPr bwMode="auto">
              <a:xfrm>
                <a:off x="1839" y="2076"/>
                <a:ext cx="318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5" name="Rectangle 1229"/>
              <p:cNvSpPr>
                <a:spLocks noChangeArrowheads="1"/>
              </p:cNvSpPr>
              <p:nvPr/>
            </p:nvSpPr>
            <p:spPr bwMode="auto">
              <a:xfrm>
                <a:off x="1839" y="2088"/>
                <a:ext cx="318" cy="5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6" name="Rectangle 1230"/>
              <p:cNvSpPr>
                <a:spLocks noChangeArrowheads="1"/>
              </p:cNvSpPr>
              <p:nvPr/>
            </p:nvSpPr>
            <p:spPr bwMode="auto">
              <a:xfrm>
                <a:off x="1839" y="2099"/>
                <a:ext cx="318" cy="5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7" name="Rectangle 1231"/>
              <p:cNvSpPr>
                <a:spLocks noChangeArrowheads="1"/>
              </p:cNvSpPr>
              <p:nvPr/>
            </p:nvSpPr>
            <p:spPr bwMode="auto">
              <a:xfrm>
                <a:off x="1839" y="2110"/>
                <a:ext cx="318" cy="5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8" name="Rectangle 1232"/>
              <p:cNvSpPr>
                <a:spLocks noChangeArrowheads="1"/>
              </p:cNvSpPr>
              <p:nvPr/>
            </p:nvSpPr>
            <p:spPr bwMode="auto">
              <a:xfrm>
                <a:off x="1839" y="2060"/>
                <a:ext cx="318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39" name="Rectangle 1233"/>
              <p:cNvSpPr>
                <a:spLocks noChangeArrowheads="1"/>
              </p:cNvSpPr>
              <p:nvPr/>
            </p:nvSpPr>
            <p:spPr bwMode="auto">
              <a:xfrm>
                <a:off x="1839" y="2071"/>
                <a:ext cx="318" cy="5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0" name="Rectangle 1234"/>
              <p:cNvSpPr>
                <a:spLocks noChangeArrowheads="1"/>
              </p:cNvSpPr>
              <p:nvPr/>
            </p:nvSpPr>
            <p:spPr bwMode="auto">
              <a:xfrm>
                <a:off x="1839" y="2082"/>
                <a:ext cx="318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1" name="Rectangle 1235"/>
              <p:cNvSpPr>
                <a:spLocks noChangeArrowheads="1"/>
              </p:cNvSpPr>
              <p:nvPr/>
            </p:nvSpPr>
            <p:spPr bwMode="auto">
              <a:xfrm>
                <a:off x="1839" y="2093"/>
                <a:ext cx="318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2" name="Rectangle 1236"/>
              <p:cNvSpPr>
                <a:spLocks noChangeArrowheads="1"/>
              </p:cNvSpPr>
              <p:nvPr/>
            </p:nvSpPr>
            <p:spPr bwMode="auto">
              <a:xfrm>
                <a:off x="1839" y="2104"/>
                <a:ext cx="318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3" name="Rectangle 1237"/>
              <p:cNvSpPr>
                <a:spLocks noChangeArrowheads="1"/>
              </p:cNvSpPr>
              <p:nvPr/>
            </p:nvSpPr>
            <p:spPr bwMode="auto">
              <a:xfrm>
                <a:off x="1839" y="2115"/>
                <a:ext cx="318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4" name="Rectangle 1238"/>
              <p:cNvSpPr>
                <a:spLocks noChangeArrowheads="1"/>
              </p:cNvSpPr>
              <p:nvPr/>
            </p:nvSpPr>
            <p:spPr bwMode="auto">
              <a:xfrm>
                <a:off x="1839" y="2121"/>
                <a:ext cx="318" cy="3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5" name="Freeform 1239"/>
              <p:cNvSpPr>
                <a:spLocks/>
              </p:cNvSpPr>
              <p:nvPr/>
            </p:nvSpPr>
            <p:spPr bwMode="auto">
              <a:xfrm>
                <a:off x="2157" y="2054"/>
                <a:ext cx="69" cy="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3" y="84"/>
                  </a:cxn>
                  <a:cxn ang="0">
                    <a:pos x="203" y="84"/>
                  </a:cxn>
                  <a:cxn ang="0">
                    <a:pos x="287" y="287"/>
                  </a:cxn>
                  <a:cxn ang="0">
                    <a:pos x="209" y="287"/>
                  </a:cxn>
                  <a:cxn ang="0">
                    <a:pos x="148" y="138"/>
                  </a:cxn>
                  <a:cxn ang="0">
                    <a:pos x="148" y="139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7" h="287">
                    <a:moveTo>
                      <a:pt x="0" y="0"/>
                    </a:moveTo>
                    <a:cubicBezTo>
                      <a:pt x="79" y="0"/>
                      <a:pt x="151" y="32"/>
                      <a:pt x="203" y="84"/>
                    </a:cubicBezTo>
                    <a:lnTo>
                      <a:pt x="203" y="84"/>
                    </a:lnTo>
                    <a:cubicBezTo>
                      <a:pt x="255" y="136"/>
                      <a:pt x="287" y="208"/>
                      <a:pt x="287" y="287"/>
                    </a:cubicBezTo>
                    <a:lnTo>
                      <a:pt x="209" y="287"/>
                    </a:lnTo>
                    <a:cubicBezTo>
                      <a:pt x="209" y="229"/>
                      <a:pt x="186" y="176"/>
                      <a:pt x="148" y="138"/>
                    </a:cubicBezTo>
                    <a:lnTo>
                      <a:pt x="148" y="139"/>
                    </a:lnTo>
                    <a:cubicBezTo>
                      <a:pt x="110" y="101"/>
                      <a:pt x="58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6" name="Freeform 1240"/>
              <p:cNvSpPr>
                <a:spLocks/>
              </p:cNvSpPr>
              <p:nvPr/>
            </p:nvSpPr>
            <p:spPr bwMode="auto">
              <a:xfrm>
                <a:off x="2157" y="2060"/>
                <a:ext cx="64" cy="6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7" y="78"/>
                  </a:cxn>
                  <a:cxn ang="0">
                    <a:pos x="187" y="78"/>
                  </a:cxn>
                  <a:cxn ang="0">
                    <a:pos x="264" y="265"/>
                  </a:cxn>
                  <a:cxn ang="0">
                    <a:pos x="193" y="265"/>
                  </a:cxn>
                  <a:cxn ang="0">
                    <a:pos x="136" y="128"/>
                  </a:cxn>
                  <a:cxn ang="0">
                    <a:pos x="136" y="128"/>
                  </a:cxn>
                  <a:cxn ang="0">
                    <a:pos x="0" y="72"/>
                  </a:cxn>
                  <a:cxn ang="0">
                    <a:pos x="0" y="72"/>
                  </a:cxn>
                  <a:cxn ang="0">
                    <a:pos x="0" y="0"/>
                  </a:cxn>
                </a:cxnLst>
                <a:rect l="0" t="0" r="r" b="b"/>
                <a:pathLst>
                  <a:path w="264" h="265">
                    <a:moveTo>
                      <a:pt x="0" y="0"/>
                    </a:moveTo>
                    <a:cubicBezTo>
                      <a:pt x="73" y="0"/>
                      <a:pt x="139" y="30"/>
                      <a:pt x="187" y="78"/>
                    </a:cubicBezTo>
                    <a:lnTo>
                      <a:pt x="187" y="78"/>
                    </a:lnTo>
                    <a:cubicBezTo>
                      <a:pt x="235" y="126"/>
                      <a:pt x="264" y="192"/>
                      <a:pt x="264" y="265"/>
                    </a:cubicBezTo>
                    <a:lnTo>
                      <a:pt x="193" y="265"/>
                    </a:lnTo>
                    <a:cubicBezTo>
                      <a:pt x="193" y="211"/>
                      <a:pt x="171" y="163"/>
                      <a:pt x="136" y="128"/>
                    </a:cubicBezTo>
                    <a:lnTo>
                      <a:pt x="136" y="128"/>
                    </a:lnTo>
                    <a:cubicBezTo>
                      <a:pt x="101" y="93"/>
                      <a:pt x="53" y="72"/>
                      <a:pt x="0" y="72"/>
                    </a:cubicBezTo>
                    <a:lnTo>
                      <a:pt x="0" y="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7" name="Freeform 1241"/>
              <p:cNvSpPr>
                <a:spLocks/>
              </p:cNvSpPr>
              <p:nvPr/>
            </p:nvSpPr>
            <p:spPr bwMode="auto">
              <a:xfrm>
                <a:off x="2157" y="2065"/>
                <a:ext cx="58" cy="5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1" y="71"/>
                  </a:cxn>
                  <a:cxn ang="0">
                    <a:pos x="171" y="71"/>
                  </a:cxn>
                  <a:cxn ang="0">
                    <a:pos x="241" y="242"/>
                  </a:cxn>
                  <a:cxn ang="0">
                    <a:pos x="176" y="242"/>
                  </a:cxn>
                  <a:cxn ang="0">
                    <a:pos x="125" y="117"/>
                  </a:cxn>
                  <a:cxn ang="0">
                    <a:pos x="124" y="117"/>
                  </a:cxn>
                  <a:cxn ang="0">
                    <a:pos x="0" y="65"/>
                  </a:cxn>
                  <a:cxn ang="0">
                    <a:pos x="0" y="65"/>
                  </a:cxn>
                  <a:cxn ang="0">
                    <a:pos x="0" y="0"/>
                  </a:cxn>
                </a:cxnLst>
                <a:rect l="0" t="0" r="r" b="b"/>
                <a:pathLst>
                  <a:path w="241" h="242">
                    <a:moveTo>
                      <a:pt x="0" y="0"/>
                    </a:moveTo>
                    <a:cubicBezTo>
                      <a:pt x="66" y="0"/>
                      <a:pt x="127" y="27"/>
                      <a:pt x="171" y="71"/>
                    </a:cubicBezTo>
                    <a:lnTo>
                      <a:pt x="171" y="71"/>
                    </a:lnTo>
                    <a:cubicBezTo>
                      <a:pt x="214" y="115"/>
                      <a:pt x="241" y="175"/>
                      <a:pt x="241" y="242"/>
                    </a:cubicBezTo>
                    <a:lnTo>
                      <a:pt x="176" y="242"/>
                    </a:lnTo>
                    <a:cubicBezTo>
                      <a:pt x="176" y="193"/>
                      <a:pt x="156" y="149"/>
                      <a:pt x="125" y="117"/>
                    </a:cubicBezTo>
                    <a:lnTo>
                      <a:pt x="124" y="117"/>
                    </a:lnTo>
                    <a:cubicBezTo>
                      <a:pt x="93" y="85"/>
                      <a:pt x="48" y="65"/>
                      <a:pt x="0" y="65"/>
                    </a:cubicBezTo>
                    <a:lnTo>
                      <a:pt x="0" y="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8" name="Freeform 1242"/>
              <p:cNvSpPr>
                <a:spLocks/>
              </p:cNvSpPr>
              <p:nvPr/>
            </p:nvSpPr>
            <p:spPr bwMode="auto">
              <a:xfrm>
                <a:off x="2157" y="2071"/>
                <a:ext cx="53" cy="5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5" y="64"/>
                  </a:cxn>
                  <a:cxn ang="0">
                    <a:pos x="155" y="64"/>
                  </a:cxn>
                  <a:cxn ang="0">
                    <a:pos x="219" y="219"/>
                  </a:cxn>
                  <a:cxn ang="0">
                    <a:pos x="160" y="219"/>
                  </a:cxn>
                  <a:cxn ang="0">
                    <a:pos x="113" y="106"/>
                  </a:cxn>
                  <a:cxn ang="0">
                    <a:pos x="113" y="106"/>
                  </a:cxn>
                  <a:cxn ang="0">
                    <a:pos x="0" y="59"/>
                  </a:cxn>
                  <a:cxn ang="0">
                    <a:pos x="0" y="59"/>
                  </a:cxn>
                  <a:cxn ang="0">
                    <a:pos x="0" y="0"/>
                  </a:cxn>
                </a:cxnLst>
                <a:rect l="0" t="0" r="r" b="b"/>
                <a:pathLst>
                  <a:path w="219" h="219">
                    <a:moveTo>
                      <a:pt x="0" y="0"/>
                    </a:moveTo>
                    <a:cubicBezTo>
                      <a:pt x="60" y="0"/>
                      <a:pt x="115" y="24"/>
                      <a:pt x="155" y="64"/>
                    </a:cubicBezTo>
                    <a:lnTo>
                      <a:pt x="155" y="64"/>
                    </a:lnTo>
                    <a:cubicBezTo>
                      <a:pt x="194" y="104"/>
                      <a:pt x="219" y="158"/>
                      <a:pt x="219" y="219"/>
                    </a:cubicBezTo>
                    <a:lnTo>
                      <a:pt x="160" y="219"/>
                    </a:lnTo>
                    <a:cubicBezTo>
                      <a:pt x="160" y="175"/>
                      <a:pt x="142" y="135"/>
                      <a:pt x="113" y="106"/>
                    </a:cubicBezTo>
                    <a:lnTo>
                      <a:pt x="113" y="106"/>
                    </a:lnTo>
                    <a:cubicBezTo>
                      <a:pt x="84" y="77"/>
                      <a:pt x="44" y="59"/>
                      <a:pt x="0" y="59"/>
                    </a:cubicBezTo>
                    <a:lnTo>
                      <a:pt x="0" y="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49" name="Freeform 1243"/>
              <p:cNvSpPr>
                <a:spLocks/>
              </p:cNvSpPr>
              <p:nvPr/>
            </p:nvSpPr>
            <p:spPr bwMode="auto">
              <a:xfrm>
                <a:off x="2157" y="2076"/>
                <a:ext cx="47" cy="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" y="58"/>
                  </a:cxn>
                  <a:cxn ang="0">
                    <a:pos x="138" y="58"/>
                  </a:cxn>
                  <a:cxn ang="0">
                    <a:pos x="196" y="197"/>
                  </a:cxn>
                  <a:cxn ang="0">
                    <a:pos x="143" y="197"/>
                  </a:cxn>
                  <a:cxn ang="0">
                    <a:pos x="101" y="95"/>
                  </a:cxn>
                  <a:cxn ang="0">
                    <a:pos x="101" y="95"/>
                  </a:cxn>
                  <a:cxn ang="0">
                    <a:pos x="0" y="53"/>
                  </a:cxn>
                  <a:cxn ang="0">
                    <a:pos x="0" y="53"/>
                  </a:cxn>
                  <a:cxn ang="0">
                    <a:pos x="0" y="0"/>
                  </a:cxn>
                </a:cxnLst>
                <a:rect l="0" t="0" r="r" b="b"/>
                <a:pathLst>
                  <a:path w="196" h="197">
                    <a:moveTo>
                      <a:pt x="0" y="0"/>
                    </a:moveTo>
                    <a:cubicBezTo>
                      <a:pt x="54" y="0"/>
                      <a:pt x="103" y="22"/>
                      <a:pt x="138" y="58"/>
                    </a:cubicBezTo>
                    <a:lnTo>
                      <a:pt x="138" y="58"/>
                    </a:lnTo>
                    <a:cubicBezTo>
                      <a:pt x="174" y="94"/>
                      <a:pt x="196" y="143"/>
                      <a:pt x="196" y="197"/>
                    </a:cubicBezTo>
                    <a:lnTo>
                      <a:pt x="143" y="197"/>
                    </a:lnTo>
                    <a:cubicBezTo>
                      <a:pt x="143" y="157"/>
                      <a:pt x="127" y="121"/>
                      <a:pt x="101" y="95"/>
                    </a:cubicBezTo>
                    <a:lnTo>
                      <a:pt x="101" y="95"/>
                    </a:lnTo>
                    <a:cubicBezTo>
                      <a:pt x="75" y="69"/>
                      <a:pt x="39" y="53"/>
                      <a:pt x="0" y="53"/>
                    </a:cubicBezTo>
                    <a:lnTo>
                      <a:pt x="0" y="5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0" name="Freeform 1244"/>
              <p:cNvSpPr>
                <a:spLocks/>
              </p:cNvSpPr>
              <p:nvPr/>
            </p:nvSpPr>
            <p:spPr bwMode="auto">
              <a:xfrm>
                <a:off x="2157" y="2082"/>
                <a:ext cx="42" cy="4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23" y="51"/>
                  </a:cxn>
                  <a:cxn ang="0">
                    <a:pos x="123" y="51"/>
                  </a:cxn>
                  <a:cxn ang="0">
                    <a:pos x="174" y="174"/>
                  </a:cxn>
                  <a:cxn ang="0">
                    <a:pos x="127" y="174"/>
                  </a:cxn>
                  <a:cxn ang="0">
                    <a:pos x="90" y="84"/>
                  </a:cxn>
                  <a:cxn ang="0">
                    <a:pos x="90" y="84"/>
                  </a:cxn>
                  <a:cxn ang="0">
                    <a:pos x="1" y="47"/>
                  </a:cxn>
                  <a:cxn ang="0">
                    <a:pos x="0" y="47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74" h="174">
                    <a:moveTo>
                      <a:pt x="1" y="0"/>
                    </a:moveTo>
                    <a:cubicBezTo>
                      <a:pt x="49" y="0"/>
                      <a:pt x="92" y="19"/>
                      <a:pt x="123" y="51"/>
                    </a:cubicBezTo>
                    <a:lnTo>
                      <a:pt x="123" y="51"/>
                    </a:lnTo>
                    <a:cubicBezTo>
                      <a:pt x="155" y="83"/>
                      <a:pt x="174" y="126"/>
                      <a:pt x="174" y="174"/>
                    </a:cubicBezTo>
                    <a:lnTo>
                      <a:pt x="127" y="174"/>
                    </a:lnTo>
                    <a:cubicBezTo>
                      <a:pt x="127" y="139"/>
                      <a:pt x="113" y="107"/>
                      <a:pt x="90" y="84"/>
                    </a:cubicBezTo>
                    <a:lnTo>
                      <a:pt x="90" y="84"/>
                    </a:lnTo>
                    <a:cubicBezTo>
                      <a:pt x="67" y="61"/>
                      <a:pt x="36" y="47"/>
                      <a:pt x="1" y="47"/>
                    </a:cubicBezTo>
                    <a:lnTo>
                      <a:pt x="0" y="47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1" name="Freeform 1245"/>
              <p:cNvSpPr>
                <a:spLocks/>
              </p:cNvSpPr>
              <p:nvPr/>
            </p:nvSpPr>
            <p:spPr bwMode="auto">
              <a:xfrm>
                <a:off x="2157" y="2088"/>
                <a:ext cx="36" cy="3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2" y="151"/>
                  </a:cxn>
                  <a:cxn ang="0">
                    <a:pos x="111" y="151"/>
                  </a:cxn>
                  <a:cxn ang="0">
                    <a:pos x="79" y="73"/>
                  </a:cxn>
                  <a:cxn ang="0">
                    <a:pos x="79" y="73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0" y="0"/>
                  </a:cxn>
                </a:cxnLst>
                <a:rect l="0" t="0" r="r" b="b"/>
                <a:pathLst>
                  <a:path w="152" h="151">
                    <a:moveTo>
                      <a:pt x="0" y="0"/>
                    </a:moveTo>
                    <a:cubicBezTo>
                      <a:pt x="42" y="0"/>
                      <a:pt x="80" y="17"/>
                      <a:pt x="107" y="44"/>
                    </a:cubicBezTo>
                    <a:lnTo>
                      <a:pt x="107" y="44"/>
                    </a:lnTo>
                    <a:cubicBezTo>
                      <a:pt x="135" y="71"/>
                      <a:pt x="152" y="109"/>
                      <a:pt x="152" y="151"/>
                    </a:cubicBezTo>
                    <a:lnTo>
                      <a:pt x="111" y="151"/>
                    </a:lnTo>
                    <a:cubicBezTo>
                      <a:pt x="111" y="120"/>
                      <a:pt x="98" y="93"/>
                      <a:pt x="79" y="73"/>
                    </a:cubicBezTo>
                    <a:lnTo>
                      <a:pt x="79" y="73"/>
                    </a:lnTo>
                    <a:cubicBezTo>
                      <a:pt x="59" y="53"/>
                      <a:pt x="31" y="40"/>
                      <a:pt x="0" y="40"/>
                    </a:cubicBezTo>
                    <a:lnTo>
                      <a:pt x="0" y="4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2" name="Freeform 1246"/>
              <p:cNvSpPr>
                <a:spLocks/>
              </p:cNvSpPr>
              <p:nvPr/>
            </p:nvSpPr>
            <p:spPr bwMode="auto">
              <a:xfrm>
                <a:off x="2157" y="2093"/>
                <a:ext cx="31" cy="3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1" y="38"/>
                  </a:cxn>
                  <a:cxn ang="0">
                    <a:pos x="91" y="38"/>
                  </a:cxn>
                  <a:cxn ang="0">
                    <a:pos x="129" y="129"/>
                  </a:cxn>
                  <a:cxn ang="0">
                    <a:pos x="94" y="129"/>
                  </a:cxn>
                  <a:cxn ang="0">
                    <a:pos x="67" y="62"/>
                  </a:cxn>
                  <a:cxn ang="0">
                    <a:pos x="67" y="63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0" y="0"/>
                  </a:cxn>
                </a:cxnLst>
                <a:rect l="0" t="0" r="r" b="b"/>
                <a:pathLst>
                  <a:path w="129" h="129">
                    <a:moveTo>
                      <a:pt x="0" y="0"/>
                    </a:moveTo>
                    <a:cubicBezTo>
                      <a:pt x="36" y="0"/>
                      <a:pt x="68" y="15"/>
                      <a:pt x="91" y="38"/>
                    </a:cubicBezTo>
                    <a:lnTo>
                      <a:pt x="91" y="38"/>
                    </a:lnTo>
                    <a:cubicBezTo>
                      <a:pt x="115" y="61"/>
                      <a:pt x="129" y="93"/>
                      <a:pt x="129" y="129"/>
                    </a:cubicBezTo>
                    <a:lnTo>
                      <a:pt x="94" y="129"/>
                    </a:lnTo>
                    <a:cubicBezTo>
                      <a:pt x="94" y="103"/>
                      <a:pt x="84" y="79"/>
                      <a:pt x="67" y="62"/>
                    </a:cubicBezTo>
                    <a:lnTo>
                      <a:pt x="67" y="63"/>
                    </a:lnTo>
                    <a:cubicBezTo>
                      <a:pt x="50" y="46"/>
                      <a:pt x="26" y="35"/>
                      <a:pt x="0" y="35"/>
                    </a:cubicBezTo>
                    <a:lnTo>
                      <a:pt x="0" y="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3" name="Freeform 1247"/>
              <p:cNvSpPr>
                <a:spLocks/>
              </p:cNvSpPr>
              <p:nvPr/>
            </p:nvSpPr>
            <p:spPr bwMode="auto">
              <a:xfrm>
                <a:off x="2157" y="2099"/>
                <a:ext cx="25" cy="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75" y="31"/>
                  </a:cxn>
                  <a:cxn ang="0">
                    <a:pos x="75" y="31"/>
                  </a:cxn>
                  <a:cxn ang="0">
                    <a:pos x="106" y="106"/>
                  </a:cxn>
                  <a:cxn ang="0">
                    <a:pos x="78" y="106"/>
                  </a:cxn>
                  <a:cxn ang="0">
                    <a:pos x="55" y="51"/>
                  </a:cxn>
                  <a:cxn ang="0">
                    <a:pos x="55" y="51"/>
                  </a:cxn>
                  <a:cxn ang="0">
                    <a:pos x="0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6" h="106">
                    <a:moveTo>
                      <a:pt x="0" y="0"/>
                    </a:moveTo>
                    <a:cubicBezTo>
                      <a:pt x="30" y="0"/>
                      <a:pt x="56" y="12"/>
                      <a:pt x="75" y="31"/>
                    </a:cubicBezTo>
                    <a:lnTo>
                      <a:pt x="75" y="31"/>
                    </a:lnTo>
                    <a:cubicBezTo>
                      <a:pt x="94" y="50"/>
                      <a:pt x="106" y="77"/>
                      <a:pt x="106" y="106"/>
                    </a:cubicBezTo>
                    <a:lnTo>
                      <a:pt x="78" y="106"/>
                    </a:lnTo>
                    <a:cubicBezTo>
                      <a:pt x="78" y="84"/>
                      <a:pt x="69" y="65"/>
                      <a:pt x="55" y="51"/>
                    </a:cubicBezTo>
                    <a:lnTo>
                      <a:pt x="55" y="51"/>
                    </a:lnTo>
                    <a:cubicBezTo>
                      <a:pt x="41" y="37"/>
                      <a:pt x="22" y="29"/>
                      <a:pt x="0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4" name="Freeform 1248"/>
              <p:cNvSpPr>
                <a:spLocks/>
              </p:cNvSpPr>
              <p:nvPr/>
            </p:nvSpPr>
            <p:spPr bwMode="auto">
              <a:xfrm>
                <a:off x="2157" y="2104"/>
                <a:ext cx="20" cy="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9" y="24"/>
                  </a:cxn>
                  <a:cxn ang="0">
                    <a:pos x="59" y="24"/>
                  </a:cxn>
                  <a:cxn ang="0">
                    <a:pos x="84" y="83"/>
                  </a:cxn>
                  <a:cxn ang="0">
                    <a:pos x="72" y="83"/>
                  </a:cxn>
                  <a:cxn ang="0">
                    <a:pos x="61" y="83"/>
                  </a:cxn>
                  <a:cxn ang="0">
                    <a:pos x="0" y="83"/>
                  </a:cxn>
                  <a:cxn ang="0">
                    <a:pos x="0" y="59"/>
                  </a:cxn>
                  <a:cxn ang="0">
                    <a:pos x="0" y="53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0" y="19"/>
                  </a:cxn>
                  <a:cxn ang="0">
                    <a:pos x="0" y="0"/>
                  </a:cxn>
                </a:cxnLst>
                <a:rect l="0" t="0" r="r" b="b"/>
                <a:pathLst>
                  <a:path w="84" h="83">
                    <a:moveTo>
                      <a:pt x="0" y="0"/>
                    </a:moveTo>
                    <a:cubicBezTo>
                      <a:pt x="23" y="0"/>
                      <a:pt x="44" y="9"/>
                      <a:pt x="59" y="24"/>
                    </a:cubicBezTo>
                    <a:lnTo>
                      <a:pt x="59" y="24"/>
                    </a:lnTo>
                    <a:cubicBezTo>
                      <a:pt x="74" y="39"/>
                      <a:pt x="84" y="60"/>
                      <a:pt x="84" y="83"/>
                    </a:cubicBezTo>
                    <a:lnTo>
                      <a:pt x="72" y="83"/>
                    </a:lnTo>
                    <a:lnTo>
                      <a:pt x="61" y="83"/>
                    </a:lnTo>
                    <a:lnTo>
                      <a:pt x="0" y="83"/>
                    </a:lnTo>
                    <a:lnTo>
                      <a:pt x="0" y="59"/>
                    </a:lnTo>
                    <a:lnTo>
                      <a:pt x="0" y="53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5" name="Freeform 1249"/>
              <p:cNvSpPr>
                <a:spLocks/>
              </p:cNvSpPr>
              <p:nvPr/>
            </p:nvSpPr>
            <p:spPr bwMode="auto">
              <a:xfrm>
                <a:off x="2157" y="2110"/>
                <a:ext cx="14" cy="1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3" y="18"/>
                  </a:cxn>
                  <a:cxn ang="0">
                    <a:pos x="43" y="18"/>
                  </a:cxn>
                  <a:cxn ang="0">
                    <a:pos x="61" y="61"/>
                  </a:cxn>
                  <a:cxn ang="0">
                    <a:pos x="53" y="61"/>
                  </a:cxn>
                  <a:cxn ang="0">
                    <a:pos x="45" y="61"/>
                  </a:cxn>
                  <a:cxn ang="0">
                    <a:pos x="0" y="61"/>
                  </a:cxn>
                  <a:cxn ang="0">
                    <a:pos x="0" y="43"/>
                  </a:cxn>
                  <a:cxn ang="0">
                    <a:pos x="0" y="39"/>
                  </a:cxn>
                  <a:cxn ang="0">
                    <a:pos x="0" y="17"/>
                  </a:cxn>
                  <a:cxn ang="0">
                    <a:pos x="0" y="17"/>
                  </a:cxn>
                  <a:cxn ang="0">
                    <a:pos x="0" y="14"/>
                  </a:cxn>
                  <a:cxn ang="0">
                    <a:pos x="0" y="0"/>
                  </a:cxn>
                </a:cxnLst>
                <a:rect l="0" t="0" r="r" b="b"/>
                <a:pathLst>
                  <a:path w="61" h="61">
                    <a:moveTo>
                      <a:pt x="0" y="0"/>
                    </a:moveTo>
                    <a:cubicBezTo>
                      <a:pt x="17" y="0"/>
                      <a:pt x="32" y="7"/>
                      <a:pt x="43" y="18"/>
                    </a:cubicBezTo>
                    <a:lnTo>
                      <a:pt x="43" y="18"/>
                    </a:lnTo>
                    <a:cubicBezTo>
                      <a:pt x="54" y="29"/>
                      <a:pt x="61" y="44"/>
                      <a:pt x="61" y="61"/>
                    </a:cubicBezTo>
                    <a:lnTo>
                      <a:pt x="53" y="61"/>
                    </a:lnTo>
                    <a:lnTo>
                      <a:pt x="45" y="61"/>
                    </a:lnTo>
                    <a:lnTo>
                      <a:pt x="0" y="61"/>
                    </a:lnTo>
                    <a:lnTo>
                      <a:pt x="0" y="43"/>
                    </a:lnTo>
                    <a:lnTo>
                      <a:pt x="0" y="39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6" name="Freeform 1250"/>
              <p:cNvSpPr>
                <a:spLocks/>
              </p:cNvSpPr>
              <p:nvPr/>
            </p:nvSpPr>
            <p:spPr bwMode="auto">
              <a:xfrm>
                <a:off x="2157" y="2115"/>
                <a:ext cx="9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7" y="11"/>
                  </a:cxn>
                  <a:cxn ang="0">
                    <a:pos x="27" y="11"/>
                  </a:cxn>
                  <a:cxn ang="0">
                    <a:pos x="38" y="38"/>
                  </a:cxn>
                  <a:cxn ang="0">
                    <a:pos x="0" y="38"/>
                  </a:cxn>
                  <a:cxn ang="0">
                    <a:pos x="0" y="27"/>
                  </a:cxn>
                  <a:cxn ang="0">
                    <a:pos x="0" y="24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0" y="9"/>
                  </a:cxn>
                  <a:cxn ang="0">
                    <a:pos x="0" y="0"/>
                  </a:cxn>
                </a:cxnLst>
                <a:rect l="0" t="0" r="r" b="b"/>
                <a:pathLst>
                  <a:path w="38" h="38">
                    <a:moveTo>
                      <a:pt x="0" y="0"/>
                    </a:moveTo>
                    <a:cubicBezTo>
                      <a:pt x="11" y="0"/>
                      <a:pt x="20" y="4"/>
                      <a:pt x="27" y="11"/>
                    </a:cubicBezTo>
                    <a:lnTo>
                      <a:pt x="27" y="11"/>
                    </a:lnTo>
                    <a:cubicBezTo>
                      <a:pt x="34" y="18"/>
                      <a:pt x="38" y="27"/>
                      <a:pt x="38" y="38"/>
                    </a:cubicBezTo>
                    <a:lnTo>
                      <a:pt x="0" y="38"/>
                    </a:lnTo>
                    <a:lnTo>
                      <a:pt x="0" y="27"/>
                    </a:lnTo>
                    <a:lnTo>
                      <a:pt x="0" y="2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7" name="Freeform 1251"/>
              <p:cNvSpPr>
                <a:spLocks/>
              </p:cNvSpPr>
              <p:nvPr/>
            </p:nvSpPr>
            <p:spPr bwMode="auto">
              <a:xfrm>
                <a:off x="2157" y="2121"/>
                <a:ext cx="3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" y="4"/>
                  </a:cxn>
                  <a:cxn ang="0">
                    <a:pos x="11" y="4"/>
                  </a:cxn>
                  <a:cxn ang="0">
                    <a:pos x="16" y="15"/>
                  </a:cxn>
                  <a:cxn ang="0">
                    <a:pos x="0" y="15"/>
                  </a:cxn>
                  <a:cxn ang="0">
                    <a:pos x="0" y="10"/>
                  </a:cxn>
                  <a:cxn ang="0">
                    <a:pos x="0" y="9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16" h="15">
                    <a:moveTo>
                      <a:pt x="0" y="0"/>
                    </a:moveTo>
                    <a:cubicBezTo>
                      <a:pt x="5" y="0"/>
                      <a:pt x="9" y="1"/>
                      <a:pt x="11" y="4"/>
                    </a:cubicBezTo>
                    <a:lnTo>
                      <a:pt x="11" y="4"/>
                    </a:lnTo>
                    <a:cubicBezTo>
                      <a:pt x="14" y="7"/>
                      <a:pt x="16" y="11"/>
                      <a:pt x="16" y="15"/>
                    </a:cubicBezTo>
                    <a:lnTo>
                      <a:pt x="0" y="15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8" name="Rectangle 1252"/>
              <p:cNvSpPr>
                <a:spLocks noChangeArrowheads="1"/>
              </p:cNvSpPr>
              <p:nvPr/>
            </p:nvSpPr>
            <p:spPr bwMode="auto">
              <a:xfrm>
                <a:off x="2296" y="2054"/>
                <a:ext cx="318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59" name="Rectangle 1253"/>
              <p:cNvSpPr>
                <a:spLocks noChangeArrowheads="1"/>
              </p:cNvSpPr>
              <p:nvPr/>
            </p:nvSpPr>
            <p:spPr bwMode="auto">
              <a:xfrm>
                <a:off x="2296" y="2065"/>
                <a:ext cx="318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0" name="Rectangle 1254"/>
              <p:cNvSpPr>
                <a:spLocks noChangeArrowheads="1"/>
              </p:cNvSpPr>
              <p:nvPr/>
            </p:nvSpPr>
            <p:spPr bwMode="auto">
              <a:xfrm>
                <a:off x="2296" y="2076"/>
                <a:ext cx="318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1" name="Rectangle 1255"/>
              <p:cNvSpPr>
                <a:spLocks noChangeArrowheads="1"/>
              </p:cNvSpPr>
              <p:nvPr/>
            </p:nvSpPr>
            <p:spPr bwMode="auto">
              <a:xfrm>
                <a:off x="2296" y="2088"/>
                <a:ext cx="318" cy="5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2" name="Rectangle 1256"/>
              <p:cNvSpPr>
                <a:spLocks noChangeArrowheads="1"/>
              </p:cNvSpPr>
              <p:nvPr/>
            </p:nvSpPr>
            <p:spPr bwMode="auto">
              <a:xfrm>
                <a:off x="2296" y="2099"/>
                <a:ext cx="318" cy="5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3" name="Rectangle 1257"/>
              <p:cNvSpPr>
                <a:spLocks noChangeArrowheads="1"/>
              </p:cNvSpPr>
              <p:nvPr/>
            </p:nvSpPr>
            <p:spPr bwMode="auto">
              <a:xfrm>
                <a:off x="2296" y="2110"/>
                <a:ext cx="318" cy="5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4" name="Rectangle 1258"/>
              <p:cNvSpPr>
                <a:spLocks noChangeArrowheads="1"/>
              </p:cNvSpPr>
              <p:nvPr/>
            </p:nvSpPr>
            <p:spPr bwMode="auto">
              <a:xfrm>
                <a:off x="2296" y="2060"/>
                <a:ext cx="318" cy="5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5" name="Rectangle 1259"/>
              <p:cNvSpPr>
                <a:spLocks noChangeArrowheads="1"/>
              </p:cNvSpPr>
              <p:nvPr/>
            </p:nvSpPr>
            <p:spPr bwMode="auto">
              <a:xfrm>
                <a:off x="2296" y="2071"/>
                <a:ext cx="318" cy="5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6" name="Rectangle 1260"/>
              <p:cNvSpPr>
                <a:spLocks noChangeArrowheads="1"/>
              </p:cNvSpPr>
              <p:nvPr/>
            </p:nvSpPr>
            <p:spPr bwMode="auto">
              <a:xfrm>
                <a:off x="2296" y="2082"/>
                <a:ext cx="318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7" name="Rectangle 1261"/>
              <p:cNvSpPr>
                <a:spLocks noChangeArrowheads="1"/>
              </p:cNvSpPr>
              <p:nvPr/>
            </p:nvSpPr>
            <p:spPr bwMode="auto">
              <a:xfrm>
                <a:off x="2296" y="2093"/>
                <a:ext cx="318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8" name="Rectangle 1262"/>
              <p:cNvSpPr>
                <a:spLocks noChangeArrowheads="1"/>
              </p:cNvSpPr>
              <p:nvPr/>
            </p:nvSpPr>
            <p:spPr bwMode="auto">
              <a:xfrm>
                <a:off x="2296" y="2104"/>
                <a:ext cx="318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69" name="Rectangle 1263"/>
              <p:cNvSpPr>
                <a:spLocks noChangeArrowheads="1"/>
              </p:cNvSpPr>
              <p:nvPr/>
            </p:nvSpPr>
            <p:spPr bwMode="auto">
              <a:xfrm>
                <a:off x="2296" y="2115"/>
                <a:ext cx="318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0" name="Rectangle 1264"/>
              <p:cNvSpPr>
                <a:spLocks noChangeArrowheads="1"/>
              </p:cNvSpPr>
              <p:nvPr/>
            </p:nvSpPr>
            <p:spPr bwMode="auto">
              <a:xfrm>
                <a:off x="2296" y="2121"/>
                <a:ext cx="318" cy="3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1" name="Freeform 1265"/>
              <p:cNvSpPr>
                <a:spLocks/>
              </p:cNvSpPr>
              <p:nvPr/>
            </p:nvSpPr>
            <p:spPr bwMode="auto">
              <a:xfrm>
                <a:off x="2226" y="2054"/>
                <a:ext cx="70" cy="70"/>
              </a:xfrm>
              <a:custGeom>
                <a:avLst/>
                <a:gdLst/>
                <a:ahLst/>
                <a:cxnLst>
                  <a:cxn ang="0">
                    <a:pos x="287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7"/>
                  </a:cxn>
                  <a:cxn ang="0">
                    <a:pos x="77" y="287"/>
                  </a:cxn>
                  <a:cxn ang="0">
                    <a:pos x="139" y="138"/>
                  </a:cxn>
                  <a:cxn ang="0">
                    <a:pos x="139" y="139"/>
                  </a:cxn>
                  <a:cxn ang="0">
                    <a:pos x="287" y="77"/>
                  </a:cxn>
                  <a:cxn ang="0">
                    <a:pos x="287" y="77"/>
                  </a:cxn>
                  <a:cxn ang="0">
                    <a:pos x="287" y="0"/>
                  </a:cxn>
                </a:cxnLst>
                <a:rect l="0" t="0" r="r" b="b"/>
                <a:pathLst>
                  <a:path w="287" h="287">
                    <a:moveTo>
                      <a:pt x="287" y="0"/>
                    </a:moveTo>
                    <a:cubicBezTo>
                      <a:pt x="208" y="0"/>
                      <a:pt x="136" y="32"/>
                      <a:pt x="84" y="84"/>
                    </a:cubicBezTo>
                    <a:lnTo>
                      <a:pt x="84" y="84"/>
                    </a:lnTo>
                    <a:cubicBezTo>
                      <a:pt x="32" y="136"/>
                      <a:pt x="0" y="208"/>
                      <a:pt x="0" y="287"/>
                    </a:cubicBezTo>
                    <a:lnTo>
                      <a:pt x="77" y="287"/>
                    </a:lnTo>
                    <a:cubicBezTo>
                      <a:pt x="77" y="229"/>
                      <a:pt x="101" y="176"/>
                      <a:pt x="139" y="138"/>
                    </a:cubicBezTo>
                    <a:lnTo>
                      <a:pt x="139" y="139"/>
                    </a:lnTo>
                    <a:cubicBezTo>
                      <a:pt x="177" y="101"/>
                      <a:pt x="229" y="77"/>
                      <a:pt x="287" y="77"/>
                    </a:cubicBezTo>
                    <a:lnTo>
                      <a:pt x="287" y="77"/>
                    </a:lnTo>
                    <a:lnTo>
                      <a:pt x="287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2" name="Freeform 1266"/>
              <p:cNvSpPr>
                <a:spLocks/>
              </p:cNvSpPr>
              <p:nvPr/>
            </p:nvSpPr>
            <p:spPr bwMode="auto">
              <a:xfrm>
                <a:off x="2232" y="2060"/>
                <a:ext cx="64" cy="64"/>
              </a:xfrm>
              <a:custGeom>
                <a:avLst/>
                <a:gdLst/>
                <a:ahLst/>
                <a:cxnLst>
                  <a:cxn ang="0">
                    <a:pos x="264" y="0"/>
                  </a:cxn>
                  <a:cxn ang="0">
                    <a:pos x="77" y="78"/>
                  </a:cxn>
                  <a:cxn ang="0">
                    <a:pos x="77" y="78"/>
                  </a:cxn>
                  <a:cxn ang="0">
                    <a:pos x="0" y="265"/>
                  </a:cxn>
                  <a:cxn ang="0">
                    <a:pos x="71" y="265"/>
                  </a:cxn>
                  <a:cxn ang="0">
                    <a:pos x="127" y="128"/>
                  </a:cxn>
                  <a:cxn ang="0">
                    <a:pos x="128" y="128"/>
                  </a:cxn>
                  <a:cxn ang="0">
                    <a:pos x="264" y="72"/>
                  </a:cxn>
                  <a:cxn ang="0">
                    <a:pos x="264" y="72"/>
                  </a:cxn>
                  <a:cxn ang="0">
                    <a:pos x="264" y="0"/>
                  </a:cxn>
                </a:cxnLst>
                <a:rect l="0" t="0" r="r" b="b"/>
                <a:pathLst>
                  <a:path w="264" h="265">
                    <a:moveTo>
                      <a:pt x="264" y="0"/>
                    </a:moveTo>
                    <a:cubicBezTo>
                      <a:pt x="191" y="0"/>
                      <a:pt x="125" y="30"/>
                      <a:pt x="77" y="78"/>
                    </a:cubicBezTo>
                    <a:lnTo>
                      <a:pt x="77" y="78"/>
                    </a:lnTo>
                    <a:cubicBezTo>
                      <a:pt x="29" y="126"/>
                      <a:pt x="0" y="192"/>
                      <a:pt x="0" y="265"/>
                    </a:cubicBezTo>
                    <a:lnTo>
                      <a:pt x="71" y="265"/>
                    </a:lnTo>
                    <a:cubicBezTo>
                      <a:pt x="71" y="211"/>
                      <a:pt x="93" y="163"/>
                      <a:pt x="127" y="128"/>
                    </a:cubicBezTo>
                    <a:lnTo>
                      <a:pt x="128" y="128"/>
                    </a:lnTo>
                    <a:cubicBezTo>
                      <a:pt x="162" y="93"/>
                      <a:pt x="211" y="72"/>
                      <a:pt x="264" y="72"/>
                    </a:cubicBezTo>
                    <a:lnTo>
                      <a:pt x="264" y="72"/>
                    </a:lnTo>
                    <a:lnTo>
                      <a:pt x="26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3" name="Freeform 1267"/>
              <p:cNvSpPr>
                <a:spLocks/>
              </p:cNvSpPr>
              <p:nvPr/>
            </p:nvSpPr>
            <p:spPr bwMode="auto">
              <a:xfrm>
                <a:off x="2237" y="2065"/>
                <a:ext cx="59" cy="59"/>
              </a:xfrm>
              <a:custGeom>
                <a:avLst/>
                <a:gdLst/>
                <a:ahLst/>
                <a:cxnLst>
                  <a:cxn ang="0">
                    <a:pos x="242" y="0"/>
                  </a:cxn>
                  <a:cxn ang="0">
                    <a:pos x="71" y="71"/>
                  </a:cxn>
                  <a:cxn ang="0">
                    <a:pos x="71" y="71"/>
                  </a:cxn>
                  <a:cxn ang="0">
                    <a:pos x="0" y="242"/>
                  </a:cxn>
                  <a:cxn ang="0">
                    <a:pos x="65" y="242"/>
                  </a:cxn>
                  <a:cxn ang="0">
                    <a:pos x="117" y="117"/>
                  </a:cxn>
                  <a:cxn ang="0">
                    <a:pos x="117" y="117"/>
                  </a:cxn>
                  <a:cxn ang="0">
                    <a:pos x="242" y="65"/>
                  </a:cxn>
                  <a:cxn ang="0">
                    <a:pos x="242" y="65"/>
                  </a:cxn>
                  <a:cxn ang="0">
                    <a:pos x="242" y="0"/>
                  </a:cxn>
                </a:cxnLst>
                <a:rect l="0" t="0" r="r" b="b"/>
                <a:pathLst>
                  <a:path w="242" h="242">
                    <a:moveTo>
                      <a:pt x="242" y="0"/>
                    </a:moveTo>
                    <a:cubicBezTo>
                      <a:pt x="175" y="0"/>
                      <a:pt x="115" y="27"/>
                      <a:pt x="71" y="71"/>
                    </a:cubicBezTo>
                    <a:lnTo>
                      <a:pt x="71" y="71"/>
                    </a:lnTo>
                    <a:cubicBezTo>
                      <a:pt x="27" y="115"/>
                      <a:pt x="0" y="175"/>
                      <a:pt x="0" y="242"/>
                    </a:cubicBezTo>
                    <a:lnTo>
                      <a:pt x="65" y="242"/>
                    </a:lnTo>
                    <a:cubicBezTo>
                      <a:pt x="65" y="193"/>
                      <a:pt x="85" y="149"/>
                      <a:pt x="117" y="117"/>
                    </a:cubicBezTo>
                    <a:lnTo>
                      <a:pt x="117" y="117"/>
                    </a:lnTo>
                    <a:cubicBezTo>
                      <a:pt x="149" y="85"/>
                      <a:pt x="193" y="65"/>
                      <a:pt x="242" y="65"/>
                    </a:cubicBezTo>
                    <a:lnTo>
                      <a:pt x="242" y="65"/>
                    </a:lnTo>
                    <a:lnTo>
                      <a:pt x="242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4" name="Freeform 1268"/>
              <p:cNvSpPr>
                <a:spLocks/>
              </p:cNvSpPr>
              <p:nvPr/>
            </p:nvSpPr>
            <p:spPr bwMode="auto">
              <a:xfrm>
                <a:off x="2243" y="2071"/>
                <a:ext cx="53" cy="53"/>
              </a:xfrm>
              <a:custGeom>
                <a:avLst/>
                <a:gdLst/>
                <a:ahLst/>
                <a:cxnLst>
                  <a:cxn ang="0">
                    <a:pos x="219" y="0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0" y="219"/>
                  </a:cxn>
                  <a:cxn ang="0">
                    <a:pos x="59" y="219"/>
                  </a:cxn>
                  <a:cxn ang="0">
                    <a:pos x="106" y="106"/>
                  </a:cxn>
                  <a:cxn ang="0">
                    <a:pos x="106" y="106"/>
                  </a:cxn>
                  <a:cxn ang="0">
                    <a:pos x="219" y="59"/>
                  </a:cxn>
                  <a:cxn ang="0">
                    <a:pos x="219" y="59"/>
                  </a:cxn>
                  <a:cxn ang="0">
                    <a:pos x="219" y="0"/>
                  </a:cxn>
                </a:cxnLst>
                <a:rect l="0" t="0" r="r" b="b"/>
                <a:pathLst>
                  <a:path w="219" h="219">
                    <a:moveTo>
                      <a:pt x="219" y="0"/>
                    </a:moveTo>
                    <a:cubicBezTo>
                      <a:pt x="159" y="0"/>
                      <a:pt x="104" y="24"/>
                      <a:pt x="64" y="64"/>
                    </a:cubicBezTo>
                    <a:lnTo>
                      <a:pt x="64" y="64"/>
                    </a:lnTo>
                    <a:cubicBezTo>
                      <a:pt x="25" y="104"/>
                      <a:pt x="0" y="158"/>
                      <a:pt x="0" y="219"/>
                    </a:cubicBezTo>
                    <a:lnTo>
                      <a:pt x="59" y="219"/>
                    </a:lnTo>
                    <a:cubicBezTo>
                      <a:pt x="59" y="175"/>
                      <a:pt x="77" y="135"/>
                      <a:pt x="106" y="106"/>
                    </a:cubicBezTo>
                    <a:lnTo>
                      <a:pt x="106" y="106"/>
                    </a:lnTo>
                    <a:cubicBezTo>
                      <a:pt x="135" y="77"/>
                      <a:pt x="175" y="59"/>
                      <a:pt x="219" y="59"/>
                    </a:cubicBezTo>
                    <a:lnTo>
                      <a:pt x="219" y="59"/>
                    </a:lnTo>
                    <a:lnTo>
                      <a:pt x="219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5" name="Freeform 1269"/>
              <p:cNvSpPr>
                <a:spLocks/>
              </p:cNvSpPr>
              <p:nvPr/>
            </p:nvSpPr>
            <p:spPr bwMode="auto">
              <a:xfrm>
                <a:off x="2249" y="2076"/>
                <a:ext cx="47" cy="48"/>
              </a:xfrm>
              <a:custGeom>
                <a:avLst/>
                <a:gdLst/>
                <a:ahLst/>
                <a:cxnLst>
                  <a:cxn ang="0">
                    <a:pos x="196" y="0"/>
                  </a:cxn>
                  <a:cxn ang="0">
                    <a:pos x="57" y="58"/>
                  </a:cxn>
                  <a:cxn ang="0">
                    <a:pos x="57" y="58"/>
                  </a:cxn>
                  <a:cxn ang="0">
                    <a:pos x="0" y="197"/>
                  </a:cxn>
                  <a:cxn ang="0">
                    <a:pos x="53" y="197"/>
                  </a:cxn>
                  <a:cxn ang="0">
                    <a:pos x="95" y="95"/>
                  </a:cxn>
                  <a:cxn ang="0">
                    <a:pos x="95" y="95"/>
                  </a:cxn>
                  <a:cxn ang="0">
                    <a:pos x="196" y="53"/>
                  </a:cxn>
                  <a:cxn ang="0">
                    <a:pos x="196" y="53"/>
                  </a:cxn>
                  <a:cxn ang="0">
                    <a:pos x="196" y="0"/>
                  </a:cxn>
                </a:cxnLst>
                <a:rect l="0" t="0" r="r" b="b"/>
                <a:pathLst>
                  <a:path w="196" h="197">
                    <a:moveTo>
                      <a:pt x="196" y="0"/>
                    </a:moveTo>
                    <a:cubicBezTo>
                      <a:pt x="142" y="0"/>
                      <a:pt x="93" y="22"/>
                      <a:pt x="57" y="58"/>
                    </a:cubicBezTo>
                    <a:lnTo>
                      <a:pt x="57" y="58"/>
                    </a:lnTo>
                    <a:cubicBezTo>
                      <a:pt x="22" y="94"/>
                      <a:pt x="0" y="143"/>
                      <a:pt x="0" y="197"/>
                    </a:cubicBezTo>
                    <a:lnTo>
                      <a:pt x="53" y="197"/>
                    </a:lnTo>
                    <a:cubicBezTo>
                      <a:pt x="53" y="157"/>
                      <a:pt x="69" y="121"/>
                      <a:pt x="95" y="95"/>
                    </a:cubicBezTo>
                    <a:lnTo>
                      <a:pt x="95" y="95"/>
                    </a:lnTo>
                    <a:cubicBezTo>
                      <a:pt x="121" y="69"/>
                      <a:pt x="157" y="53"/>
                      <a:pt x="196" y="53"/>
                    </a:cubicBezTo>
                    <a:lnTo>
                      <a:pt x="196" y="53"/>
                    </a:lnTo>
                    <a:lnTo>
                      <a:pt x="196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6" name="Freeform 1270"/>
              <p:cNvSpPr>
                <a:spLocks/>
              </p:cNvSpPr>
              <p:nvPr/>
            </p:nvSpPr>
            <p:spPr bwMode="auto">
              <a:xfrm>
                <a:off x="2254" y="2082"/>
                <a:ext cx="42" cy="42"/>
              </a:xfrm>
              <a:custGeom>
                <a:avLst/>
                <a:gdLst/>
                <a:ahLst/>
                <a:cxnLst>
                  <a:cxn ang="0">
                    <a:pos x="174" y="0"/>
                  </a:cxn>
                  <a:cxn ang="0">
                    <a:pos x="51" y="51"/>
                  </a:cxn>
                  <a:cxn ang="0">
                    <a:pos x="51" y="51"/>
                  </a:cxn>
                  <a:cxn ang="0">
                    <a:pos x="0" y="174"/>
                  </a:cxn>
                  <a:cxn ang="0">
                    <a:pos x="47" y="174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174" y="47"/>
                  </a:cxn>
                  <a:cxn ang="0">
                    <a:pos x="174" y="47"/>
                  </a:cxn>
                  <a:cxn ang="0">
                    <a:pos x="174" y="0"/>
                  </a:cxn>
                </a:cxnLst>
                <a:rect l="0" t="0" r="r" b="b"/>
                <a:pathLst>
                  <a:path w="174" h="174">
                    <a:moveTo>
                      <a:pt x="174" y="0"/>
                    </a:moveTo>
                    <a:cubicBezTo>
                      <a:pt x="126" y="0"/>
                      <a:pt x="83" y="19"/>
                      <a:pt x="51" y="51"/>
                    </a:cubicBezTo>
                    <a:lnTo>
                      <a:pt x="51" y="51"/>
                    </a:lnTo>
                    <a:cubicBezTo>
                      <a:pt x="20" y="83"/>
                      <a:pt x="0" y="126"/>
                      <a:pt x="0" y="174"/>
                    </a:cubicBezTo>
                    <a:lnTo>
                      <a:pt x="47" y="174"/>
                    </a:lnTo>
                    <a:cubicBezTo>
                      <a:pt x="47" y="139"/>
                      <a:pt x="61" y="107"/>
                      <a:pt x="84" y="84"/>
                    </a:cubicBezTo>
                    <a:lnTo>
                      <a:pt x="84" y="84"/>
                    </a:lnTo>
                    <a:cubicBezTo>
                      <a:pt x="107" y="61"/>
                      <a:pt x="139" y="47"/>
                      <a:pt x="174" y="47"/>
                    </a:cubicBezTo>
                    <a:lnTo>
                      <a:pt x="174" y="47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7" name="Freeform 1271"/>
              <p:cNvSpPr>
                <a:spLocks/>
              </p:cNvSpPr>
              <p:nvPr/>
            </p:nvSpPr>
            <p:spPr bwMode="auto">
              <a:xfrm>
                <a:off x="2260" y="2088"/>
                <a:ext cx="36" cy="36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0"/>
                  </a:cxn>
                  <a:cxn ang="0">
                    <a:pos x="151" y="40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1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0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0"/>
                      <a:pt x="151" y="40"/>
                    </a:cubicBezTo>
                    <a:lnTo>
                      <a:pt x="151" y="40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8" name="Freeform 1272"/>
              <p:cNvSpPr>
                <a:spLocks/>
              </p:cNvSpPr>
              <p:nvPr/>
            </p:nvSpPr>
            <p:spPr bwMode="auto">
              <a:xfrm>
                <a:off x="2265" y="2093"/>
                <a:ext cx="31" cy="31"/>
              </a:xfrm>
              <a:custGeom>
                <a:avLst/>
                <a:gdLst/>
                <a:ahLst/>
                <a:cxnLst>
                  <a:cxn ang="0">
                    <a:pos x="128" y="0"/>
                  </a:cxn>
                  <a:cxn ang="0">
                    <a:pos x="37" y="38"/>
                  </a:cxn>
                  <a:cxn ang="0">
                    <a:pos x="37" y="38"/>
                  </a:cxn>
                  <a:cxn ang="0">
                    <a:pos x="0" y="129"/>
                  </a:cxn>
                  <a:cxn ang="0">
                    <a:pos x="34" y="129"/>
                  </a:cxn>
                  <a:cxn ang="0">
                    <a:pos x="62" y="62"/>
                  </a:cxn>
                  <a:cxn ang="0">
                    <a:pos x="62" y="63"/>
                  </a:cxn>
                  <a:cxn ang="0">
                    <a:pos x="128" y="35"/>
                  </a:cxn>
                  <a:cxn ang="0">
                    <a:pos x="128" y="35"/>
                  </a:cxn>
                  <a:cxn ang="0">
                    <a:pos x="128" y="0"/>
                  </a:cxn>
                </a:cxnLst>
                <a:rect l="0" t="0" r="r" b="b"/>
                <a:pathLst>
                  <a:path w="128" h="129">
                    <a:moveTo>
                      <a:pt x="128" y="0"/>
                    </a:moveTo>
                    <a:cubicBezTo>
                      <a:pt x="93" y="0"/>
                      <a:pt x="61" y="15"/>
                      <a:pt x="37" y="38"/>
                    </a:cubicBezTo>
                    <a:lnTo>
                      <a:pt x="37" y="38"/>
                    </a:lnTo>
                    <a:cubicBezTo>
                      <a:pt x="14" y="61"/>
                      <a:pt x="0" y="93"/>
                      <a:pt x="0" y="129"/>
                    </a:cubicBezTo>
                    <a:lnTo>
                      <a:pt x="34" y="129"/>
                    </a:lnTo>
                    <a:cubicBezTo>
                      <a:pt x="34" y="103"/>
                      <a:pt x="45" y="79"/>
                      <a:pt x="62" y="62"/>
                    </a:cubicBezTo>
                    <a:lnTo>
                      <a:pt x="62" y="63"/>
                    </a:lnTo>
                    <a:cubicBezTo>
                      <a:pt x="79" y="46"/>
                      <a:pt x="102" y="35"/>
                      <a:pt x="128" y="35"/>
                    </a:cubicBezTo>
                    <a:lnTo>
                      <a:pt x="128" y="35"/>
                    </a:lnTo>
                    <a:lnTo>
                      <a:pt x="12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79" name="Freeform 1273"/>
              <p:cNvSpPr>
                <a:spLocks/>
              </p:cNvSpPr>
              <p:nvPr/>
            </p:nvSpPr>
            <p:spPr bwMode="auto">
              <a:xfrm>
                <a:off x="2271" y="2099"/>
                <a:ext cx="25" cy="25"/>
              </a:xfrm>
              <a:custGeom>
                <a:avLst/>
                <a:gdLst/>
                <a:ahLst/>
                <a:cxnLst>
                  <a:cxn ang="0">
                    <a:pos x="105" y="0"/>
                  </a:cxn>
                  <a:cxn ang="0">
                    <a:pos x="30" y="31"/>
                  </a:cxn>
                  <a:cxn ang="0">
                    <a:pos x="30" y="31"/>
                  </a:cxn>
                  <a:cxn ang="0">
                    <a:pos x="0" y="106"/>
                  </a:cxn>
                  <a:cxn ang="0">
                    <a:pos x="28" y="106"/>
                  </a:cxn>
                  <a:cxn ang="0">
                    <a:pos x="51" y="51"/>
                  </a:cxn>
                  <a:cxn ang="0">
                    <a:pos x="51" y="51"/>
                  </a:cxn>
                  <a:cxn ang="0">
                    <a:pos x="105" y="29"/>
                  </a:cxn>
                  <a:cxn ang="0">
                    <a:pos x="105" y="29"/>
                  </a:cxn>
                  <a:cxn ang="0">
                    <a:pos x="105" y="0"/>
                  </a:cxn>
                </a:cxnLst>
                <a:rect l="0" t="0" r="r" b="b"/>
                <a:pathLst>
                  <a:path w="105" h="106">
                    <a:moveTo>
                      <a:pt x="105" y="0"/>
                    </a:moveTo>
                    <a:cubicBezTo>
                      <a:pt x="76" y="0"/>
                      <a:pt x="50" y="12"/>
                      <a:pt x="30" y="31"/>
                    </a:cubicBezTo>
                    <a:lnTo>
                      <a:pt x="30" y="31"/>
                    </a:lnTo>
                    <a:cubicBezTo>
                      <a:pt x="11" y="50"/>
                      <a:pt x="0" y="77"/>
                      <a:pt x="0" y="106"/>
                    </a:cubicBezTo>
                    <a:lnTo>
                      <a:pt x="28" y="106"/>
                    </a:lnTo>
                    <a:cubicBezTo>
                      <a:pt x="28" y="84"/>
                      <a:pt x="37" y="65"/>
                      <a:pt x="51" y="51"/>
                    </a:cubicBezTo>
                    <a:lnTo>
                      <a:pt x="51" y="51"/>
                    </a:lnTo>
                    <a:cubicBezTo>
                      <a:pt x="65" y="37"/>
                      <a:pt x="84" y="29"/>
                      <a:pt x="105" y="29"/>
                    </a:cubicBezTo>
                    <a:lnTo>
                      <a:pt x="105" y="29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80" name="Freeform 1274"/>
              <p:cNvSpPr>
                <a:spLocks/>
              </p:cNvSpPr>
              <p:nvPr/>
            </p:nvSpPr>
            <p:spPr bwMode="auto">
              <a:xfrm>
                <a:off x="2276" y="2104"/>
                <a:ext cx="20" cy="20"/>
              </a:xfrm>
              <a:custGeom>
                <a:avLst/>
                <a:gdLst/>
                <a:ahLst/>
                <a:cxnLst>
                  <a:cxn ang="0">
                    <a:pos x="83" y="0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0" y="83"/>
                  </a:cxn>
                  <a:cxn ang="0">
                    <a:pos x="11" y="83"/>
                  </a:cxn>
                  <a:cxn ang="0">
                    <a:pos x="22" y="83"/>
                  </a:cxn>
                  <a:cxn ang="0">
                    <a:pos x="83" y="83"/>
                  </a:cxn>
                  <a:cxn ang="0">
                    <a:pos x="83" y="59"/>
                  </a:cxn>
                  <a:cxn ang="0">
                    <a:pos x="83" y="53"/>
                  </a:cxn>
                  <a:cxn ang="0">
                    <a:pos x="83" y="22"/>
                  </a:cxn>
                  <a:cxn ang="0">
                    <a:pos x="83" y="22"/>
                  </a:cxn>
                  <a:cxn ang="0">
                    <a:pos x="83" y="19"/>
                  </a:cxn>
                  <a:cxn ang="0">
                    <a:pos x="83" y="0"/>
                  </a:cxn>
                </a:cxnLst>
                <a:rect l="0" t="0" r="r" b="b"/>
                <a:pathLst>
                  <a:path w="83" h="83">
                    <a:moveTo>
                      <a:pt x="83" y="0"/>
                    </a:moveTo>
                    <a:cubicBezTo>
                      <a:pt x="60" y="0"/>
                      <a:pt x="39" y="9"/>
                      <a:pt x="24" y="24"/>
                    </a:cubicBezTo>
                    <a:lnTo>
                      <a:pt x="24" y="24"/>
                    </a:lnTo>
                    <a:cubicBezTo>
                      <a:pt x="9" y="39"/>
                      <a:pt x="0" y="60"/>
                      <a:pt x="0" y="83"/>
                    </a:cubicBezTo>
                    <a:lnTo>
                      <a:pt x="11" y="83"/>
                    </a:lnTo>
                    <a:lnTo>
                      <a:pt x="22" y="83"/>
                    </a:lnTo>
                    <a:lnTo>
                      <a:pt x="83" y="83"/>
                    </a:lnTo>
                    <a:lnTo>
                      <a:pt x="83" y="59"/>
                    </a:lnTo>
                    <a:lnTo>
                      <a:pt x="83" y="53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3" y="19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81" name="Freeform 1275"/>
              <p:cNvSpPr>
                <a:spLocks/>
              </p:cNvSpPr>
              <p:nvPr/>
            </p:nvSpPr>
            <p:spPr bwMode="auto">
              <a:xfrm>
                <a:off x="2282" y="2110"/>
                <a:ext cx="14" cy="14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17" y="18"/>
                  </a:cxn>
                  <a:cxn ang="0">
                    <a:pos x="17" y="18"/>
                  </a:cxn>
                  <a:cxn ang="0">
                    <a:pos x="0" y="61"/>
                  </a:cxn>
                  <a:cxn ang="0">
                    <a:pos x="8" y="61"/>
                  </a:cxn>
                  <a:cxn ang="0">
                    <a:pos x="16" y="61"/>
                  </a:cxn>
                  <a:cxn ang="0">
                    <a:pos x="60" y="61"/>
                  </a:cxn>
                  <a:cxn ang="0">
                    <a:pos x="60" y="43"/>
                  </a:cxn>
                  <a:cxn ang="0">
                    <a:pos x="60" y="39"/>
                  </a:cxn>
                  <a:cxn ang="0">
                    <a:pos x="60" y="17"/>
                  </a:cxn>
                  <a:cxn ang="0">
                    <a:pos x="60" y="17"/>
                  </a:cxn>
                  <a:cxn ang="0">
                    <a:pos x="60" y="14"/>
                  </a:cxn>
                  <a:cxn ang="0">
                    <a:pos x="60" y="0"/>
                  </a:cxn>
                </a:cxnLst>
                <a:rect l="0" t="0" r="r" b="b"/>
                <a:pathLst>
                  <a:path w="60" h="61">
                    <a:moveTo>
                      <a:pt x="60" y="0"/>
                    </a:moveTo>
                    <a:cubicBezTo>
                      <a:pt x="44" y="0"/>
                      <a:pt x="28" y="7"/>
                      <a:pt x="17" y="18"/>
                    </a:cubicBezTo>
                    <a:lnTo>
                      <a:pt x="17" y="18"/>
                    </a:lnTo>
                    <a:cubicBezTo>
                      <a:pt x="6" y="29"/>
                      <a:pt x="0" y="44"/>
                      <a:pt x="0" y="61"/>
                    </a:cubicBezTo>
                    <a:lnTo>
                      <a:pt x="8" y="61"/>
                    </a:lnTo>
                    <a:lnTo>
                      <a:pt x="16" y="61"/>
                    </a:lnTo>
                    <a:lnTo>
                      <a:pt x="60" y="61"/>
                    </a:lnTo>
                    <a:lnTo>
                      <a:pt x="60" y="43"/>
                    </a:lnTo>
                    <a:lnTo>
                      <a:pt x="60" y="39"/>
                    </a:lnTo>
                    <a:lnTo>
                      <a:pt x="60" y="17"/>
                    </a:lnTo>
                    <a:lnTo>
                      <a:pt x="60" y="17"/>
                    </a:lnTo>
                    <a:lnTo>
                      <a:pt x="60" y="14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82" name="Freeform 1276"/>
              <p:cNvSpPr>
                <a:spLocks/>
              </p:cNvSpPr>
              <p:nvPr/>
            </p:nvSpPr>
            <p:spPr bwMode="auto">
              <a:xfrm>
                <a:off x="2287" y="2115"/>
                <a:ext cx="9" cy="9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11" y="11"/>
                  </a:cxn>
                  <a:cxn ang="0">
                    <a:pos x="11" y="11"/>
                  </a:cxn>
                  <a:cxn ang="0">
                    <a:pos x="0" y="38"/>
                  </a:cxn>
                  <a:cxn ang="0">
                    <a:pos x="38" y="38"/>
                  </a:cxn>
                  <a:cxn ang="0">
                    <a:pos x="38" y="27"/>
                  </a:cxn>
                  <a:cxn ang="0">
                    <a:pos x="38" y="24"/>
                  </a:cxn>
                  <a:cxn ang="0">
                    <a:pos x="38" y="10"/>
                  </a:cxn>
                  <a:cxn ang="0">
                    <a:pos x="38" y="10"/>
                  </a:cxn>
                  <a:cxn ang="0">
                    <a:pos x="38" y="9"/>
                  </a:cxn>
                  <a:cxn ang="0">
                    <a:pos x="38" y="0"/>
                  </a:cxn>
                </a:cxnLst>
                <a:rect l="0" t="0" r="r" b="b"/>
                <a:pathLst>
                  <a:path w="38" h="38">
                    <a:moveTo>
                      <a:pt x="38" y="0"/>
                    </a:moveTo>
                    <a:cubicBezTo>
                      <a:pt x="28" y="0"/>
                      <a:pt x="18" y="4"/>
                      <a:pt x="11" y="11"/>
                    </a:cubicBezTo>
                    <a:lnTo>
                      <a:pt x="11" y="11"/>
                    </a:lnTo>
                    <a:cubicBezTo>
                      <a:pt x="5" y="18"/>
                      <a:pt x="0" y="27"/>
                      <a:pt x="0" y="38"/>
                    </a:cubicBezTo>
                    <a:lnTo>
                      <a:pt x="38" y="38"/>
                    </a:lnTo>
                    <a:lnTo>
                      <a:pt x="38" y="27"/>
                    </a:lnTo>
                    <a:lnTo>
                      <a:pt x="38" y="2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9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83" name="Freeform 1277"/>
              <p:cNvSpPr>
                <a:spLocks/>
              </p:cNvSpPr>
              <p:nvPr/>
            </p:nvSpPr>
            <p:spPr bwMode="auto">
              <a:xfrm>
                <a:off x="2293" y="2121"/>
                <a:ext cx="3" cy="3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15"/>
                  </a:cxn>
                  <a:cxn ang="0">
                    <a:pos x="15" y="15"/>
                  </a:cxn>
                  <a:cxn ang="0">
                    <a:pos x="15" y="10"/>
                  </a:cxn>
                  <a:cxn ang="0">
                    <a:pos x="15" y="9"/>
                  </a:cxn>
                  <a:cxn ang="0">
                    <a:pos x="15" y="4"/>
                  </a:cxn>
                  <a:cxn ang="0">
                    <a:pos x="15" y="4"/>
                  </a:cxn>
                  <a:cxn ang="0">
                    <a:pos x="15" y="3"/>
                  </a:cxn>
                  <a:cxn ang="0">
                    <a:pos x="15" y="0"/>
                  </a:cxn>
                </a:cxnLst>
                <a:rect l="0" t="0" r="r" b="b"/>
                <a:pathLst>
                  <a:path w="15" h="15">
                    <a:moveTo>
                      <a:pt x="15" y="0"/>
                    </a:moveTo>
                    <a:cubicBezTo>
                      <a:pt x="11" y="0"/>
                      <a:pt x="7" y="1"/>
                      <a:pt x="4" y="4"/>
                    </a:cubicBezTo>
                    <a:lnTo>
                      <a:pt x="4" y="4"/>
                    </a:lnTo>
                    <a:cubicBezTo>
                      <a:pt x="2" y="7"/>
                      <a:pt x="0" y="11"/>
                      <a:pt x="0" y="15"/>
                    </a:cubicBezTo>
                    <a:lnTo>
                      <a:pt x="15" y="15"/>
                    </a:lnTo>
                    <a:lnTo>
                      <a:pt x="15" y="10"/>
                    </a:lnTo>
                    <a:lnTo>
                      <a:pt x="15" y="9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5" y="3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84" name="Freeform 1278"/>
              <p:cNvSpPr>
                <a:spLocks/>
              </p:cNvSpPr>
              <p:nvPr/>
            </p:nvSpPr>
            <p:spPr bwMode="auto">
              <a:xfrm>
                <a:off x="2157" y="2124"/>
                <a:ext cx="139" cy="3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75" y="0"/>
                  </a:cxn>
                  <a:cxn ang="0">
                    <a:pos x="575" y="63"/>
                  </a:cxn>
                  <a:cxn ang="0">
                    <a:pos x="507" y="125"/>
                  </a:cxn>
                  <a:cxn ang="0">
                    <a:pos x="68" y="125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575" h="125">
                    <a:moveTo>
                      <a:pt x="0" y="0"/>
                    </a:moveTo>
                    <a:lnTo>
                      <a:pt x="575" y="0"/>
                    </a:lnTo>
                    <a:lnTo>
                      <a:pt x="575" y="63"/>
                    </a:lnTo>
                    <a:cubicBezTo>
                      <a:pt x="575" y="97"/>
                      <a:pt x="545" y="125"/>
                      <a:pt x="507" y="125"/>
                    </a:cubicBezTo>
                    <a:lnTo>
                      <a:pt x="68" y="125"/>
                    </a:lnTo>
                    <a:cubicBezTo>
                      <a:pt x="31" y="125"/>
                      <a:pt x="0" y="97"/>
                      <a:pt x="0" y="63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85" name="Rectangle 1279"/>
              <p:cNvSpPr>
                <a:spLocks noChangeArrowheads="1"/>
              </p:cNvSpPr>
              <p:nvPr/>
            </p:nvSpPr>
            <p:spPr bwMode="auto">
              <a:xfrm>
                <a:off x="1828" y="2124"/>
                <a:ext cx="329" cy="15"/>
              </a:xfrm>
              <a:prstGeom prst="rect">
                <a:avLst/>
              </a:prstGeom>
              <a:solidFill>
                <a:srgbClr val="04688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86" name="Rectangle 1280"/>
              <p:cNvSpPr>
                <a:spLocks noChangeArrowheads="1"/>
              </p:cNvSpPr>
              <p:nvPr/>
            </p:nvSpPr>
            <p:spPr bwMode="auto">
              <a:xfrm>
                <a:off x="2171" y="2124"/>
                <a:ext cx="111" cy="12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  <p:sp>
            <p:nvSpPr>
              <p:cNvPr id="87" name="Rectangle 1281"/>
              <p:cNvSpPr>
                <a:spLocks noChangeArrowheads="1"/>
              </p:cNvSpPr>
              <p:nvPr/>
            </p:nvSpPr>
            <p:spPr bwMode="auto">
              <a:xfrm>
                <a:off x="2171" y="2124"/>
                <a:ext cx="111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  <a:sym typeface="Helvetica"/>
                </a:endParaRP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9758680" y="4826000"/>
              <a:ext cx="1661160" cy="1005840"/>
            </a:xfrm>
            <a:prstGeom prst="rect">
              <a:avLst/>
            </a:prstGeom>
            <a:solidFill>
              <a:srgbClr val="ECF0FA"/>
            </a:solidFill>
          </p:spPr>
          <p:txBody>
            <a:bodyPr wrap="square" rtlCol="0">
              <a:noAutofit/>
            </a:bodyPr>
            <a:lstStyle/>
            <a:p>
              <a:endParaRPr lang="ru-RU" b="1" dirty="0">
                <a:solidFill>
                  <a:srgbClr val="008F96"/>
                </a:solidFill>
                <a:sym typeface="Helvetica"/>
              </a:endParaRPr>
            </a:p>
          </p:txBody>
        </p:sp>
      </p:grpSp>
      <p:pic>
        <p:nvPicPr>
          <p:cNvPr id="1288" name="Объект 4"/>
          <p:cNvPicPr>
            <a:picLocks noChangeAspect="1"/>
          </p:cNvPicPr>
          <p:nvPr/>
        </p:nvPicPr>
        <p:blipFill rotWithShape="1">
          <a:blip r:embed="rId9"/>
          <a:srcRect l="37699" t="18208" r="37339" b="24735"/>
          <a:stretch/>
        </p:blipFill>
        <p:spPr>
          <a:xfrm>
            <a:off x="5997183" y="1965487"/>
            <a:ext cx="1719304" cy="2210535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8" name="Объект 5"/>
          <p:cNvPicPr>
            <a:picLocks noGrp="1" noChangeAspect="1"/>
          </p:cNvPicPr>
          <p:nvPr>
            <p:ph idx="1"/>
          </p:nvPr>
        </p:nvPicPr>
        <p:blipFill rotWithShape="1">
          <a:blip r:embed="rId10"/>
          <a:srcRect l="37639" t="16329" r="37339" b="24734"/>
          <a:stretch/>
        </p:blipFill>
        <p:spPr>
          <a:xfrm>
            <a:off x="7513910" y="4120700"/>
            <a:ext cx="1579604" cy="2191826"/>
          </a:xfrm>
          <a:prstGeom prst="rect">
            <a:avLst/>
          </a:prstGeom>
          <a:ln w="381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0835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7"/>
          <p:cNvSpPr txBox="1">
            <a:spLocks noGrp="1"/>
          </p:cNvSpPr>
          <p:nvPr>
            <p:ph type="title"/>
          </p:nvPr>
        </p:nvSpPr>
        <p:spPr>
          <a:xfrm>
            <a:off x="914400" y="116632"/>
            <a:ext cx="8229600" cy="523220"/>
          </a:xfrm>
          <a:prstGeom prst="rect">
            <a:avLst/>
          </a:prstGeom>
          <a:solidFill>
            <a:srgbClr val="FFFFFF"/>
          </a:solidFill>
          <a:ln w="25400">
            <a:noFill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tIns="45720" rIns="45719" bIns="45720">
            <a:spAutoFit/>
          </a:bodyPr>
          <a:lstStyle/>
          <a:p>
            <a:pPr>
              <a:defRPr b="1">
                <a:latin typeface="+mj-lt"/>
                <a:ea typeface="+mj-ea"/>
                <a:cs typeface="+mj-cs"/>
                <a:sym typeface="Helvetica"/>
              </a:defRPr>
            </a:pPr>
            <a:r>
              <a:rPr lang="ru-RU" sz="2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Ф</a:t>
            </a:r>
            <a:r>
              <a:rPr lang="ru-RU" sz="2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ормирование </a:t>
            </a:r>
            <a:r>
              <a:rPr lang="ru-RU" sz="2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функциональной грамотности</a:t>
            </a:r>
            <a:endParaRPr sz="2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1" name="Рисунок 4" descr="Рисунок 4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/>
          </a:blip>
          <a:stretch>
            <a:fillRect/>
          </a:stretch>
        </p:blipFill>
        <p:spPr>
          <a:xfrm>
            <a:off x="1043608" y="1340768"/>
            <a:ext cx="3154832" cy="4364392"/>
          </a:xfrm>
          <a:prstGeom prst="rect">
            <a:avLst/>
          </a:prstGeom>
          <a:ln w="12700">
            <a:miter lim="400000"/>
          </a:ln>
          <a:effectLst>
            <a:reflection stA="30000" endPos="40000" dir="5400000" sy="-100000" algn="bl" rotWithShape="0"/>
          </a:effectLst>
        </p:spPr>
      </p:pic>
      <p:sp>
        <p:nvSpPr>
          <p:cNvPr id="9" name="Объект 8"/>
          <p:cNvSpPr>
            <a:spLocks noGrp="1"/>
          </p:cNvSpPr>
          <p:nvPr>
            <p:ph sz="half" idx="2"/>
          </p:nvPr>
        </p:nvSpPr>
        <p:spPr>
          <a:xfrm>
            <a:off x="4427985" y="1340768"/>
            <a:ext cx="4505704" cy="4846672"/>
          </a:xfrm>
          <a:ln>
            <a:solidFill>
              <a:srgbClr val="FF0000"/>
            </a:solidFill>
          </a:ln>
        </p:spPr>
        <p:txBody>
          <a:bodyPr>
            <a:normAutofit fontScale="70000" lnSpcReduction="20000"/>
          </a:bodyPr>
          <a:lstStyle/>
          <a:p>
            <a:pPr algn="just">
              <a:defRPr sz="2400">
                <a:solidFill>
                  <a:srgbClr val="294891"/>
                </a:solidFill>
              </a:defRPr>
            </a:pPr>
            <a:r>
              <a:rPr lang="ru-RU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знакомьтесь с рецептом приготовления </a:t>
            </a:r>
          </a:p>
          <a:p>
            <a:pPr marL="0" indent="0" algn="just">
              <a:buNone/>
              <a:defRPr sz="2400">
                <a:solidFill>
                  <a:srgbClr val="294891"/>
                </a:solidFill>
              </a:defRPr>
            </a:pPr>
            <a:r>
              <a:rPr lang="ru-RU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гречневой </a:t>
            </a:r>
            <a:r>
              <a:rPr lang="ru-RU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ши с грибами и луком</a:t>
            </a:r>
            <a:r>
              <a:rPr lang="ru-RU" dirty="0">
                <a:solidFill>
                  <a:srgbClr val="0070C0"/>
                </a:solidFill>
              </a:rPr>
              <a:t>.</a:t>
            </a:r>
          </a:p>
          <a:p>
            <a:pPr algn="just">
              <a:defRPr>
                <a:solidFill>
                  <a:srgbClr val="FFFFFF"/>
                </a:solidFill>
              </a:defRPr>
            </a:pPr>
            <a:endParaRPr lang="ru-RU" dirty="0">
              <a:solidFill>
                <a:srgbClr val="0070C0"/>
              </a:solidFill>
            </a:endParaRPr>
          </a:p>
          <a:p>
            <a:pPr algn="just">
              <a:defRPr sz="2400" i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стакан гречневой крупы берём половинку луковицы, зубчик чеснока, горсть сушёных белых грибов, несколько шампиньонов. Лук и чеснок мелко нарежьте и обжарьте в подсолнечном масле 2–3 минуты. Всыпьте сухую гречку, обжарьте 3–5 минут, помешивая. На другой сковороде в это время обжарьте на сильном огне нарезанные белые грибы и шампиньоны, добавьте к готовой гречке. Можно заправить кашу зеленью: укропом или петрушкой</a:t>
            </a:r>
            <a:r>
              <a:rPr lang="ru-RU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 algn="just">
              <a:buNone/>
              <a:defRPr sz="2400" i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lang="ru-RU" dirty="0">
              <a:solidFill>
                <a:srgbClr val="0070C0"/>
              </a:solidFill>
            </a:endParaRPr>
          </a:p>
          <a:p>
            <a:pPr algn="just">
              <a:defRPr sz="2000">
                <a:solidFill>
                  <a:srgbClr val="294891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dirty="0">
                <a:solidFill>
                  <a:srgbClr val="FF0000"/>
                </a:solidFill>
              </a:rPr>
              <a:t>Отсутствие какой информации в данном рецепте </a:t>
            </a:r>
            <a:r>
              <a:rPr lang="ru-RU" dirty="0" smtClean="0">
                <a:solidFill>
                  <a:srgbClr val="FF0000"/>
                </a:solidFill>
              </a:rPr>
              <a:t>с </a:t>
            </a:r>
            <a:r>
              <a:rPr lang="ru-RU" dirty="0">
                <a:solidFill>
                  <a:srgbClr val="FF0000"/>
                </a:solidFill>
              </a:rPr>
              <a:t>большой долей </a:t>
            </a:r>
            <a:r>
              <a:rPr lang="ru-RU" b="1" dirty="0">
                <a:solidFill>
                  <a:srgbClr val="FF0000"/>
                </a:solidFill>
              </a:rPr>
              <a:t>вероятности</a:t>
            </a:r>
            <a:r>
              <a:rPr lang="ru-RU" dirty="0">
                <a:solidFill>
                  <a:srgbClr val="FF0000"/>
                </a:solidFill>
              </a:rPr>
              <a:t> помешает приготовлению вкусного и полезного блюда?</a:t>
            </a:r>
          </a:p>
          <a:p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47684" y="6187851"/>
            <a:ext cx="35019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prstClr val="black"/>
                </a:solidFill>
              </a:rPr>
              <a:t>С. В. </a:t>
            </a:r>
            <a:r>
              <a:rPr lang="ru-RU" dirty="0" err="1">
                <a:solidFill>
                  <a:prstClr val="black"/>
                </a:solidFill>
              </a:rPr>
              <a:t>Богомазова</a:t>
            </a:r>
            <a:r>
              <a:rPr lang="ru-RU" dirty="0">
                <a:solidFill>
                  <a:prstClr val="black"/>
                </a:solidFill>
              </a:rPr>
              <a:t>, Н. В. Володько</a:t>
            </a:r>
            <a:r>
              <a:rPr lang="ru-RU" sz="2400" dirty="0">
                <a:solidFill>
                  <a:srgbClr val="0070C0"/>
                </a:solidFill>
              </a:rPr>
              <a:t> 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5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ИМ В ПЕЧАТЬ:</a:t>
            </a:r>
            <a:b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вые системы 7-9</a:t>
            </a:r>
            <a:b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зические системы 7-9</a:t>
            </a:r>
            <a:b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уки о Земле и Вселенной 7-9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722" name="Picture 2" descr="C:\Users\ESindryakova\AppData\Local\Microsoft\Windows\Temporary Internet Files\Content.Outlook\FCAW632U\Maket_2_Zivie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10" y="1676457"/>
            <a:ext cx="7704856" cy="521168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3" name="Picture 3" descr="C:\Users\ESindryakova\AppData\Local\Microsoft\Windows\Temporary Internet Files\Content.Outlook\FCAW632U\Maket_2_Zivie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176" y="3573039"/>
            <a:ext cx="4689238" cy="306896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6026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 flipV="1">
            <a:off x="1043608" y="1417638"/>
            <a:ext cx="7643192" cy="2875458"/>
          </a:xfrm>
        </p:spPr>
        <p:txBody>
          <a:bodyPr/>
          <a:lstStyle/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ГОС ООО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3573044"/>
            <a:ext cx="8219256" cy="2553151"/>
          </a:xfrm>
        </p:spPr>
        <p:txBody>
          <a:bodyPr>
            <a:normAutofit lnSpcReduction="10000"/>
          </a:bodyPr>
          <a:lstStyle/>
          <a:p>
            <a:pPr algn="just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Федеральным государственным образовательным стандартом основного общего образования (ФГОС ООО) образовательное учреждение предоставляет ученикам возможность формирования индивидуальных учебных планов, где должно быть обязательно предусмотрено выполнение обучающимися индивидуального проекта.</a:t>
            </a:r>
          </a:p>
        </p:txBody>
      </p:sp>
      <p:pic>
        <p:nvPicPr>
          <p:cNvPr id="4098" name="Picture 2" descr="http://sch118uz.mskobr.ru/images/project118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8" y="1487565"/>
            <a:ext cx="3816424" cy="2105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3024" y="-99392"/>
            <a:ext cx="9325545" cy="1601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339770" y="620689"/>
            <a:ext cx="40241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ГОС     ООО</a:t>
            </a:r>
          </a:p>
        </p:txBody>
      </p:sp>
    </p:spTree>
    <p:extLst>
      <p:ext uri="{BB962C8B-B14F-4D97-AF65-F5344CB8AC3E}">
        <p14:creationId xmlns:p14="http://schemas.microsoft.com/office/powerpoint/2010/main" val="3862625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НЯТИЕ ПРОЕКТ</a:t>
            </a:r>
            <a:endParaRPr lang="ru-RU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3573044"/>
            <a:ext cx="8208912" cy="2553151"/>
          </a:xfrm>
        </p:spPr>
        <p:txBody>
          <a:bodyPr>
            <a:normAutofit/>
          </a:bodyPr>
          <a:lstStyle/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ная деятельность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егося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вместная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чебнопознавательная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еятельность учащихся, имеющая общую цель, согласованные методы, способы деятельности, направленная на достижение общего результата деятельности. Непременным условием проектной деятельности является наличие заранее выработанных представлений о конечном продукте деятельности, этапов проектирования и реализация проекта, включая эго осмысление и рефлексию результатов деятельности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90" y="1525193"/>
            <a:ext cx="3334661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484809"/>
            <a:ext cx="3182100" cy="1789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24" y="6309320"/>
            <a:ext cx="9144000" cy="45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0904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23994" y="6311262"/>
            <a:ext cx="196525" cy="338550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4</a:t>
            </a:fld>
            <a:endParaRPr lang="en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13" name="Рисунок 12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787864"/>
            <a:ext cx="9144000" cy="70136"/>
          </a:xfrm>
          <a:prstGeom prst="rect">
            <a:avLst/>
          </a:prstGeom>
        </p:spPr>
      </p:pic>
      <p:grpSp>
        <p:nvGrpSpPr>
          <p:cNvPr id="2" name="Группа 31"/>
          <p:cNvGrpSpPr/>
          <p:nvPr/>
        </p:nvGrpSpPr>
        <p:grpSpPr>
          <a:xfrm>
            <a:off x="432697" y="1122828"/>
            <a:ext cx="851606" cy="1448145"/>
            <a:chOff x="684213" y="839788"/>
            <a:chExt cx="1165225" cy="1416049"/>
          </a:xfrm>
        </p:grpSpPr>
        <p:sp>
          <p:nvSpPr>
            <p:cNvPr id="33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34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35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36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pic>
          <p:nvPicPr>
            <p:cNvPr id="37" name="Picture 450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8" name="Название 1"/>
          <p:cNvSpPr txBox="1">
            <a:spLocks/>
          </p:cNvSpPr>
          <p:nvPr/>
        </p:nvSpPr>
        <p:spPr>
          <a:xfrm>
            <a:off x="2581107" y="2556568"/>
            <a:ext cx="6090557" cy="3385362"/>
          </a:xfrm>
          <a:prstGeom prst="rect">
            <a:avLst/>
          </a:prstGeom>
        </p:spPr>
        <p:txBody>
          <a:bodyPr vert="horz" lIns="103888" tIns="51944" rIns="103888" bIns="51944" rtlCol="0" anchor="t" anchorCtr="0">
            <a:noAutofit/>
          </a:bodyPr>
          <a:lstStyle/>
          <a:p>
            <a:pPr marL="342900" indent="-342900" hangingPunct="0"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00000"/>
                </a:solidFill>
                <a:sym typeface="Helvetica"/>
              </a:rPr>
              <a:t>Прорывное научно-технологическое и социально-экономическое развитие России на основе современных технологий и обеспеченное высококвалифицированными кадрами</a:t>
            </a:r>
          </a:p>
          <a:p>
            <a:pPr marL="342900" indent="-342900" hangingPunct="0"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00000"/>
                </a:solidFill>
                <a:sym typeface="Helvetica"/>
              </a:rPr>
              <a:t>Повышение уровня жизни, рост реальных доходов, снижение уровня бедности</a:t>
            </a:r>
          </a:p>
          <a:p>
            <a:pPr marL="342900" indent="-342900" hangingPunct="0"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00000"/>
                </a:solidFill>
                <a:sym typeface="Helvetica"/>
              </a:rPr>
              <a:t>Создание комфортных условий для проживания, экология, безопасность, продолжительность жизни</a:t>
            </a:r>
          </a:p>
          <a:p>
            <a:pPr marL="342900" indent="-342900" hangingPunct="0"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</a:pPr>
            <a:r>
              <a:rPr lang="ru-RU" kern="0" dirty="0">
                <a:solidFill>
                  <a:srgbClr val="000000"/>
                </a:solidFill>
                <a:sym typeface="Helvetica"/>
              </a:rPr>
              <a:t>Создание условий и возможностей для самореализации и раскрытия талантов</a:t>
            </a:r>
          </a:p>
          <a:p>
            <a:pPr marL="342900" indent="-342900" hangingPunct="0">
              <a:spcBef>
                <a:spcPct val="0"/>
              </a:spcBef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  <a:defRPr/>
            </a:pPr>
            <a:endParaRPr lang="ru-RU" kern="0" dirty="0">
              <a:solidFill>
                <a:srgbClr val="A7A7A7">
                  <a:lumMod val="75000"/>
                </a:srgbClr>
              </a:solidFill>
              <a:ea typeface="Verdana" pitchFamily="34" charset="0"/>
              <a:cs typeface="Verdana" pitchFamily="34" charset="0"/>
              <a:sym typeface="Helvetic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22074" y="3286940"/>
            <a:ext cx="2145691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hangingPunct="0">
              <a:lnSpc>
                <a:spcPct val="110000"/>
              </a:lnSpc>
            </a:pPr>
            <a:r>
              <a:rPr lang="ru-RU" b="1" kern="0" dirty="0">
                <a:solidFill>
                  <a:srgbClr val="0073B8"/>
                </a:solidFill>
                <a:sym typeface="Helvetica"/>
              </a:rPr>
              <a:t>ОСНОВНЫЕ НАПРАВЛЕНИЯ </a:t>
            </a:r>
          </a:p>
        </p:txBody>
      </p:sp>
      <p:sp>
        <p:nvSpPr>
          <p:cNvPr id="31" name="Название 1"/>
          <p:cNvSpPr txBox="1">
            <a:spLocks/>
          </p:cNvSpPr>
          <p:nvPr/>
        </p:nvSpPr>
        <p:spPr>
          <a:xfrm>
            <a:off x="1673687" y="1074253"/>
            <a:ext cx="7074777" cy="1503005"/>
          </a:xfrm>
          <a:prstGeom prst="rect">
            <a:avLst/>
          </a:prstGeom>
        </p:spPr>
        <p:txBody>
          <a:bodyPr vert="horz" lIns="103888" tIns="51944" rIns="103888" bIns="51944" rtlCol="0" anchor="t" anchorCtr="0">
            <a:noAutofit/>
          </a:bodyPr>
          <a:lstStyle/>
          <a:p>
            <a:pPr hangingPunct="0">
              <a:lnSpc>
                <a:spcPct val="120000"/>
              </a:lnSpc>
              <a:spcBef>
                <a:spcPct val="0"/>
              </a:spcBef>
              <a:defRPr/>
            </a:pPr>
            <a:r>
              <a:rPr lang="ru-RU" sz="2000" kern="0" dirty="0">
                <a:solidFill>
                  <a:srgbClr val="0073B8"/>
                </a:solidFill>
                <a:ea typeface="Verdana" pitchFamily="34" charset="0"/>
                <a:cs typeface="Verdana" pitchFamily="34" charset="0"/>
                <a:sym typeface="Helvetica"/>
              </a:rPr>
              <a:t>Указ Президента Российской Федерации </a:t>
            </a:r>
            <a:endParaRPr lang="en-US" sz="2000" kern="0" dirty="0">
              <a:solidFill>
                <a:srgbClr val="0073B8"/>
              </a:solidFill>
              <a:latin typeface="Helvetica"/>
              <a:ea typeface="Verdana" pitchFamily="34" charset="0"/>
              <a:cs typeface="Verdana" pitchFamily="34" charset="0"/>
              <a:sym typeface="Helvetica"/>
            </a:endParaRPr>
          </a:p>
          <a:p>
            <a:pPr hangingPunct="0">
              <a:lnSpc>
                <a:spcPct val="120000"/>
              </a:lnSpc>
              <a:spcBef>
                <a:spcPct val="0"/>
              </a:spcBef>
              <a:defRPr/>
            </a:pPr>
            <a:r>
              <a:rPr lang="ru-RU" sz="2000" kern="0" dirty="0">
                <a:solidFill>
                  <a:srgbClr val="0073B8"/>
                </a:solidFill>
                <a:ea typeface="Verdana" pitchFamily="34" charset="0"/>
                <a:cs typeface="Verdana" pitchFamily="34" charset="0"/>
                <a:sym typeface="Helvetica"/>
              </a:rPr>
              <a:t>«</a:t>
            </a:r>
            <a:r>
              <a:rPr lang="ru-RU" sz="2000" b="1" kern="0" dirty="0">
                <a:solidFill>
                  <a:srgbClr val="0073B8"/>
                </a:solidFill>
                <a:ea typeface="Verdana" pitchFamily="34" charset="0"/>
                <a:cs typeface="Verdana" pitchFamily="34" charset="0"/>
                <a:sym typeface="Helvetica"/>
              </a:rPr>
              <a:t>О национальных целях и стратегических задачах развития Российской Федерации на период до 2024 года</a:t>
            </a:r>
            <a:r>
              <a:rPr lang="ru-RU" sz="2000" kern="0" dirty="0">
                <a:solidFill>
                  <a:srgbClr val="0073B8"/>
                </a:solidFill>
                <a:ea typeface="Verdana" pitchFamily="34" charset="0"/>
                <a:cs typeface="Verdana" pitchFamily="34" charset="0"/>
                <a:sym typeface="Helvetica"/>
              </a:rPr>
              <a:t>»</a:t>
            </a:r>
          </a:p>
        </p:txBody>
      </p:sp>
      <p:sp>
        <p:nvSpPr>
          <p:cNvPr id="98" name="Прямоугольник 97"/>
          <p:cNvSpPr/>
          <p:nvPr/>
        </p:nvSpPr>
        <p:spPr>
          <a:xfrm flipH="1">
            <a:off x="0" y="98003"/>
            <a:ext cx="9144000" cy="859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hangingPunct="0"/>
            <a:endParaRPr lang="ru-RU" kern="0">
              <a:solidFill>
                <a:srgbClr val="FFFFFF"/>
              </a:solidFill>
              <a:sym typeface="Helvetica"/>
            </a:endParaRPr>
          </a:p>
        </p:txBody>
      </p:sp>
      <p:sp>
        <p:nvSpPr>
          <p:cNvPr id="99" name="Прямоугольник 98"/>
          <p:cNvSpPr/>
          <p:nvPr/>
        </p:nvSpPr>
        <p:spPr>
          <a:xfrm flipH="1">
            <a:off x="1979712" y="96045"/>
            <a:ext cx="7164288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hangingPunct="0"/>
            <a:endParaRPr lang="ru-RU" kern="0">
              <a:solidFill>
                <a:srgbClr val="FFFFFF"/>
              </a:solidFill>
              <a:sym typeface="Helvetica"/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1551214" y="192428"/>
            <a:ext cx="1538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/>
          <p:cNvSpPr txBox="1"/>
          <p:nvPr/>
        </p:nvSpPr>
        <p:spPr>
          <a:xfrm>
            <a:off x="1673687" y="100258"/>
            <a:ext cx="7258044" cy="76020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hangingPunct="0">
              <a:lnSpc>
                <a:spcPct val="90000"/>
              </a:lnSpc>
            </a:pPr>
            <a:r>
              <a:rPr lang="ru-RU" sz="2300" kern="0" spc="-40" dirty="0">
                <a:solidFill>
                  <a:srgbClr val="294790"/>
                </a:solidFill>
                <a:sym typeface="Helvetica"/>
              </a:rPr>
              <a:t>Инновационное развитие страны и общества: </a:t>
            </a:r>
          </a:p>
          <a:p>
            <a:pPr hangingPunct="0">
              <a:lnSpc>
                <a:spcPct val="90000"/>
              </a:lnSpc>
            </a:pPr>
            <a:r>
              <a:rPr lang="ru-RU" sz="2300" b="1" kern="0" dirty="0">
                <a:solidFill>
                  <a:srgbClr val="294790"/>
                </a:solidFill>
                <a:sym typeface="Helvetica"/>
              </a:rPr>
              <a:t>НОВЫЕ ВЫЗОВЫ</a:t>
            </a:r>
          </a:p>
        </p:txBody>
      </p:sp>
      <p:grpSp>
        <p:nvGrpSpPr>
          <p:cNvPr id="3" name="Группа 44"/>
          <p:cNvGrpSpPr/>
          <p:nvPr/>
        </p:nvGrpSpPr>
        <p:grpSpPr>
          <a:xfrm>
            <a:off x="237448" y="256608"/>
            <a:ext cx="1080050" cy="497938"/>
            <a:chOff x="338369" y="163286"/>
            <a:chExt cx="1440066" cy="497938"/>
          </a:xfrm>
        </p:grpSpPr>
        <p:sp>
          <p:nvSpPr>
            <p:cNvPr id="10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0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  <p:sp>
          <p:nvSpPr>
            <p:cNvPr id="11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hangingPunct="0"/>
              <a:endParaRPr lang="ru-RU" kern="0">
                <a:solidFill>
                  <a:srgbClr val="000000"/>
                </a:solidFill>
                <a:sym typeface="Helvetica"/>
              </a:endParaRPr>
            </a:p>
          </p:txBody>
        </p:sp>
      </p:grpSp>
      <p:sp>
        <p:nvSpPr>
          <p:cNvPr id="39" name="Прямоугольник 38"/>
          <p:cNvSpPr/>
          <p:nvPr/>
        </p:nvSpPr>
        <p:spPr>
          <a:xfrm>
            <a:off x="4427984" y="5941930"/>
            <a:ext cx="4503747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hangingPunct="0"/>
            <a:r>
              <a:rPr lang="en-US" kern="0" dirty="0">
                <a:solidFill>
                  <a:srgbClr val="000000"/>
                </a:solidFill>
                <a:latin typeface="Helvetica"/>
                <a:sym typeface="Helvetica"/>
              </a:rPr>
              <a:t>http://www.kremlin.ru/acts/bank/43027</a:t>
            </a:r>
            <a:endParaRPr lang="ru-RU" kern="0" dirty="0">
              <a:solidFill>
                <a:srgbClr val="000000"/>
              </a:solidFill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456473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3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Ы В ГРУППЕ</a:t>
            </a:r>
            <a:endParaRPr lang="ru-RU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27584" y="3789070"/>
            <a:ext cx="7687766" cy="2387923"/>
          </a:xfrm>
        </p:spPr>
        <p:txBody>
          <a:bodyPr>
            <a:noAutofit/>
          </a:bodyPr>
          <a:lstStyle/>
          <a:p>
            <a:pPr algn="just">
              <a:lnSpc>
                <a:spcPct val="170000"/>
              </a:lnSpc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держательном разделе основной образовательной программы говорится об образовательных программах, ориентированных на достижение личностных, предметных и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етапредметны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езультатов, а также о программе развития универсальных учебных действий (программа формирования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бщеучебны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умений и навыков), включающей в себя формирование компетенций обучающихся в области использования информационно-коммуникационных технологий, учебно-исследовательской и проектной деятельности (образовательные организации могут использовать индивидуальный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и проект в группе)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170" name="Picture 2" descr="https://xn----8sbokcmcteacho2auk1d.xn--1-btbl6aqcj8hc.xn--p1ai/works/578969-w300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556815"/>
            <a:ext cx="3145532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ÐÐ°ÑÑÐ¸Ð½ÐºÐ¸ Ð¿Ð¾ Ð·Ð°Ð¿ÑÐ¾ÑÑ Ð¿ÑÐ¾ÐµÐºÑ ÑÐºÐ¾Ð»ÑÐ½ÑÐ¹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0030" y="1556792"/>
            <a:ext cx="3240360" cy="2106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5030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3" y="44628"/>
            <a:ext cx="7975798" cy="1646065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СЛЕДОВАТЕЛЬСКАЯ   ДЕЯТЕЛЬНОСТЬ</a:t>
            </a:r>
            <a:endParaRPr lang="ru-RU" sz="28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83568" y="3307913"/>
            <a:ext cx="7831782" cy="2869071"/>
          </a:xfrm>
        </p:spPr>
        <p:txBody>
          <a:bodyPr>
            <a:noAutofit/>
          </a:bodyPr>
          <a:lstStyle/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следовательская деятельность обучающегося – деятельность учащихся, связанная с решением творческой задачи с заранее неизвестным решением и предполагающая наличие основных этапов. Этапы для исследования в научной сфере: постановка проблемы, изучение теории, посвященной данной проблематике, подбор методик исследования и практическое овладение ими, сбор собственного материала, его анализ и обобщение, научной комментарий, собственные выводы. Значит и подход к оценке проектной деятельность и исследовательской деятельности будет совершенно иной и выполнять его обучающиеся индивидуально, парами или небольшой командой учеников.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8" y="1268761"/>
            <a:ext cx="3384376" cy="2039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38756"/>
            <a:ext cx="9144000" cy="450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75618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4" name="image1.png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-3" y="6226865"/>
            <a:ext cx="9144004" cy="455669"/>
          </a:xfrm>
          <a:prstGeom prst="rect">
            <a:avLst/>
          </a:prstGeom>
          <a:ln w="12700">
            <a:miter lim="400000"/>
          </a:ln>
        </p:spPr>
      </p:pic>
      <p:pic>
        <p:nvPicPr>
          <p:cNvPr id="456" name="image2.png"/>
          <p:cNvPicPr>
            <a:picLocks noChangeAspect="1"/>
          </p:cNvPicPr>
          <p:nvPr/>
        </p:nvPicPr>
        <p:blipFill>
          <a:blip r:embed="rId4" cstate="print">
            <a:extLst/>
          </a:blip>
          <a:stretch>
            <a:fillRect/>
          </a:stretch>
        </p:blipFill>
        <p:spPr>
          <a:xfrm>
            <a:off x="8252421" y="6272135"/>
            <a:ext cx="500064" cy="365127"/>
          </a:xfrm>
          <a:prstGeom prst="rect">
            <a:avLst/>
          </a:prstGeom>
          <a:ln w="12700">
            <a:miter lim="400000"/>
          </a:ln>
        </p:spPr>
      </p:pic>
      <p:sp>
        <p:nvSpPr>
          <p:cNvPr id="457" name="Shape 457"/>
          <p:cNvSpPr>
            <a:spLocks noGrp="1"/>
          </p:cNvSpPr>
          <p:nvPr>
            <p:ph type="sldNum" sz="quarter" idx="12"/>
          </p:nvPr>
        </p:nvSpPr>
        <p:spPr>
          <a:xfrm>
            <a:off x="8395517" y="6309868"/>
            <a:ext cx="201675" cy="32704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anchor="t"/>
          <a:lstStyle>
            <a:lvl1pPr>
              <a:defRPr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42</a:t>
            </a:fld>
            <a:endParaRPr dirty="0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Shape 453"/>
          <p:cNvSpPr/>
          <p:nvPr/>
        </p:nvSpPr>
        <p:spPr>
          <a:xfrm>
            <a:off x="0" y="1"/>
            <a:ext cx="9144000" cy="764704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8" tIns="45718" rIns="45718" bIns="45718" anchor="ctr"/>
          <a:lstStyle/>
          <a:p>
            <a:pPr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76200" y="116633"/>
            <a:ext cx="9067800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ru-RU" sz="2800" kern="0" dirty="0">
                <a:solidFill>
                  <a:srgbClr val="FFFFFF"/>
                </a:solidFill>
                <a:latin typeface="Impact" panose="020B0806030902050204" pitchFamily="34" charset="0"/>
                <a:sym typeface="Calibri"/>
              </a:rPr>
              <a:t>СЕРИЯ «ВНЕУРОЧНАЯ ДЕЯТЕЛЬНОСТЬ»</a:t>
            </a:r>
          </a:p>
          <a:p>
            <a:pPr algn="ctr" hangingPunct="0">
              <a:defRPr/>
            </a:pPr>
            <a:r>
              <a:rPr lang="ru-RU" sz="3100" kern="0" dirty="0">
                <a:solidFill>
                  <a:srgbClr val="FFFFFF"/>
                </a:solidFill>
                <a:latin typeface="Impact" pitchFamily="34" charset="0"/>
                <a:sym typeface="Helvetica"/>
              </a:rPr>
              <a:t> </a:t>
            </a:r>
          </a:p>
        </p:txBody>
      </p:sp>
      <p:sp>
        <p:nvSpPr>
          <p:cNvPr id="87" name="Пятиугольник 86"/>
          <p:cNvSpPr/>
          <p:nvPr/>
        </p:nvSpPr>
        <p:spPr>
          <a:xfrm>
            <a:off x="5471593" y="8802216"/>
            <a:ext cx="971600" cy="369328"/>
          </a:xfrm>
          <a:prstGeom prst="homePlate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hangingPunct="0"/>
            <a:endParaRPr lang="ru-RU" kern="0">
              <a:solidFill>
                <a:srgbClr val="000000"/>
              </a:solidFill>
              <a:sym typeface="Helvetica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5"/>
          <a:srcRect l="35431" t="14301" r="37006" b="47161"/>
          <a:stretch/>
        </p:blipFill>
        <p:spPr>
          <a:xfrm>
            <a:off x="79480" y="807653"/>
            <a:ext cx="5040560" cy="3964358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/>
          <a:srcRect l="35431" t="53500" r="37006" b="22000"/>
          <a:stretch/>
        </p:blipFill>
        <p:spPr>
          <a:xfrm>
            <a:off x="3613298" y="4041229"/>
            <a:ext cx="5530723" cy="2765362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510" y="1116907"/>
            <a:ext cx="1892977" cy="270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02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57" t="15143" r="25981" b="9078"/>
          <a:stretch/>
        </p:blipFill>
        <p:spPr bwMode="auto">
          <a:xfrm>
            <a:off x="611560" y="980728"/>
            <a:ext cx="4176464" cy="584370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83" t="20257" r="29588" b="20787"/>
          <a:stretch/>
        </p:blipFill>
        <p:spPr bwMode="auto">
          <a:xfrm>
            <a:off x="4925954" y="980728"/>
            <a:ext cx="4097163" cy="587727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727" y="22"/>
            <a:ext cx="8418513" cy="112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Овал 4"/>
          <p:cNvSpPr/>
          <p:nvPr/>
        </p:nvSpPr>
        <p:spPr>
          <a:xfrm>
            <a:off x="4601531" y="4581128"/>
            <a:ext cx="4248472" cy="22768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345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26" t="13234" r="28944" b="13111"/>
          <a:stretch/>
        </p:blipFill>
        <p:spPr bwMode="auto">
          <a:xfrm>
            <a:off x="539552" y="1340770"/>
            <a:ext cx="4097637" cy="538590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43" t="22769" r="28737" b="9094"/>
          <a:stretch/>
        </p:blipFill>
        <p:spPr bwMode="auto">
          <a:xfrm>
            <a:off x="4572001" y="1340768"/>
            <a:ext cx="4107332" cy="539230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713" y="218428"/>
            <a:ext cx="8418513" cy="112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Овал 1"/>
          <p:cNvSpPr/>
          <p:nvPr/>
        </p:nvSpPr>
        <p:spPr>
          <a:xfrm>
            <a:off x="706908" y="4712033"/>
            <a:ext cx="3816424" cy="21328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367677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/>
        </p:nvSpPr>
        <p:spPr>
          <a:xfrm>
            <a:off x="237942" y="173316"/>
            <a:ext cx="8642447" cy="755051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103" tIns="43103" rIns="43103" bIns="43103" anchor="ctr"/>
          <a:lstStyle/>
          <a:p>
            <a:pPr algn="ctr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lang="ru-RU" sz="2640" kern="0" dirty="0">
              <a:solidFill>
                <a:srgbClr val="FFFFFF"/>
              </a:solidFill>
              <a:latin typeface="Impact" panose="020B0806030902050204" pitchFamily="34" charset="0"/>
              <a:sym typeface="Calibri"/>
            </a:endParaRPr>
          </a:p>
        </p:txBody>
      </p:sp>
      <p:sp>
        <p:nvSpPr>
          <p:cNvPr id="9" name="Shape 457"/>
          <p:cNvSpPr>
            <a:spLocks noGrp="1"/>
          </p:cNvSpPr>
          <p:nvPr>
            <p:ph type="sldNum" sz="quarter" idx="12"/>
          </p:nvPr>
        </p:nvSpPr>
        <p:spPr>
          <a:xfrm>
            <a:off x="8356535" y="6309320"/>
            <a:ext cx="319955" cy="33855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anchor="t"/>
          <a:lstStyle>
            <a:lvl1pPr>
              <a:defRPr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lang="ru-RU" dirty="0" smtClean="0">
                <a:solidFill>
                  <a:srgbClr val="E7DEC9">
                    <a:shade val="50000"/>
                    <a:satMod val="200000"/>
                  </a:srgbClr>
                </a:solidFill>
              </a:rPr>
              <a:t>10</a:t>
            </a:r>
            <a:endParaRPr dirty="0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38118" y="306116"/>
            <a:ext cx="74492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ru-RU" sz="28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  <a:sym typeface="Calibri"/>
              </a:rPr>
              <a:t>СЕРИЯ «ВНЕУРОЧНАЯ ДЕЯТЕЛЬНОСТЬ»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224" y="1392365"/>
            <a:ext cx="5184580" cy="1663775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78" y="3367460"/>
            <a:ext cx="1477789" cy="2018927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808" y="4078490"/>
            <a:ext cx="1491357" cy="2082286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10" name="Рисунок 9" descr="C:\Users\lkoroleva\Desktop\6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342" y="3440303"/>
            <a:ext cx="1343907" cy="1946050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</p:pic>
      <p:pic>
        <p:nvPicPr>
          <p:cNvPr id="12" name="Рисунок 11" descr="C:\Users\lkoroleva\Desktop\5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3263" y="4154673"/>
            <a:ext cx="1646756" cy="2018927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</p:pic>
      <p:pic>
        <p:nvPicPr>
          <p:cNvPr id="13" name="Рисунок 12" descr="C:\Users\lkoroleva\Desktop\3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345" y="3436183"/>
            <a:ext cx="1447351" cy="1950199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2554" y="4081037"/>
            <a:ext cx="1529721" cy="2034100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213" y="1588"/>
            <a:ext cx="9242426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9896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41" t="10474" r="25038" b="3941"/>
          <a:stretch/>
        </p:blipFill>
        <p:spPr bwMode="auto">
          <a:xfrm>
            <a:off x="251520" y="908720"/>
            <a:ext cx="4464496" cy="594928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39" t="16390" r="27655" b="6774"/>
          <a:stretch/>
        </p:blipFill>
        <p:spPr bwMode="auto">
          <a:xfrm>
            <a:off x="4860032" y="922452"/>
            <a:ext cx="4104456" cy="581891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417" y="116654"/>
            <a:ext cx="8418513" cy="112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685" y="2865924"/>
            <a:ext cx="1347787" cy="193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230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94" t="10050" r="20622" b="3771"/>
          <a:stretch/>
        </p:blipFill>
        <p:spPr bwMode="auto">
          <a:xfrm>
            <a:off x="172693" y="944352"/>
            <a:ext cx="5544616" cy="5913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5724130" y="1772816"/>
            <a:ext cx="331236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44546A">
                    <a:lumMod val="75000"/>
                  </a:srgbClr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бъединив множество профессионалов, увлеченных идеей инновационного преподавания предметов (особенно естественнонаучного цикла), можно наглядно продемонстрировать, что современные условия школьного образования позволяют научить школьников активно пользоваться полученными на уроках знаниями на практике и в реальной жизни</a:t>
            </a:r>
            <a:r>
              <a:rPr lang="en-US" dirty="0">
                <a:solidFill>
                  <a:srgbClr val="44546A">
                    <a:lumMod val="75000"/>
                  </a:srgbClr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.</a:t>
            </a:r>
            <a:endParaRPr lang="ru-RU" dirty="0">
              <a:solidFill>
                <a:srgbClr val="44546A">
                  <a:lumMod val="7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2" y="22"/>
            <a:ext cx="8418513" cy="112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59468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4" name="image1.png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-3" y="6226833"/>
            <a:ext cx="9144004" cy="455669"/>
          </a:xfrm>
          <a:prstGeom prst="rect">
            <a:avLst/>
          </a:prstGeom>
          <a:ln w="12700">
            <a:miter lim="400000"/>
          </a:ln>
        </p:spPr>
      </p:pic>
      <p:pic>
        <p:nvPicPr>
          <p:cNvPr id="456" name="image2.png"/>
          <p:cNvPicPr>
            <a:picLocks noChangeAspect="1"/>
          </p:cNvPicPr>
          <p:nvPr/>
        </p:nvPicPr>
        <p:blipFill>
          <a:blip r:embed="rId4" cstate="print">
            <a:extLst/>
          </a:blip>
          <a:stretch>
            <a:fillRect/>
          </a:stretch>
        </p:blipFill>
        <p:spPr>
          <a:xfrm>
            <a:off x="8252421" y="6272103"/>
            <a:ext cx="500064" cy="365127"/>
          </a:xfrm>
          <a:prstGeom prst="rect">
            <a:avLst/>
          </a:prstGeom>
          <a:ln w="12700">
            <a:miter lim="400000"/>
          </a:ln>
        </p:spPr>
      </p:pic>
      <p:sp>
        <p:nvSpPr>
          <p:cNvPr id="457" name="Shape 457"/>
          <p:cNvSpPr>
            <a:spLocks noGrp="1"/>
          </p:cNvSpPr>
          <p:nvPr>
            <p:ph type="sldNum" sz="quarter" idx="12"/>
          </p:nvPr>
        </p:nvSpPr>
        <p:spPr>
          <a:xfrm>
            <a:off x="8395517" y="6309836"/>
            <a:ext cx="201675" cy="327049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anchor="t"/>
          <a:lstStyle>
            <a:lvl1pPr>
              <a:defRPr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fld id="{86CB4B4D-7CA3-9044-876B-883B54F8677D}" type="slidenum">
              <a:rPr>
                <a:solidFill>
                  <a:srgbClr val="E7DEC9">
                    <a:shade val="50000"/>
                    <a:satMod val="200000"/>
                  </a:srgbClr>
                </a:solidFill>
              </a:rPr>
              <a:pPr/>
              <a:t>48</a:t>
            </a:fld>
            <a:endParaRPr dirty="0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Shape 453"/>
          <p:cNvSpPr/>
          <p:nvPr/>
        </p:nvSpPr>
        <p:spPr>
          <a:xfrm>
            <a:off x="1043608" y="1"/>
            <a:ext cx="8100392" cy="764704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8" tIns="45718" rIns="45718" bIns="45718" anchor="ctr"/>
          <a:lstStyle/>
          <a:p>
            <a:pPr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76200" y="116633"/>
            <a:ext cx="9067800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ru-RU" sz="2800" kern="0" dirty="0">
                <a:solidFill>
                  <a:srgbClr val="FFFFFF"/>
                </a:solidFill>
                <a:latin typeface="Impact" panose="020B0806030902050204" pitchFamily="34" charset="0"/>
                <a:sym typeface="Calibri"/>
              </a:rPr>
              <a:t>СЕРИЯ «ВНЕУРОЧНАЯ ДЕЯТЕЛЬНОСТЬ»</a:t>
            </a:r>
          </a:p>
          <a:p>
            <a:pPr algn="ctr" hangingPunct="0">
              <a:defRPr/>
            </a:pPr>
            <a:r>
              <a:rPr lang="ru-RU" sz="3100" kern="0" dirty="0">
                <a:solidFill>
                  <a:srgbClr val="FFFFFF"/>
                </a:solidFill>
                <a:latin typeface="Impact" pitchFamily="34" charset="0"/>
                <a:sym typeface="Helvetica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/>
          <a:srcRect l="35431" t="31100" r="36613" b="4501"/>
          <a:stretch/>
        </p:blipFill>
        <p:spPr>
          <a:xfrm>
            <a:off x="1029147" y="747589"/>
            <a:ext cx="3775924" cy="4892745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/>
          <a:srcRect l="35825" t="23400" r="36219" b="11501"/>
          <a:stretch/>
        </p:blipFill>
        <p:spPr>
          <a:xfrm>
            <a:off x="3779913" y="995964"/>
            <a:ext cx="4167370" cy="5458667"/>
          </a:xfrm>
          <a:prstGeom prst="rect">
            <a:avLst/>
          </a:prstGeom>
          <a:ln>
            <a:solidFill>
              <a:srgbClr val="7030A0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224" y="2738091"/>
            <a:ext cx="2341767" cy="3240704"/>
          </a:xfrm>
          <a:prstGeom prst="rect">
            <a:avLst/>
          </a:prstGeom>
          <a:ln>
            <a:solidFill>
              <a:srgbClr val="7030A0"/>
            </a:solidFill>
          </a:ln>
        </p:spPr>
      </p:pic>
    </p:spTree>
    <p:extLst>
      <p:ext uri="{BB962C8B-B14F-4D97-AF65-F5344CB8AC3E}">
        <p14:creationId xmlns:p14="http://schemas.microsoft.com/office/powerpoint/2010/main" val="336226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8460434" y="557761"/>
            <a:ext cx="464493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prstClr val="white">
                    <a:lumMod val="50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9</a:t>
            </a:fld>
            <a:endParaRPr lang="en" sz="1100" dirty="0">
              <a:solidFill>
                <a:prstClr val="white">
                  <a:lumMod val="50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86955" y="116632"/>
            <a:ext cx="8537970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</a:t>
            </a:r>
            <a:endParaRPr lang="en-US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спех каждого ребёнка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1" y="1186923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467249" y="2181252"/>
            <a:ext cx="6533863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ддержка профессионального самоопределения старшеклассников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386955" y="1399290"/>
            <a:ext cx="7947820" cy="728336"/>
            <a:chOff x="503798" y="1757406"/>
            <a:chExt cx="10410362" cy="728336"/>
          </a:xfrm>
        </p:grpSpPr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B139A723-A86E-478B-9A92-20F301586D2E}"/>
                </a:ext>
              </a:extLst>
            </p:cNvPr>
            <p:cNvSpPr txBox="1"/>
            <p:nvPr/>
          </p:nvSpPr>
          <p:spPr>
            <a:xfrm>
              <a:off x="503798" y="1803305"/>
              <a:ext cx="10410362" cy="58744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dirty="0">
                  <a:solidFill>
                    <a:prstClr val="white"/>
                  </a:solidFill>
                </a:rPr>
                <a:t>           Организация профильного обучения</a:t>
              </a:r>
            </a:p>
          </p:txBody>
        </p:sp>
        <p:grpSp>
          <p:nvGrpSpPr>
            <p:cNvPr id="35" name="Группа 34"/>
            <p:cNvGrpSpPr/>
            <p:nvPr/>
          </p:nvGrpSpPr>
          <p:grpSpPr>
            <a:xfrm>
              <a:off x="576952" y="1757406"/>
              <a:ext cx="728340" cy="728336"/>
              <a:chOff x="7559745" y="4046099"/>
              <a:chExt cx="728340" cy="728336"/>
            </a:xfrm>
          </p:grpSpPr>
          <p:sp>
            <p:nvSpPr>
              <p:cNvPr id="36" name="Овал 35">
                <a:extLst>
                  <a:ext uri="{FF2B5EF4-FFF2-40B4-BE49-F238E27FC236}">
                    <a16:creationId xmlns="" xmlns:a16="http://schemas.microsoft.com/office/drawing/2014/main" id="{EB215521-21E4-4805-8BEF-4813B85BBA98}"/>
                  </a:ext>
                </a:extLst>
              </p:cNvPr>
              <p:cNvSpPr/>
              <p:nvPr/>
            </p:nvSpPr>
            <p:spPr>
              <a:xfrm>
                <a:off x="7559745" y="4046099"/>
                <a:ext cx="728340" cy="728336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2800" dirty="0">
                  <a:solidFill>
                    <a:prstClr val="white">
                      <a:lumMod val="85000"/>
                    </a:prst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37" name="Рисунок 36" descr="Ученый">
                <a:extLst>
                  <a:ext uri="{FF2B5EF4-FFF2-40B4-BE49-F238E27FC236}">
                    <a16:creationId xmlns="" xmlns:a16="http://schemas.microsoft.com/office/drawing/2014/main" id="{57815042-1DA5-4EB4-BCCA-60AF470B47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19"/>
                  </a:ext>
                </a:extLst>
              </a:blip>
              <a:stretch>
                <a:fillRect/>
              </a:stretch>
            </p:blipFill>
            <p:spPr>
              <a:xfrm>
                <a:off x="7693963" y="4180315"/>
                <a:ext cx="459904" cy="459904"/>
              </a:xfrm>
              <a:prstGeom prst="rect">
                <a:avLst/>
              </a:prstGeom>
            </p:spPr>
          </p:pic>
        </p:grpSp>
      </p:grpSp>
      <p:grpSp>
        <p:nvGrpSpPr>
          <p:cNvPr id="6" name="Группа 5"/>
          <p:cNvGrpSpPr/>
          <p:nvPr/>
        </p:nvGrpSpPr>
        <p:grpSpPr>
          <a:xfrm>
            <a:off x="243292" y="2783909"/>
            <a:ext cx="8395026" cy="3795285"/>
            <a:chOff x="324389" y="2783883"/>
            <a:chExt cx="11193369" cy="3795285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324389" y="5597558"/>
              <a:ext cx="192399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b="1" dirty="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Технологический профиль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5906820" y="2853050"/>
              <a:ext cx="561093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Серии профильная школа и внеурочная деятельность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352661" y="3683669"/>
              <a:ext cx="2191903" cy="5316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b="1" dirty="0" smtClean="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Естественно-научный </a:t>
              </a:r>
              <a:r>
                <a:rPr lang="ru-RU" sz="1400" b="1" dirty="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профиль</a:t>
              </a:r>
            </a:p>
          </p:txBody>
        </p:sp>
        <p:pic>
          <p:nvPicPr>
            <p:cNvPr id="27" name="Рисунок 26" descr="C:\Users\lkoroleva\Downloads\(cover) Медицинская статистика. 10-11 классы. (Пономарев В. Е., Алексаненкова М. В., Завалько Н. А.).png"/>
            <p:cNvPicPr/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1518" y="3406583"/>
              <a:ext cx="1084450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28" name="Рисунок 27" descr="P:\Портфель\Отдел продуктового маркетинга\Издательский портфель\ПНП\ЦЕМО\ВД_ПШ\НОВЫЕ ОБЛОЖКИ\COVER_BIOHIM.jpg"/>
            <p:cNvPicPr/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2166" y="3406583"/>
              <a:ext cx="1079883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47" name="Рисунок 46" descr="P:\Портфель\Отдел продуктового маркетинга\Издательский портфель\ПНП\ЦЕМО\ВД_ПШ\НОВЫЕ ОБЛОЖКИ\Cover_OF.jpg"/>
            <p:cNvPicPr/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8247" y="3406583"/>
              <a:ext cx="1086707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48" name="Рисунок 47" descr="P:\Портфель\Отдел продуктового маркетинга\Издательский портфель\ПНП\ЦЕМО\ВД_ПШ\НОВЫЕ ОБЛОЖКИ\Cover_Latin.jpg"/>
            <p:cNvPicPr/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11152" y="3406583"/>
              <a:ext cx="1083712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49" name="Рисунок 48" descr="C:\Users\lkoroleva\Desktop\Cover_osn_infograf_IZO.jpg"/>
            <p:cNvPicPr/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02567" y="5139168"/>
              <a:ext cx="1092297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0" name="Рисунок 49" descr="P:\Портфель\Отдел продуктового маркетинга\Издательский портфель\ПНП\ЦЕМО\ВД_ПШ\НОВЫЕ ОБЛОЖКИ\Cover_Osnov_Animacii_2019.jpg"/>
            <p:cNvPicPr/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592" y="5139168"/>
              <a:ext cx="1075362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1" name="Рисунок 50" descr="C:\Users\lkoroleva\Desktop\1.JPG"/>
            <p:cNvPicPr/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30606" y="5139168"/>
              <a:ext cx="1091035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2" name="Picture 4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56598" y="3406583"/>
              <a:ext cx="1078038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2757" y="3406583"/>
              <a:ext cx="1084788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54" name="Picture 2"/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4564" y="5139168"/>
              <a:ext cx="1090072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55" name="Picture 3"/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8408" y="5139168"/>
              <a:ext cx="1089137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56" name="Прямоугольник 55"/>
            <p:cNvSpPr/>
            <p:nvPr/>
          </p:nvSpPr>
          <p:spPr>
            <a:xfrm>
              <a:off x="2487883" y="2783883"/>
              <a:ext cx="2582332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Учебники</a:t>
              </a:r>
            </a:p>
            <a:p>
              <a:pPr algn="ctr"/>
              <a:r>
                <a:rPr lang="ru-RU" sz="1400" b="1" dirty="0">
                  <a:solidFill>
                    <a:prstClr val="black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федерального перечня</a:t>
              </a:r>
            </a:p>
          </p:txBody>
        </p:sp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2166" y="5139168"/>
              <a:ext cx="1121744" cy="144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</p:grpSp>
      <p:pic>
        <p:nvPicPr>
          <p:cNvPr id="3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233" y="6345634"/>
            <a:ext cx="104469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829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http://expert.ru/data/public/443546/443581/rr4313_047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90" y="127008"/>
            <a:ext cx="7654925" cy="665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уга 3"/>
          <p:cNvSpPr/>
          <p:nvPr/>
        </p:nvSpPr>
        <p:spPr>
          <a:xfrm rot="2842249">
            <a:off x="1005351" y="-665080"/>
            <a:ext cx="5214236" cy="7505707"/>
          </a:xfrm>
          <a:prstGeom prst="arc">
            <a:avLst>
              <a:gd name="adj1" fmla="val 21213404"/>
              <a:gd name="adj2" fmla="val 21192793"/>
            </a:avLst>
          </a:prstGeom>
          <a:solidFill>
            <a:srgbClr val="000000">
              <a:alpha val="10196"/>
            </a:srgbClr>
          </a:solidFill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black"/>
              </a:solidFill>
              <a:sym typeface="Helvetica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14284" y="142852"/>
            <a:ext cx="2500330" cy="1857388"/>
          </a:xfrm>
          <a:prstGeom prst="rect">
            <a:avLst/>
          </a:prstGeom>
        </p:spPr>
        <p:txBody>
          <a:bodyPr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defRPr/>
            </a:pPr>
            <a:r>
              <a:rPr lang="ru-RU" sz="4000" b="1" kern="0" dirty="0">
                <a:ln w="11430"/>
                <a:solidFill>
                  <a:srgbClr val="0000FF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sym typeface="Helvetica"/>
              </a:rPr>
              <a:t>Карта мировой науки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7072330" y="214290"/>
            <a:ext cx="1785950" cy="1062046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</p:spPr>
        <p:txBody>
          <a:bodyPr anchor="ctr"/>
          <a:lstStyle/>
          <a:p>
            <a:pPr>
              <a:defRPr/>
            </a:pPr>
            <a:r>
              <a:rPr lang="ru-RU" sz="2000" kern="0" dirty="0">
                <a:solidFill>
                  <a:prstClr val="black"/>
                </a:solidFill>
                <a:sym typeface="Helvetica"/>
              </a:rPr>
              <a:t>Создана компанией </a:t>
            </a:r>
            <a:r>
              <a:rPr lang="ru-RU" sz="2000" kern="0" dirty="0" err="1">
                <a:solidFill>
                  <a:prstClr val="black"/>
                </a:solidFill>
                <a:sym typeface="Helvetica"/>
              </a:rPr>
              <a:t>Science-Metrix</a:t>
            </a:r>
            <a:endParaRPr lang="ru-RU" sz="2000" kern="0" dirty="0">
              <a:solidFill>
                <a:prstClr val="black"/>
              </a:solidFill>
              <a:sym typeface="Helvetica"/>
            </a:endParaRPr>
          </a:p>
        </p:txBody>
      </p:sp>
      <p:sp>
        <p:nvSpPr>
          <p:cNvPr id="9" name="Стрелка влево 8"/>
          <p:cNvSpPr/>
          <p:nvPr/>
        </p:nvSpPr>
        <p:spPr>
          <a:xfrm rot="20686255">
            <a:off x="4319613" y="2874109"/>
            <a:ext cx="3797300" cy="1329975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  <a:sym typeface="Helvetica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 rot="-884445">
            <a:off x="4924855" y="3012866"/>
            <a:ext cx="31686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sz="2400" b="1" kern="0" dirty="0" smtClean="0">
                <a:solidFill>
                  <a:srgbClr val="FFFFFF"/>
                </a:solidFill>
                <a:sym typeface="Helvetica"/>
              </a:rPr>
              <a:t>Естественнонаучные дисциплины</a:t>
            </a:r>
            <a:endParaRPr lang="ru-RU" sz="2400" b="1" kern="0" dirty="0">
              <a:solidFill>
                <a:srgbClr val="FFFFFF"/>
              </a:solidFill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89249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1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withGroup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withGroup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/>
        </p:nvSpPr>
        <p:spPr>
          <a:xfrm>
            <a:off x="-25048" y="-24250"/>
            <a:ext cx="9166837" cy="800864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8" tIns="45718" rIns="45718" bIns="45718" anchor="ctr"/>
          <a:lstStyle/>
          <a:p>
            <a:pPr algn="ctr" hangingPunct="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r>
              <a:rPr lang="ru-RU" sz="2800" kern="0" dirty="0">
                <a:solidFill>
                  <a:srgbClr val="FFFFFF"/>
                </a:solidFill>
                <a:latin typeface="Impact" panose="020B0806030902050204" pitchFamily="34" charset="0"/>
                <a:sym typeface="Calibri"/>
              </a:rPr>
              <a:t>СЕРИЯ «ПРОФИЛЬНАЯ ШКОЛА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9554" y="5301226"/>
            <a:ext cx="8280920" cy="147732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Серия обеспечивает поддержку успешного профильного обучения и профессионального самоопределения старшеклассников. Пособия серии могут использоваться как при реализации учебного плана естественнонаучного профиля на уровне среднего общего образования, так и в рамках внеурочной деятельности.</a:t>
            </a:r>
          </a:p>
        </p:txBody>
      </p:sp>
      <p:sp>
        <p:nvSpPr>
          <p:cNvPr id="9" name="Shape 457"/>
          <p:cNvSpPr>
            <a:spLocks noGrp="1"/>
          </p:cNvSpPr>
          <p:nvPr>
            <p:ph type="sldNum" sz="quarter" idx="12"/>
          </p:nvPr>
        </p:nvSpPr>
        <p:spPr>
          <a:xfrm>
            <a:off x="8277271" y="6309800"/>
            <a:ext cx="319955" cy="33855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anchor="t"/>
          <a:lstStyle>
            <a:lvl1pPr>
              <a:defRPr>
                <a:latin typeface="Helvetica Neue Bold Condensed"/>
                <a:ea typeface="Helvetica Neue Bold Condensed"/>
                <a:cs typeface="Helvetica Neue Bold Condensed"/>
                <a:sym typeface="Helvetica Neue Bold Condensed"/>
              </a:defRPr>
            </a:lvl1pPr>
          </a:lstStyle>
          <a:p>
            <a:r>
              <a:rPr lang="ru-RU" dirty="0" smtClean="0">
                <a:solidFill>
                  <a:srgbClr val="E7DEC9">
                    <a:shade val="50000"/>
                    <a:satMod val="200000"/>
                  </a:srgbClr>
                </a:solidFill>
              </a:rPr>
              <a:t>10</a:t>
            </a:r>
            <a:endParaRPr dirty="0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80" y="806898"/>
            <a:ext cx="1584887" cy="213597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3432" y="2901163"/>
            <a:ext cx="1536111" cy="201197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8944" y="3014848"/>
            <a:ext cx="1599227" cy="222602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5" y="806900"/>
            <a:ext cx="1656184" cy="2196529"/>
          </a:xfrm>
          <a:prstGeom prst="rect">
            <a:avLst/>
          </a:prstGeom>
        </p:spPr>
      </p:pic>
      <p:pic>
        <p:nvPicPr>
          <p:cNvPr id="12" name="Рисунок 11" descr="P:\Портфель\Отдел продуктового маркетинга\Издательский портфель\ПНП\ЦЕМО\ВД_ПШ\НОВЫЕ ОБЛОЖКИ\COVER_BIOHIM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26" y="2876967"/>
            <a:ext cx="1632690" cy="20066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Рисунок 13" descr="P:\Портфель\Отдел продуктового маркетинга\Издательский портфель\ПНП\ЦЕМО\ВД_ПШ\НОВЫЕ ОБЛОЖКИ\Cover_OF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1" y="729590"/>
            <a:ext cx="1656184" cy="20925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Рисунок 14" descr="P:\Портфель\Отдел продуктового маркетинга\Издательский портфель\ПНП\ЦЕМО\ВД_ПШ\НОВЫЕ ОБЛОЖКИ\Cover_Latin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4219" y="2854542"/>
            <a:ext cx="1486730" cy="20041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2770" name="Picture 2" descr="C:\Users\ESindryakova\AppData\Local\Microsoft\Windows\Temporary Internet Files\Content.Outlook\FCAW632U\Cover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8944" y="762754"/>
            <a:ext cx="1599227" cy="2224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218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077" y="3"/>
            <a:ext cx="54292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043608" y="2"/>
            <a:ext cx="7632847" cy="707886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43000">
                <a:schemeClr val="accent5">
                  <a:lumMod val="50000"/>
                </a:schemeClr>
              </a:gs>
              <a:gs pos="73000">
                <a:schemeClr val="accent5">
                  <a:lumMod val="75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7400000" scaled="0"/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ru-RU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СЕРИЯ «ПРОФИЛЬНАЯ ШКОЛА»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8794" y="1188725"/>
            <a:ext cx="3408019" cy="479482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55" t="14290" r="28276" b="13622"/>
          <a:stretch/>
        </p:blipFill>
        <p:spPr bwMode="auto">
          <a:xfrm>
            <a:off x="5173195" y="1188725"/>
            <a:ext cx="3427889" cy="47948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6" y="1188727"/>
            <a:ext cx="1690322" cy="2611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Прямоугольник 6"/>
          <p:cNvSpPr/>
          <p:nvPr/>
        </p:nvSpPr>
        <p:spPr>
          <a:xfrm rot="10800000" flipV="1">
            <a:off x="523781" y="6048564"/>
            <a:ext cx="8077293" cy="646331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пособии даны  исторические справки по проектам разных эпох , разных масштабов и различных направлений реализации.</a:t>
            </a:r>
          </a:p>
        </p:txBody>
      </p:sp>
    </p:spTree>
    <p:extLst>
      <p:ext uri="{BB962C8B-B14F-4D97-AF65-F5344CB8AC3E}">
        <p14:creationId xmlns:p14="http://schemas.microsoft.com/office/powerpoint/2010/main" val="3860369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" b="3281"/>
          <a:stretch/>
        </p:blipFill>
        <p:spPr>
          <a:xfrm>
            <a:off x="5403983" y="423923"/>
            <a:ext cx="3760223" cy="2205141"/>
          </a:xfrm>
          <a:prstGeom prst="rect">
            <a:avLst/>
          </a:prstGeom>
        </p:spPr>
      </p:pic>
      <p:grpSp>
        <p:nvGrpSpPr>
          <p:cNvPr id="5" name="Группа 44"/>
          <p:cNvGrpSpPr/>
          <p:nvPr/>
        </p:nvGrpSpPr>
        <p:grpSpPr>
          <a:xfrm>
            <a:off x="7991767" y="25508"/>
            <a:ext cx="869612" cy="400919"/>
            <a:chOff x="338369" y="163286"/>
            <a:chExt cx="1440066" cy="497938"/>
          </a:xfrm>
        </p:grpSpPr>
        <p:sp>
          <p:nvSpPr>
            <p:cNvPr id="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131014" y="2889342"/>
            <a:ext cx="631795" cy="842393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32166" y="2871480"/>
            <a:ext cx="653334" cy="871112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832290" y="2870782"/>
            <a:ext cx="584249" cy="778998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403932" y="3083138"/>
            <a:ext cx="333858" cy="445144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12500" y="3071195"/>
            <a:ext cx="329955" cy="43994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3570868" y="3737637"/>
            <a:ext cx="18715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2F5597"/>
                </a:solidFill>
              </a:rPr>
              <a:t>ТЕХНОЛОГИЧЕС-КАЯ ПЛАТФОРМА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79500" y="476671"/>
            <a:ext cx="5082470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ая образовательная среда (ЦОС) –</a:t>
            </a:r>
            <a:r>
              <a:rPr lang="en-US" sz="1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система социокультурной среды,</a:t>
            </a:r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 которой инфраструктурные, содержательно-методические и коммуникационно-организационные компоненты сферы образования функционируют </a:t>
            </a:r>
            <a:r>
              <a:rPr lang="ru-RU" sz="1400" b="1" i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использованием технологий обработки больших данных.</a:t>
            </a:r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латформа ЦОС использует единые стандарты информации, идентификации, роли и атрибуты, обеспечивающие решение задач участников сферы образования (обучающихся, родителей, педагогов, иных участников отношений в сфере </a:t>
            </a:r>
            <a:r>
              <a:rPr lang="ru-RU" sz="16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ния).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5" y="423953"/>
            <a:ext cx="9164191" cy="1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39615" y="6645725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prstClr val="white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prstClr val="white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39"/>
          <a:stretch/>
        </p:blipFill>
        <p:spPr>
          <a:xfrm>
            <a:off x="-28101" y="4512344"/>
            <a:ext cx="1979206" cy="2319033"/>
          </a:xfrm>
          <a:prstGeom prst="rect">
            <a:avLst/>
          </a:prstGeom>
        </p:spPr>
      </p:pic>
      <p:sp>
        <p:nvSpPr>
          <p:cNvPr id="55" name="Кольцо 54"/>
          <p:cNvSpPr/>
          <p:nvPr/>
        </p:nvSpPr>
        <p:spPr>
          <a:xfrm flipV="1">
            <a:off x="1812766" y="3992263"/>
            <a:ext cx="318977" cy="434327"/>
          </a:xfrm>
          <a:prstGeom prst="donut">
            <a:avLst>
              <a:gd name="adj" fmla="val 34191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56" name="Кольцо 55"/>
          <p:cNvSpPr/>
          <p:nvPr/>
        </p:nvSpPr>
        <p:spPr>
          <a:xfrm>
            <a:off x="3410296" y="4142832"/>
            <a:ext cx="180752" cy="229528"/>
          </a:xfrm>
          <a:prstGeom prst="donut">
            <a:avLst>
              <a:gd name="adj" fmla="val 37733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57" name="Кольцо 56"/>
          <p:cNvSpPr/>
          <p:nvPr/>
        </p:nvSpPr>
        <p:spPr>
          <a:xfrm>
            <a:off x="1305920" y="3902447"/>
            <a:ext cx="213543" cy="284417"/>
          </a:xfrm>
          <a:prstGeom prst="donut">
            <a:avLst>
              <a:gd name="adj" fmla="val 2487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58" name="Кольцо 57"/>
          <p:cNvSpPr/>
          <p:nvPr/>
        </p:nvSpPr>
        <p:spPr>
          <a:xfrm>
            <a:off x="4541763" y="4578593"/>
            <a:ext cx="221045" cy="289150"/>
          </a:xfrm>
          <a:prstGeom prst="donut">
            <a:avLst>
              <a:gd name="adj" fmla="val 32792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59" name="Овал 58"/>
          <p:cNvSpPr/>
          <p:nvPr/>
        </p:nvSpPr>
        <p:spPr>
          <a:xfrm>
            <a:off x="6606753" y="4444743"/>
            <a:ext cx="263719" cy="33280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1154230" y="3022586"/>
            <a:ext cx="340106" cy="411669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1" name="Кольцо 60"/>
          <p:cNvSpPr/>
          <p:nvPr/>
        </p:nvSpPr>
        <p:spPr>
          <a:xfrm>
            <a:off x="290924" y="3410738"/>
            <a:ext cx="257979" cy="348183"/>
          </a:xfrm>
          <a:prstGeom prst="donu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62" name="Кольцо 61"/>
          <p:cNvSpPr/>
          <p:nvPr/>
        </p:nvSpPr>
        <p:spPr>
          <a:xfrm>
            <a:off x="179499" y="4100742"/>
            <a:ext cx="108102" cy="132771"/>
          </a:xfrm>
          <a:prstGeom prst="donut">
            <a:avLst>
              <a:gd name="adj" fmla="val 11502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65" name="Прямая соединительная линия 64"/>
          <p:cNvCxnSpPr>
            <a:stCxn id="55" idx="3"/>
            <a:endCxn id="57" idx="6"/>
          </p:cNvCxnSpPr>
          <p:nvPr/>
        </p:nvCxnSpPr>
        <p:spPr>
          <a:xfrm flipH="1" flipV="1">
            <a:off x="1519463" y="4044652"/>
            <a:ext cx="340002" cy="11214"/>
          </a:xfrm>
          <a:prstGeom prst="line">
            <a:avLst/>
          </a:prstGeom>
          <a:solidFill>
            <a:srgbClr val="00B0F0"/>
          </a:solidFill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>
            <a:stCxn id="61" idx="3"/>
            <a:endCxn id="62" idx="0"/>
          </p:cNvCxnSpPr>
          <p:nvPr/>
        </p:nvCxnSpPr>
        <p:spPr>
          <a:xfrm flipH="1">
            <a:off x="233564" y="3707926"/>
            <a:ext cx="95155" cy="392812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>
            <a:stCxn id="57" idx="1"/>
            <a:endCxn id="60" idx="4"/>
          </p:cNvCxnSpPr>
          <p:nvPr/>
        </p:nvCxnSpPr>
        <p:spPr>
          <a:xfrm flipH="1" flipV="1">
            <a:off x="1324281" y="3434233"/>
            <a:ext cx="12912" cy="509869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>
            <a:endCxn id="59" idx="4"/>
          </p:cNvCxnSpPr>
          <p:nvPr/>
        </p:nvCxnSpPr>
        <p:spPr>
          <a:xfrm flipH="1" flipV="1">
            <a:off x="6738599" y="4777519"/>
            <a:ext cx="30526" cy="1015730"/>
          </a:xfrm>
          <a:prstGeom prst="line">
            <a:avLst/>
          </a:prstGeom>
          <a:solidFill>
            <a:srgbClr val="00B0F0"/>
          </a:solidFill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>
            <a:stCxn id="56" idx="2"/>
            <a:endCxn id="55" idx="6"/>
          </p:cNvCxnSpPr>
          <p:nvPr/>
        </p:nvCxnSpPr>
        <p:spPr>
          <a:xfrm flipH="1" flipV="1">
            <a:off x="2131729" y="4209452"/>
            <a:ext cx="1278566" cy="48173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>
            <a:stCxn id="61" idx="7"/>
            <a:endCxn id="60" idx="2"/>
          </p:cNvCxnSpPr>
          <p:nvPr/>
        </p:nvCxnSpPr>
        <p:spPr>
          <a:xfrm flipV="1">
            <a:off x="511123" y="3228421"/>
            <a:ext cx="643106" cy="233331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>
            <a:stCxn id="57" idx="5"/>
            <a:endCxn id="55" idx="2"/>
          </p:cNvCxnSpPr>
          <p:nvPr/>
        </p:nvCxnSpPr>
        <p:spPr>
          <a:xfrm>
            <a:off x="1488192" y="4145213"/>
            <a:ext cx="324562" cy="64215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>
            <a:stCxn id="58" idx="1"/>
            <a:endCxn id="56" idx="6"/>
          </p:cNvCxnSpPr>
          <p:nvPr/>
        </p:nvCxnSpPr>
        <p:spPr>
          <a:xfrm flipH="1" flipV="1">
            <a:off x="3591060" y="4257596"/>
            <a:ext cx="983075" cy="363342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>
            <a:stCxn id="58" idx="7"/>
            <a:endCxn id="59" idx="3"/>
          </p:cNvCxnSpPr>
          <p:nvPr/>
        </p:nvCxnSpPr>
        <p:spPr>
          <a:xfrm>
            <a:off x="4730437" y="4620967"/>
            <a:ext cx="1914937" cy="107843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Овал 50"/>
          <p:cNvSpPr/>
          <p:nvPr/>
        </p:nvSpPr>
        <p:spPr>
          <a:xfrm>
            <a:off x="7594112" y="3775905"/>
            <a:ext cx="169569" cy="23572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54" name="Прямая соединительная линия 53"/>
          <p:cNvCxnSpPr>
            <a:stCxn id="51" idx="3"/>
            <a:endCxn id="59" idx="6"/>
          </p:cNvCxnSpPr>
          <p:nvPr/>
        </p:nvCxnSpPr>
        <p:spPr>
          <a:xfrm flipH="1">
            <a:off x="6870471" y="3977103"/>
            <a:ext cx="748487" cy="634014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Кольцо 136"/>
          <p:cNvSpPr/>
          <p:nvPr/>
        </p:nvSpPr>
        <p:spPr>
          <a:xfrm>
            <a:off x="8080543" y="3400697"/>
            <a:ext cx="215732" cy="295374"/>
          </a:xfrm>
          <a:prstGeom prst="donut">
            <a:avLst>
              <a:gd name="adj" fmla="val 1779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138" name="Прямая соединительная линия 137"/>
          <p:cNvCxnSpPr>
            <a:stCxn id="137" idx="2"/>
            <a:endCxn id="51" idx="7"/>
          </p:cNvCxnSpPr>
          <p:nvPr/>
        </p:nvCxnSpPr>
        <p:spPr>
          <a:xfrm flipH="1">
            <a:off x="7738863" y="3548384"/>
            <a:ext cx="341693" cy="262034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Кольцо 141"/>
          <p:cNvSpPr/>
          <p:nvPr/>
        </p:nvSpPr>
        <p:spPr>
          <a:xfrm>
            <a:off x="7423830" y="2895260"/>
            <a:ext cx="255066" cy="351927"/>
          </a:xfrm>
          <a:prstGeom prst="donut">
            <a:avLst>
              <a:gd name="adj" fmla="val 24877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143" name="Прямая соединительная линия 142"/>
          <p:cNvCxnSpPr>
            <a:stCxn id="142" idx="4"/>
            <a:endCxn id="51" idx="1"/>
          </p:cNvCxnSpPr>
          <p:nvPr/>
        </p:nvCxnSpPr>
        <p:spPr>
          <a:xfrm>
            <a:off x="7551365" y="3247158"/>
            <a:ext cx="67581" cy="563260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Кольцо 146"/>
          <p:cNvSpPr/>
          <p:nvPr/>
        </p:nvSpPr>
        <p:spPr>
          <a:xfrm>
            <a:off x="3227267" y="3765683"/>
            <a:ext cx="189985" cy="254512"/>
          </a:xfrm>
          <a:prstGeom prst="donut">
            <a:avLst>
              <a:gd name="adj" fmla="val 11502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148" name="Прямая соединительная линия 147"/>
          <p:cNvCxnSpPr>
            <a:stCxn id="147" idx="5"/>
            <a:endCxn id="56" idx="0"/>
          </p:cNvCxnSpPr>
          <p:nvPr/>
        </p:nvCxnSpPr>
        <p:spPr>
          <a:xfrm>
            <a:off x="3389417" y="3982924"/>
            <a:ext cx="111255" cy="159909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Овал 152"/>
          <p:cNvSpPr/>
          <p:nvPr/>
        </p:nvSpPr>
        <p:spPr>
          <a:xfrm>
            <a:off x="8689127" y="4317283"/>
            <a:ext cx="273987" cy="331161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154" name="Прямая соединительная линия 153"/>
          <p:cNvCxnSpPr>
            <a:stCxn id="153" idx="1"/>
            <a:endCxn id="137" idx="5"/>
          </p:cNvCxnSpPr>
          <p:nvPr/>
        </p:nvCxnSpPr>
        <p:spPr>
          <a:xfrm flipH="1" flipV="1">
            <a:off x="8264680" y="3652815"/>
            <a:ext cx="464571" cy="712937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>
            <a:stCxn id="62" idx="3"/>
          </p:cNvCxnSpPr>
          <p:nvPr/>
        </p:nvCxnSpPr>
        <p:spPr>
          <a:xfrm flipH="1">
            <a:off x="-34640" y="4214065"/>
            <a:ext cx="229970" cy="333596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>
            <a:stCxn id="153" idx="6"/>
          </p:cNvCxnSpPr>
          <p:nvPr/>
        </p:nvCxnSpPr>
        <p:spPr>
          <a:xfrm flipV="1">
            <a:off x="8963115" y="4439267"/>
            <a:ext cx="216556" cy="43568"/>
          </a:xfrm>
          <a:prstGeom prst="line">
            <a:avLst/>
          </a:prstGeom>
          <a:solidFill>
            <a:srgbClr val="00B0F0"/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/>
          <p:cNvSpPr/>
          <p:nvPr/>
        </p:nvSpPr>
        <p:spPr>
          <a:xfrm>
            <a:off x="-31842" y="2982788"/>
            <a:ext cx="2389877" cy="1564347"/>
          </a:xfrm>
          <a:prstGeom prst="rect">
            <a:avLst/>
          </a:prstGeom>
          <a:solidFill>
            <a:schemeClr val="bg1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3834744" y="4254627"/>
            <a:ext cx="5257007" cy="689975"/>
          </a:xfrm>
          <a:prstGeom prst="rect">
            <a:avLst/>
          </a:prstGeom>
          <a:solidFill>
            <a:schemeClr val="bg1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39"/>
          <a:stretch/>
        </p:blipFill>
        <p:spPr>
          <a:xfrm flipH="1">
            <a:off x="1973354" y="4488054"/>
            <a:ext cx="1979206" cy="234431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4007975" y="4763912"/>
            <a:ext cx="496074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/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ой учебно-методический комплекс (ЦУМК) </a:t>
            </a:r>
            <a:r>
              <a:rPr lang="ru-RU" sz="1400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400" b="1" i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 средств обучения и воспитания</a:t>
            </a:r>
            <a:r>
              <a:rPr lang="ru-RU" sz="1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учебно-методических материалов, обратной связи и контроля, необходимых и достаточных для качественной реализации основных и (или) дополнительных образовательных программ в условиях цифровой трансформации образовательного процесса</a:t>
            </a:r>
          </a:p>
        </p:txBody>
      </p:sp>
      <p:sp>
        <p:nvSpPr>
          <p:cNvPr id="97" name="Прямоугольник 96"/>
          <p:cNvSpPr/>
          <p:nvPr/>
        </p:nvSpPr>
        <p:spPr>
          <a:xfrm>
            <a:off x="7034914" y="2847920"/>
            <a:ext cx="1841312" cy="1406678"/>
          </a:xfrm>
          <a:prstGeom prst="rect">
            <a:avLst/>
          </a:prstGeom>
          <a:solidFill>
            <a:schemeClr val="bg1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9089956" y="3397399"/>
            <a:ext cx="1785164" cy="1406678"/>
          </a:xfrm>
          <a:prstGeom prst="rect">
            <a:avLst/>
          </a:prstGeom>
          <a:solidFill>
            <a:schemeClr val="bg1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2327765" y="3716250"/>
            <a:ext cx="1506991" cy="810818"/>
          </a:xfrm>
          <a:prstGeom prst="rect">
            <a:avLst/>
          </a:prstGeom>
          <a:solidFill>
            <a:schemeClr val="bg1"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231968" y="3894535"/>
            <a:ext cx="9930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2F5597"/>
                </a:solidFill>
              </a:rPr>
              <a:t>ЦУМК</a:t>
            </a:r>
            <a:endParaRPr lang="ru-RU" sz="1600" dirty="0">
              <a:solidFill>
                <a:srgbClr val="2F5597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307305" y="3696075"/>
            <a:ext cx="26024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2F5597"/>
                </a:solidFill>
              </a:rPr>
              <a:t>ЦИФРОВОЙ ОБРАЗОВАТЕЛЬНЫЙ КОНТЕНТ </a:t>
            </a:r>
          </a:p>
        </p:txBody>
      </p:sp>
      <p:sp>
        <p:nvSpPr>
          <p:cNvPr id="99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50181" y="6548306"/>
            <a:ext cx="464493" cy="356659"/>
          </a:xfrm>
          <a:prstGeom prst="rect">
            <a:avLst/>
          </a:prstGeom>
        </p:spPr>
        <p:txBody>
          <a:bodyPr/>
          <a:lstStyle/>
          <a:p>
            <a:r>
              <a:rPr lang="ru-RU" sz="1100" dirty="0" smtClean="0">
                <a:solidFill>
                  <a:prstClr val="white">
                    <a:lumMod val="75000"/>
                  </a:prst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4</a:t>
            </a:r>
            <a:endParaRPr lang="en" sz="1100" dirty="0">
              <a:solidFill>
                <a:prstClr val="white">
                  <a:lumMod val="75000"/>
                </a:prst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898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32715" y="199772"/>
            <a:ext cx="5882360" cy="7063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едеральный проект </a:t>
            </a:r>
            <a:b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Цифровая образовательная среда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250877"/>
            <a:ext cx="824048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139A723-A86E-478B-9A92-20F301586D2E}"/>
              </a:ext>
            </a:extLst>
          </p:cNvPr>
          <p:cNvSpPr txBox="1"/>
          <p:nvPr/>
        </p:nvSpPr>
        <p:spPr>
          <a:xfrm>
            <a:off x="369869" y="1361822"/>
            <a:ext cx="7500745" cy="58744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prstClr val="white"/>
                </a:solidFill>
              </a:rPr>
              <a:t>Среда  «ПРОСВЕЩЕНИЕ»</a:t>
            </a: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46176" name="Picture 9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1987179"/>
            <a:ext cx="1814747" cy="2051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178" name="Picture 98" descr="C:\Users\lmartynova\Desktop\Презентация августовки\ИТОГ\Рисунок8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84865" y="2471286"/>
            <a:ext cx="1988015" cy="21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181" name="Picture 10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11" y="4764926"/>
            <a:ext cx="2330442" cy="1844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183" name="Picture 103" descr="C:\Users\lmartynova\Desktop\Презентация августовки\ИТОГ\Рисунок9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46" b="7582"/>
          <a:stretch/>
        </p:blipFill>
        <p:spPr bwMode="auto">
          <a:xfrm>
            <a:off x="2684865" y="4764923"/>
            <a:ext cx="1988015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185" name="Picture 105" descr="C:\Users\lmartynova\Desktop\Презентация августовки\ИТОГ\Рисунок10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6860" y="2471287"/>
            <a:ext cx="2203412" cy="4198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413" name="Picture 69" descr="IMG_193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12" y="2471285"/>
            <a:ext cx="2330441" cy="215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162987"/>
            <a:ext cx="1834243" cy="2445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32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817" y="194433"/>
            <a:ext cx="1049337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4650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08104" y="2"/>
            <a:ext cx="1998018" cy="17726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Рисунок 29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"/>
            <a:ext cx="1839786" cy="17613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1" name="Shape 181"/>
          <p:cNvSpPr/>
          <p:nvPr/>
        </p:nvSpPr>
        <p:spPr>
          <a:xfrm>
            <a:off x="0" y="1747374"/>
            <a:ext cx="9144000" cy="5138012"/>
          </a:xfrm>
          <a:prstGeom prst="rect">
            <a:avLst/>
          </a:prstGeom>
          <a:solidFill>
            <a:srgbClr val="1C4587">
              <a:alpha val="6920"/>
            </a:srgbClr>
          </a:solidFill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ct val="0"/>
              </a:spcBef>
            </a:pP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      </a:t>
            </a:r>
          </a:p>
        </p:txBody>
      </p:sp>
      <p:sp>
        <p:nvSpPr>
          <p:cNvPr id="183" name="Shape 183"/>
          <p:cNvSpPr txBox="1"/>
          <p:nvPr/>
        </p:nvSpPr>
        <p:spPr>
          <a:xfrm>
            <a:off x="107504" y="4869174"/>
            <a:ext cx="4392490" cy="189282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ru-RU" sz="1100" b="1" kern="0" dirty="0">
                <a:solidFill>
                  <a:srgbClr val="003366"/>
                </a:solidFill>
                <a:ea typeface="Circe" charset="0"/>
                <a:cs typeface="Circe" charset="0"/>
                <a:sym typeface="Arial"/>
              </a:rPr>
              <a:t>Химия в школе (углублённый курс).</a:t>
            </a:r>
            <a:br>
              <a:rPr lang="ru-RU" sz="1100" b="1" kern="0" dirty="0">
                <a:solidFill>
                  <a:srgbClr val="003366"/>
                </a:solidFill>
                <a:ea typeface="Circe" charset="0"/>
                <a:cs typeface="Circe" charset="0"/>
                <a:sym typeface="Arial"/>
              </a:rPr>
            </a:br>
            <a:r>
              <a:rPr lang="ru-RU" sz="1100" kern="0" dirty="0">
                <a:solidFill>
                  <a:srgbClr val="003366"/>
                </a:solidFill>
                <a:ea typeface="Circe" charset="0"/>
                <a:cs typeface="Circe" charset="0"/>
                <a:sym typeface="Arial"/>
              </a:rPr>
              <a:t>Особенности содержания и методики современного учебного занятия (36 ч)</a:t>
            </a:r>
            <a:endParaRPr lang="ru-RU" sz="800" kern="0" dirty="0">
              <a:solidFill>
                <a:srgbClr val="000000"/>
              </a:solidFill>
              <a:cs typeface="Arial"/>
              <a:sym typeface="Arial"/>
            </a:endParaRPr>
          </a:p>
          <a:p>
            <a:pPr marL="171450" indent="-171450" algn="just">
              <a:spcBef>
                <a:spcPct val="0"/>
              </a:spcBef>
              <a:buFontTx/>
              <a:buChar char="-"/>
            </a:pPr>
            <a:r>
              <a:rPr lang="ru-RU" sz="800" kern="0" dirty="0">
                <a:solidFill>
                  <a:srgbClr val="000000"/>
                </a:solidFill>
                <a:cs typeface="Arial"/>
                <a:sym typeface="Arial"/>
              </a:rPr>
              <a:t>изучение лучших практик учителей химии, работающих в профильных  классах  разной  направленности  школ  Москвы  и  регионов России</a:t>
            </a:r>
          </a:p>
          <a:p>
            <a:pPr marL="171450" indent="-171450" algn="just">
              <a:spcBef>
                <a:spcPct val="0"/>
              </a:spcBef>
              <a:buFontTx/>
              <a:buChar char="-"/>
            </a:pPr>
            <a:r>
              <a:rPr lang="ru-RU" sz="800" kern="0" dirty="0">
                <a:solidFill>
                  <a:srgbClr val="000000"/>
                </a:solidFill>
                <a:cs typeface="Arial"/>
                <a:sym typeface="Arial"/>
              </a:rPr>
              <a:t>возможность организовать межшкольные химические и экологические проекты, определить общие межрегиональные направления сотрудничества </a:t>
            </a:r>
          </a:p>
          <a:p>
            <a:pPr marL="171450" indent="-171450" algn="just">
              <a:spcBef>
                <a:spcPct val="0"/>
              </a:spcBef>
              <a:buFontTx/>
              <a:buChar char="-"/>
            </a:pPr>
            <a:r>
              <a:rPr lang="ru-RU" sz="800" kern="0" dirty="0">
                <a:solidFill>
                  <a:srgbClr val="000000"/>
                </a:solidFill>
                <a:cs typeface="Arial"/>
                <a:sym typeface="Arial"/>
              </a:rPr>
              <a:t>знакомство  с новейшими исследованиями, открытиями и технологиями в области химии от ведущих учёных  химического факультета МГУ им. М.В. Ломоносова </a:t>
            </a:r>
          </a:p>
        </p:txBody>
      </p:sp>
      <p:pic>
        <p:nvPicPr>
          <p:cNvPr id="20" name="Shape 5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79512" y="260650"/>
            <a:ext cx="1362200" cy="496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720" y="1"/>
            <a:ext cx="1950189" cy="17726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0"/>
            <a:ext cx="1793914" cy="17744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3" name="Shape 182"/>
          <p:cNvSpPr txBox="1"/>
          <p:nvPr/>
        </p:nvSpPr>
        <p:spPr>
          <a:xfrm>
            <a:off x="0" y="907097"/>
            <a:ext cx="7542584" cy="88467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25" tIns="91425" rIns="91425" bIns="91425" anchor="b" anchorCtr="0">
            <a:noAutofit/>
          </a:bodyPr>
          <a:lstStyle/>
          <a:p>
            <a:r>
              <a:rPr lang="ru-RU" sz="3600" b="1" kern="0" dirty="0">
                <a:solidFill>
                  <a:srgbClr val="FFFFFF"/>
                </a:solidFill>
                <a:latin typeface="Arial (Заголовки)"/>
                <a:ea typeface="Roboto"/>
                <a:cs typeface="Roboto"/>
                <a:sym typeface="Roboto"/>
              </a:rPr>
              <a:t>Образовательные стажировки</a:t>
            </a:r>
            <a:endParaRPr sz="3600" b="1" kern="0" dirty="0">
              <a:solidFill>
                <a:srgbClr val="FFFFFF"/>
              </a:solidFill>
              <a:latin typeface="Arial (Заголовки)"/>
              <a:ea typeface="Roboto"/>
              <a:cs typeface="Roboto"/>
              <a:sym typeface="Roboto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5341" y="-2"/>
            <a:ext cx="1666523" cy="17613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6" name="Shape 183"/>
          <p:cNvSpPr txBox="1"/>
          <p:nvPr/>
        </p:nvSpPr>
        <p:spPr>
          <a:xfrm>
            <a:off x="4572001" y="4869176"/>
            <a:ext cx="4320480" cy="189407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>
              <a:spcBef>
                <a:spcPct val="0"/>
              </a:spcBef>
            </a:pPr>
            <a:r>
              <a:rPr lang="ru-RU" sz="1100" b="1" kern="0" dirty="0">
                <a:solidFill>
                  <a:srgbClr val="003366"/>
                </a:solidFill>
                <a:ea typeface="Circe" charset="0"/>
                <a:cs typeface="Circe" charset="0"/>
                <a:sym typeface="Arial"/>
              </a:rPr>
              <a:t>Биология в школе (углублённый курс).</a:t>
            </a:r>
            <a:br>
              <a:rPr lang="ru-RU" sz="1100" b="1" kern="0" dirty="0">
                <a:solidFill>
                  <a:srgbClr val="003366"/>
                </a:solidFill>
                <a:ea typeface="Circe" charset="0"/>
                <a:cs typeface="Circe" charset="0"/>
                <a:sym typeface="Arial"/>
              </a:rPr>
            </a:br>
            <a:r>
              <a:rPr lang="ru-RU" sz="1100" kern="0" dirty="0">
                <a:solidFill>
                  <a:srgbClr val="003366"/>
                </a:solidFill>
                <a:ea typeface="Circe" charset="0"/>
                <a:cs typeface="Circe" charset="0"/>
                <a:sym typeface="Arial"/>
              </a:rPr>
              <a:t>Особенности содержания и методики современного учебного занятия (36 ч)</a:t>
            </a:r>
            <a:endParaRPr lang="ru-RU" sz="800" kern="0" dirty="0">
              <a:solidFill>
                <a:srgbClr val="000000"/>
              </a:solidFill>
              <a:cs typeface="Arial"/>
              <a:sym typeface="Arial"/>
            </a:endParaRPr>
          </a:p>
          <a:p>
            <a:pPr marL="171450" indent="-171450" algn="just">
              <a:spcBef>
                <a:spcPct val="0"/>
              </a:spcBef>
              <a:buFontTx/>
              <a:buChar char="-"/>
            </a:pPr>
            <a:r>
              <a:rPr lang="ru-RU" sz="800" kern="0" dirty="0">
                <a:solidFill>
                  <a:srgbClr val="000000"/>
                </a:solidFill>
                <a:cs typeface="Arial"/>
                <a:sym typeface="Arial"/>
              </a:rPr>
              <a:t>изучение  эффективных практик учителей биологии, работающих в профильных  классах разной направленности школ Москвы и регионов России</a:t>
            </a:r>
          </a:p>
          <a:p>
            <a:pPr marL="171450" indent="-171450" algn="just">
              <a:spcBef>
                <a:spcPct val="0"/>
              </a:spcBef>
              <a:buFontTx/>
              <a:buChar char="-"/>
            </a:pPr>
            <a:r>
              <a:rPr lang="ru-RU" sz="800" kern="0" dirty="0">
                <a:solidFill>
                  <a:srgbClr val="000000"/>
                </a:solidFill>
                <a:cs typeface="Arial"/>
                <a:sym typeface="Arial"/>
              </a:rPr>
              <a:t>возможность организовать межшкольные биологические и экологические проекты, определить общие межрегиональные направления сотрудничества</a:t>
            </a:r>
          </a:p>
          <a:p>
            <a:pPr marL="171450" indent="-171450" algn="just">
              <a:spcBef>
                <a:spcPct val="0"/>
              </a:spcBef>
              <a:buFontTx/>
              <a:buChar char="-"/>
            </a:pPr>
            <a:r>
              <a:rPr lang="ru-RU" sz="800" kern="0" dirty="0">
                <a:solidFill>
                  <a:srgbClr val="000000"/>
                </a:solidFill>
                <a:cs typeface="Arial"/>
                <a:sym typeface="Arial"/>
              </a:rPr>
              <a:t>знакомство с новейшими исследованиями, открытиями и технологиями в области биологии от ведущих учёных биологического факультета МГУ им. М.В. Ломоносова </a:t>
            </a:r>
            <a:endParaRPr lang="ru-RU" sz="5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1031" name="Picture 7" descr="C:\Users\OZheleznikova\Desktop\16.12.16. МБК_курсы\ФОТО_Биологи\DSC02905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177" t="25387" r="2637"/>
          <a:stretch/>
        </p:blipFill>
        <p:spPr bwMode="auto">
          <a:xfrm>
            <a:off x="6579195" y="3044957"/>
            <a:ext cx="2313295" cy="18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OZheleznikova\Desktop\DSC02465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24"/>
          <a:stretch/>
        </p:blipFill>
        <p:spPr bwMode="auto">
          <a:xfrm>
            <a:off x="4644711" y="1946245"/>
            <a:ext cx="2323907" cy="18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644701" y="3909054"/>
            <a:ext cx="1934484" cy="1103915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/>
          <a:p>
            <a:pPr>
              <a:spcBef>
                <a:spcPct val="0"/>
              </a:spcBef>
            </a:pP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«Каникулы для биологов»</a:t>
            </a:r>
          </a:p>
          <a:p>
            <a:pPr>
              <a:spcBef>
                <a:spcPts val="600"/>
              </a:spcBef>
            </a:pP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г. Москва</a:t>
            </a:r>
          </a:p>
          <a:p>
            <a:pPr>
              <a:spcBef>
                <a:spcPct val="0"/>
              </a:spcBef>
            </a:pP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28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.</a:t>
            </a: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10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-</a:t>
            </a: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31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.</a:t>
            </a: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10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.201</a:t>
            </a: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9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/>
            </a:r>
            <a:b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</a:br>
            <a:endParaRPr lang="ru-RU" altLang="ru-RU" sz="1100" b="1" kern="0" dirty="0">
              <a:solidFill>
                <a:srgbClr val="C00000"/>
              </a:solidFill>
              <a:ea typeface="Circe" charset="0"/>
              <a:cs typeface="Aharoni" panose="02010803020104030203" pitchFamily="2" charset="-79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9516" y="3909054"/>
            <a:ext cx="2005441" cy="1103915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/>
          <a:p>
            <a:pPr>
              <a:spcBef>
                <a:spcPct val="0"/>
              </a:spcBef>
            </a:pP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«Каникулы для химиков»</a:t>
            </a:r>
          </a:p>
          <a:p>
            <a:pPr>
              <a:spcBef>
                <a:spcPts val="600"/>
              </a:spcBef>
            </a:pP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г. Москва</a:t>
            </a:r>
            <a:b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</a:b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28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.</a:t>
            </a: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10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-</a:t>
            </a: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31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.</a:t>
            </a: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10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.201</a:t>
            </a:r>
            <a:r>
              <a:rPr lang="en-US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>9</a:t>
            </a:r>
            <a: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  <a:t/>
            </a:r>
            <a:br>
              <a:rPr lang="ru-RU" altLang="ru-RU" sz="1100" b="1" kern="0" dirty="0">
                <a:solidFill>
                  <a:srgbClr val="C00000"/>
                </a:solidFill>
                <a:ea typeface="Circe" charset="0"/>
                <a:cs typeface="Aharoni" panose="02010803020104030203" pitchFamily="2" charset="-79"/>
                <a:sym typeface="Arial"/>
              </a:rPr>
            </a:br>
            <a:endParaRPr lang="ru-RU" altLang="ru-RU" sz="1100" b="1" kern="0" dirty="0">
              <a:solidFill>
                <a:srgbClr val="C00000"/>
              </a:solidFill>
              <a:ea typeface="Circe" charset="0"/>
              <a:cs typeface="Aharoni" panose="02010803020104030203" pitchFamily="2" charset="-79"/>
              <a:sym typeface="Arial"/>
            </a:endParaRPr>
          </a:p>
        </p:txBody>
      </p:sp>
      <p:pic>
        <p:nvPicPr>
          <p:cNvPr id="18" name="Рисунок 17" descr="DSC03544"/>
          <p:cNvPicPr>
            <a:picLocks noChangeAspect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t="19449"/>
          <a:stretch/>
        </p:blipFill>
        <p:spPr bwMode="auto">
          <a:xfrm>
            <a:off x="2184963" y="3044957"/>
            <a:ext cx="2315041" cy="18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 descr="C:\Users\OZheleznikova\Desktop\16.12.16. МБК_курсы\ФОТО_Химики\DSC03010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255" t="16630" r="10333" b="12472"/>
          <a:stretch/>
        </p:blipFill>
        <p:spPr bwMode="auto">
          <a:xfrm>
            <a:off x="179512" y="1946245"/>
            <a:ext cx="2386158" cy="18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4929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C00000"/>
                </a:solidFill>
                <a:latin typeface="Impact" panose="020B0806030902050204" pitchFamily="34" charset="0"/>
              </a:rPr>
              <a:t>РЕАЛИЗАЦИЯ В БУДУЩЕМ</a:t>
            </a:r>
            <a:endParaRPr lang="ru-RU" dirty="0">
              <a:solidFill>
                <a:srgbClr val="C00000"/>
              </a:solidFill>
              <a:latin typeface="Impact" panose="020B0806030902050204" pitchFamily="34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700808"/>
            <a:ext cx="3944268" cy="2216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5" y="1700809"/>
            <a:ext cx="3960440" cy="22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5" descr="https://systemsofsales.ru/wp-content/uploads/2017/02/1436231874_fnb-id-elevate-professional-development-0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73" y="4023261"/>
            <a:ext cx="7143750" cy="2781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0589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C00000"/>
                </a:solidFill>
                <a:latin typeface="Impact" panose="020B0806030902050204" pitchFamily="34" charset="0"/>
              </a:rPr>
              <a:t>УСПЕШНОСТЬ</a:t>
            </a:r>
            <a:endParaRPr lang="ru-RU" dirty="0">
              <a:solidFill>
                <a:srgbClr val="C00000"/>
              </a:solidFill>
              <a:latin typeface="Impact" panose="020B0806030902050204" pitchFamily="34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2348880"/>
            <a:ext cx="6629400" cy="389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95536" y="1196752"/>
            <a:ext cx="84969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i="1" dirty="0">
                <a:solidFill>
                  <a:prstClr val="black"/>
                </a:solidFill>
              </a:rPr>
              <a:t> </a:t>
            </a:r>
            <a:r>
              <a:rPr lang="ru-RU" b="1" i="1" dirty="0">
                <a:solidFill>
                  <a:srgbClr val="1F497D">
                    <a:lumMod val="75000"/>
                  </a:srgbClr>
                </a:solidFill>
              </a:rPr>
              <a:t>Успешность (Успешный) как качество личности –  способность добиваться выполнения своих целей </a:t>
            </a:r>
            <a:r>
              <a:rPr lang="ru-RU" b="1" i="1" dirty="0" err="1">
                <a:solidFill>
                  <a:srgbClr val="1F497D">
                    <a:lumMod val="75000"/>
                  </a:srgbClr>
                </a:solidFill>
              </a:rPr>
              <a:t>экологично</a:t>
            </a:r>
            <a:r>
              <a:rPr lang="ru-RU" b="1" i="1" dirty="0">
                <a:solidFill>
                  <a:srgbClr val="1F497D">
                    <a:lumMod val="75000"/>
                  </a:srgbClr>
                </a:solidFill>
              </a:rPr>
              <a:t>, параллельно совершенствованию личности, без нанесения урона своему внутреннему миру, находясь в гармонии с самим собой и законами мироздания.</a:t>
            </a:r>
            <a:endParaRPr lang="ru-RU" dirty="0">
              <a:solidFill>
                <a:srgbClr val="1F497D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424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C00000"/>
                </a:solidFill>
                <a:latin typeface="Impact" panose="020B0806030902050204" pitchFamily="34" charset="0"/>
              </a:rPr>
              <a:t>Реализуем приоритетный проект</a:t>
            </a:r>
            <a:endParaRPr lang="ru-RU" dirty="0">
              <a:solidFill>
                <a:srgbClr val="C00000"/>
              </a:solidFill>
              <a:latin typeface="Impact" panose="020B0806030902050204" pitchFamily="34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 descr="ÐÐ°ÑÑÐ¸Ð½ÐºÐ¸ Ð¿Ð¾ Ð·Ð°Ð¿ÑÐ¾ÑÑ ÑÐµÐ±ÐµÐ½Ð¾Ðº ÑÐ¸ÑÑÐµÑ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5" y="1600200"/>
            <a:ext cx="8855768" cy="4968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620280" y="3356999"/>
            <a:ext cx="36541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</a:rPr>
              <a:t/>
            </a:r>
            <a:br>
              <a:rPr lang="ru-RU" sz="2400" b="1" dirty="0">
                <a:solidFill>
                  <a:srgbClr val="FF0000"/>
                </a:solidFill>
              </a:rPr>
            </a:br>
            <a:endParaRPr lang="ru-R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31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КИДКИ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772816"/>
            <a:ext cx="8280920" cy="50415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98335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6342" y="1202154"/>
            <a:ext cx="4572000" cy="2300937"/>
          </a:xfrm>
          <a:prstGeom prst="rect">
            <a:avLst/>
          </a:prstGeom>
        </p:spPr>
        <p:txBody>
          <a:bodyPr lIns="38387" tIns="19202" rIns="38387" bIns="19202">
            <a:spAutoFit/>
          </a:bodyPr>
          <a:lstStyle/>
          <a:p>
            <a:pPr algn="ctr" defTabSz="344901" hangingPunct="0"/>
            <a:r>
              <a:rPr lang="ru-RU" sz="2100" kern="0" dirty="0">
                <a:solidFill>
                  <a:srgbClr val="000000"/>
                </a:solidFill>
                <a:sym typeface="Helvetica Light"/>
              </a:rPr>
              <a:t>В ассортименте магазина представлены школьные учебники, рабочие тетради, методические пособия, карты и атласы, а также широкий выбор изданий для дошкольного образования. </a:t>
            </a:r>
          </a:p>
          <a:p>
            <a:pPr algn="ctr" defTabSz="344901" hangingPunct="0"/>
            <a:r>
              <a:rPr lang="ru-RU" sz="2100" b="1" i="1" u="sng" kern="0" dirty="0">
                <a:solidFill>
                  <a:srgbClr val="0070C0"/>
                </a:solidFill>
                <a:cs typeface="Aharoni" panose="02010803020104030203" pitchFamily="2" charset="-79"/>
                <a:sym typeface="Helvetica Light"/>
              </a:rPr>
              <a:t>shop.prosv.ru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6346" y="561286"/>
            <a:ext cx="4525055" cy="4453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0004" tIns="30004" rIns="30004" bIns="30004" numCol="1" spcCol="16002" rtlCol="0" anchor="ctr">
            <a:spAutoFit/>
          </a:bodyPr>
          <a:lstStyle/>
          <a:p>
            <a:pPr algn="ctr" defTabSz="344901" hangingPunct="0"/>
            <a:r>
              <a:rPr lang="ru-RU" sz="2500" kern="0" dirty="0">
                <a:solidFill>
                  <a:srgbClr val="0365C0">
                    <a:lumMod val="50000"/>
                  </a:srgbClr>
                </a:solidFill>
                <a:latin typeface="Arial Black" panose="020B0A04020102020204" pitchFamily="34" charset="0"/>
                <a:sym typeface="Helvetica Light"/>
              </a:rPr>
              <a:t>Как купить онлайн: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47" t="6031" r="23899" b="9682"/>
          <a:stretch/>
        </p:blipFill>
        <p:spPr bwMode="auto">
          <a:xfrm>
            <a:off x="5152768" y="188640"/>
            <a:ext cx="3554444" cy="4037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16353" y="4653139"/>
            <a:ext cx="4572000" cy="1654606"/>
          </a:xfrm>
          <a:prstGeom prst="rect">
            <a:avLst/>
          </a:prstGeom>
        </p:spPr>
        <p:txBody>
          <a:bodyPr lIns="38387" tIns="19202" rIns="38387" bIns="19202">
            <a:spAutoFit/>
          </a:bodyPr>
          <a:lstStyle/>
          <a:p>
            <a:pPr algn="ctr" defTabSz="344901" hangingPunct="0"/>
            <a:r>
              <a:rPr lang="ru-RU" sz="2100" kern="0" dirty="0">
                <a:solidFill>
                  <a:srgbClr val="000000"/>
                </a:solidFill>
                <a:sym typeface="Helvetica Light"/>
              </a:rPr>
              <a:t>Для образовательных организаций:</a:t>
            </a:r>
          </a:p>
          <a:p>
            <a:pPr algn="ctr" defTabSz="344901" hangingPunct="0"/>
            <a:r>
              <a:rPr lang="ru-RU" sz="2100" kern="0" dirty="0">
                <a:solidFill>
                  <a:srgbClr val="000000"/>
                </a:solidFill>
                <a:sym typeface="Helvetica Light"/>
              </a:rPr>
              <a:t>отдел по работе с государственными заказами: </a:t>
            </a:r>
            <a:r>
              <a:rPr lang="ru-RU" sz="2100" b="1" kern="0" dirty="0">
                <a:solidFill>
                  <a:srgbClr val="C00000"/>
                </a:solidFill>
                <a:sym typeface="Helvetica Light"/>
              </a:rPr>
              <a:t>GTrofimova@prosv.ru</a:t>
            </a:r>
            <a:r>
              <a:rPr lang="ru-RU" sz="2100" kern="0" dirty="0">
                <a:solidFill>
                  <a:srgbClr val="000000"/>
                </a:solidFill>
                <a:sym typeface="Helvetica Light"/>
              </a:rPr>
              <a:t>; </a:t>
            </a:r>
          </a:p>
          <a:p>
            <a:pPr algn="ctr" defTabSz="344901" hangingPunct="0"/>
            <a:r>
              <a:rPr lang="ru-RU" sz="2100" kern="0" dirty="0">
                <a:solidFill>
                  <a:srgbClr val="000000"/>
                </a:solidFill>
                <a:sym typeface="Helvetica Light"/>
              </a:rPr>
              <a:t>+7(495) 789-30-40 (доб. 41-44)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47" t="6706" r="23363" b="40039"/>
          <a:stretch/>
        </p:blipFill>
        <p:spPr bwMode="auto">
          <a:xfrm>
            <a:off x="5152768" y="4122972"/>
            <a:ext cx="3237748" cy="2245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1714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2">
                    <a:lumMod val="75000"/>
                  </a:schemeClr>
                </a:solidFill>
                <a:latin typeface="Impact" panose="020B0806030902050204" pitchFamily="34" charset="0"/>
              </a:rPr>
              <a:t>ПРОФЕССИИ БУДУЩЕГО</a:t>
            </a:r>
            <a:endParaRPr lang="ru-RU" dirty="0">
              <a:solidFill>
                <a:schemeClr val="accent2">
                  <a:lumMod val="7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b="1" dirty="0"/>
              <a:t>Тенденции настоящего и профессии будущего</a:t>
            </a:r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Т-медик;</a:t>
            </a:r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иоэтик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енетический консультант;</a:t>
            </a:r>
          </a:p>
          <a:p>
            <a:r>
              <a:rPr lang="ru-RU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коаналитик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строительстве;</a:t>
            </a:r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рхитектор </a:t>
            </a:r>
            <a:r>
              <a:rPr lang="ru-RU" sz="2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нергонулевых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омов;</a:t>
            </a: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енер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ворческих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й;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рхитектор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ерриторий.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583" y="5094747"/>
            <a:ext cx="2522283" cy="1634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558" y="116661"/>
            <a:ext cx="54292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13535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3347865" y="939078"/>
            <a:ext cx="5796136" cy="3498034"/>
          </a:xfrm>
          <a:prstGeom prst="rect">
            <a:avLst/>
          </a:prstGeom>
          <a:effectLst>
            <a:softEdge rad="317500"/>
          </a:effectLst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 lIns="79951" tIns="39976" rIns="79951" bIns="39976"/>
          <a:lstStyle>
            <a:lvl1pPr defTabSz="1042988"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1042988">
              <a:defRPr sz="21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1042988">
              <a:defRPr sz="21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1042988"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1042988"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400" b="1" kern="0" dirty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Ждем </a:t>
            </a:r>
            <a:r>
              <a:rPr lang="ru-RU" altLang="ru-RU" sz="2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 Ваших предложений </a:t>
            </a:r>
            <a:r>
              <a:rPr lang="ru-RU" altLang="ru-RU" sz="2400" b="1" kern="0" dirty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и надеемся на сотрудничество</a:t>
            </a:r>
            <a:r>
              <a:rPr lang="ru-RU" altLang="ru-RU" sz="2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!</a:t>
            </a:r>
          </a:p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ПО ВОЗНИКАЮЩИМ ВОПРОСАМ </a:t>
            </a:r>
          </a:p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Вы можете обратиться письменно:</a:t>
            </a:r>
          </a:p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Заведующая редакцией химии  руководитель ЦЕМО: Локотко Е.Г.</a:t>
            </a:r>
            <a:endParaRPr lang="ru-RU" altLang="ru-RU" sz="1400" b="1" kern="0" dirty="0">
              <a:solidFill>
                <a:srgbClr val="4F81BD">
                  <a:lumMod val="7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Helvetica"/>
            </a:endParaRPr>
          </a:p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  <a:hlinkClick r:id="rId3"/>
              </a:rPr>
              <a:t>ELokotko@prosv.ru</a:t>
            </a:r>
            <a:endParaRPr lang="ru-RU" altLang="ru-RU" sz="1400" b="1" kern="0" dirty="0" smtClean="0">
              <a:solidFill>
                <a:srgbClr val="4F81BD">
                  <a:lumMod val="7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Helvetica"/>
            </a:endParaRPr>
          </a:p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Руководитель проекта: Сладков С.А.</a:t>
            </a:r>
          </a:p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  <a:hlinkClick r:id="rId4"/>
              </a:rPr>
              <a:t>Ssladkov@prosv.ru</a:t>
            </a:r>
            <a:r>
              <a:rPr lang="en-US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   </a:t>
            </a:r>
            <a:endParaRPr lang="ru-RU" altLang="ru-RU" sz="1400" b="1" kern="0" dirty="0" smtClean="0">
              <a:solidFill>
                <a:srgbClr val="4F81BD">
                  <a:lumMod val="7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Helvetica"/>
            </a:endParaRPr>
          </a:p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Ведущий методист Синдрякова Е.В.</a:t>
            </a:r>
            <a:endParaRPr lang="en-US" altLang="ru-RU" sz="1400" b="1" kern="0" dirty="0" smtClean="0">
              <a:solidFill>
                <a:srgbClr val="4F81BD">
                  <a:lumMod val="7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Helvetica"/>
            </a:endParaRPr>
          </a:p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  <a:hlinkClick r:id="rId5"/>
              </a:rPr>
              <a:t>Esindryakova@prosv.ru</a:t>
            </a:r>
            <a:r>
              <a:rPr lang="en-US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  </a:t>
            </a:r>
          </a:p>
          <a:p>
            <a:pPr algn="ctr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1400" b="1" kern="0" dirty="0" smtClean="0">
                <a:solidFill>
                  <a:srgbClr val="4F81BD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Helvetica"/>
              </a:rPr>
              <a:t>     </a:t>
            </a:r>
            <a:endParaRPr lang="ru-RU" altLang="ru-RU" sz="1400" b="1" kern="0" dirty="0">
              <a:solidFill>
                <a:srgbClr val="4F81BD">
                  <a:lumMod val="7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Helvetica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50913" y="6106735"/>
            <a:ext cx="1046767" cy="391864"/>
          </a:xfrm>
          <a:prstGeom prst="rect">
            <a:avLst/>
          </a:prstGeom>
          <a:solidFill>
            <a:srgbClr val="A2D4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 hangingPunct="0"/>
            <a:r>
              <a:rPr lang="en-US" sz="2500" b="1" kern="0" dirty="0">
                <a:solidFill>
                  <a:srgbClr val="2C4D76"/>
                </a:solidFill>
                <a:latin typeface="Helvetica Condensed" pitchFamily="34" charset="0"/>
                <a:sym typeface="Helvetica"/>
              </a:rPr>
              <a:t>201</a:t>
            </a:r>
            <a:r>
              <a:rPr lang="ru-RU" sz="2500" b="1" kern="0" dirty="0">
                <a:solidFill>
                  <a:srgbClr val="2C4D76"/>
                </a:solidFill>
                <a:latin typeface="Helvetica Condensed" pitchFamily="34" charset="0"/>
                <a:sym typeface="Helvetica"/>
              </a:rPr>
              <a:t>9</a:t>
            </a:r>
            <a:endParaRPr lang="ru-RU" sz="2500" b="1" kern="0" dirty="0">
              <a:solidFill>
                <a:srgbClr val="2C4D76"/>
              </a:solidFill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111312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 descr="000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5" y="831060"/>
            <a:ext cx="1551373" cy="6026940"/>
          </a:xfrm>
          <a:prstGeom prst="rect">
            <a:avLst/>
          </a:prstGeom>
        </p:spPr>
      </p:pic>
      <p:sp>
        <p:nvSpPr>
          <p:cNvPr id="11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3" y="6337312"/>
            <a:ext cx="539552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60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7</a:t>
            </a:fld>
            <a:endParaRPr lang="en" sz="16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13" name="Рисунок 12" descr="li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787864"/>
            <a:ext cx="9144000" cy="70136"/>
          </a:xfrm>
          <a:prstGeom prst="rect">
            <a:avLst/>
          </a:prstGeom>
        </p:spPr>
      </p:pic>
      <p:sp>
        <p:nvSpPr>
          <p:cNvPr id="41" name="Название 1"/>
          <p:cNvSpPr txBox="1">
            <a:spLocks/>
          </p:cNvSpPr>
          <p:nvPr/>
        </p:nvSpPr>
        <p:spPr>
          <a:xfrm>
            <a:off x="1698188" y="1019171"/>
            <a:ext cx="7249875" cy="1005572"/>
          </a:xfrm>
          <a:prstGeom prst="rect">
            <a:avLst/>
          </a:prstGeom>
        </p:spPr>
        <p:txBody>
          <a:bodyPr vert="horz" lIns="103882" tIns="51941" rIns="103882" bIns="51941" rtlCol="0" anchor="t" anchorCtr="0">
            <a:noAutofit/>
          </a:bodyPr>
          <a:lstStyle/>
          <a:p>
            <a:pPr algn="ctr" defTabSz="914340"/>
            <a:r>
              <a:rPr lang="ru-RU" sz="2000" b="1" dirty="0">
                <a:solidFill>
                  <a:srgbClr val="0073B8"/>
                </a:solidFill>
              </a:rPr>
              <a:t>Учитывая намеченные Указом перспективы развития, Россия ждёт, </a:t>
            </a:r>
          </a:p>
          <a:p>
            <a:pPr algn="ctr" defTabSz="914340"/>
            <a:r>
              <a:rPr lang="ru-RU" sz="2000" b="1" dirty="0">
                <a:solidFill>
                  <a:srgbClr val="0073B8"/>
                </a:solidFill>
              </a:rPr>
              <a:t>что сегодняшние и будущие выпускники системы образования – это люди</a:t>
            </a:r>
            <a:endParaRPr lang="ru-RU" sz="2000" dirty="0">
              <a:solidFill>
                <a:srgbClr val="44546A">
                  <a:lumMod val="75000"/>
                </a:srgb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2" name="Название 1"/>
          <p:cNvSpPr txBox="1">
            <a:spLocks/>
          </p:cNvSpPr>
          <p:nvPr/>
        </p:nvSpPr>
        <p:spPr>
          <a:xfrm>
            <a:off x="2051760" y="2348880"/>
            <a:ext cx="6814697" cy="4432926"/>
          </a:xfrm>
          <a:prstGeom prst="rect">
            <a:avLst/>
          </a:prstGeom>
        </p:spPr>
        <p:txBody>
          <a:bodyPr vert="horz" lIns="103882" tIns="51941" rIns="103882" bIns="51941" rtlCol="0" anchor="t" anchorCtr="0">
            <a:noAutofit/>
          </a:bodyPr>
          <a:lstStyle/>
          <a:p>
            <a:pPr marL="342878" indent="-342878" algn="just" defTabSz="914340">
              <a:lnSpc>
                <a:spcPct val="90000"/>
              </a:lnSpc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здоровые, активные, работоспособные, социально ответственные, заботящиеся о своём здоровье, общественной безопасности и сохранности окружающей среды;</a:t>
            </a:r>
          </a:p>
          <a:p>
            <a:pPr marL="342878" indent="-342878" algn="just" defTabSz="914340">
              <a:lnSpc>
                <a:spcPct val="90000"/>
              </a:lnSpc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любящие свою Родину, свой народ, разделяющие систему духовно-нравственных ценностей народов Российской Федерации и идею служения своему отечеству, обществу, семье; стремящиеся передать эти ценности своим детям;</a:t>
            </a:r>
          </a:p>
          <a:p>
            <a:pPr marL="342878" indent="-342878" algn="just" defTabSz="914340">
              <a:lnSpc>
                <a:spcPct val="90000"/>
              </a:lnSpc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предприимчивые и инициативные, стремящиеся использовать все доступные условия и любые открывающиеся возможности для самопознания, самореализации и самосовершенствования, для повышения своего образовательного уровня и профессионального мастерства, для улучшения условий своего проживания и городской среды, для дальнейшего освоения и переустройства территорий России;</a:t>
            </a:r>
          </a:p>
          <a:p>
            <a:pPr marL="342878" indent="-342878" algn="just" defTabSz="914340">
              <a:lnSpc>
                <a:spcPct val="90000"/>
              </a:lnSpc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способные внести вклад в ускоренное технологическое развитие России, обладающие инновационным мышлением, способные предлагать и осуществлять технологические и социальные инновации;</a:t>
            </a:r>
          </a:p>
          <a:p>
            <a:pPr marL="342878" indent="-342878" algn="just" defTabSz="914340">
              <a:lnSpc>
                <a:spcPct val="90000"/>
              </a:lnSpc>
              <a:spcAft>
                <a:spcPts val="1200"/>
              </a:spcAft>
              <a:buClr>
                <a:srgbClr val="0073B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способные жить и эффективно действовать в условиях массового внедрения цифровых технологий в экономике и социальной сфере, соблюдающие правила информационной культуры и безопасности</a:t>
            </a:r>
            <a:endParaRPr lang="ru-RU" sz="1400" dirty="0">
              <a:solidFill>
                <a:srgbClr val="44546A">
                  <a:lumMod val="75000"/>
                </a:srgb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 flipH="1">
            <a:off x="0" y="98351"/>
            <a:ext cx="9144000" cy="859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5" rIns="121908" bIns="60955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sp>
        <p:nvSpPr>
          <p:cNvPr id="91" name="Прямоугольник 90"/>
          <p:cNvSpPr/>
          <p:nvPr/>
        </p:nvSpPr>
        <p:spPr>
          <a:xfrm flipH="1">
            <a:off x="1979712" y="96045"/>
            <a:ext cx="7164288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5" rIns="121908" bIns="60955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92" name="Прямая соединительная линия 91"/>
          <p:cNvCxnSpPr/>
          <p:nvPr/>
        </p:nvCxnSpPr>
        <p:spPr>
          <a:xfrm>
            <a:off x="1551214" y="192428"/>
            <a:ext cx="1538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1673687" y="100258"/>
            <a:ext cx="7258044" cy="774048"/>
          </a:xfrm>
          <a:prstGeom prst="rect">
            <a:avLst/>
          </a:prstGeom>
          <a:noFill/>
        </p:spPr>
        <p:txBody>
          <a:bodyPr wrap="square" lIns="121908" tIns="60955" rIns="121908" bIns="60955" rtlCol="0">
            <a:spAutoFit/>
          </a:bodyPr>
          <a:lstStyle/>
          <a:p>
            <a:pPr algn="ctr" defTabSz="914340">
              <a:lnSpc>
                <a:spcPct val="90000"/>
              </a:lnSpc>
            </a:pPr>
            <a:r>
              <a:rPr lang="ru-RU" sz="2400" b="1" spc="-40" dirty="0">
                <a:solidFill>
                  <a:srgbClr val="294790"/>
                </a:solidFill>
              </a:rPr>
              <a:t>Какие выпускники нужны России сегодня? </a:t>
            </a:r>
          </a:p>
          <a:p>
            <a:pPr algn="ctr" defTabSz="914340">
              <a:lnSpc>
                <a:spcPct val="90000"/>
              </a:lnSpc>
            </a:pPr>
            <a:r>
              <a:rPr lang="ru-RU" sz="2300" dirty="0">
                <a:solidFill>
                  <a:srgbClr val="294790"/>
                </a:solidFill>
              </a:rPr>
              <a:t>Читаем указ</a:t>
            </a:r>
          </a:p>
        </p:txBody>
      </p:sp>
      <p:grpSp>
        <p:nvGrpSpPr>
          <p:cNvPr id="2" name="Группа 44"/>
          <p:cNvGrpSpPr/>
          <p:nvPr/>
        </p:nvGrpSpPr>
        <p:grpSpPr>
          <a:xfrm>
            <a:off x="237448" y="256608"/>
            <a:ext cx="1080050" cy="497938"/>
            <a:chOff x="338369" y="163286"/>
            <a:chExt cx="1440066" cy="497938"/>
          </a:xfrm>
        </p:grpSpPr>
        <p:sp>
          <p:nvSpPr>
            <p:cNvPr id="95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6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7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8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9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0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1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2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3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4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5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6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7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8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9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</p:grpSp>
      <p:pic>
        <p:nvPicPr>
          <p:cNvPr id="28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077" y="27"/>
            <a:ext cx="54292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8812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b="1" u="sng" dirty="0" smtClean="0">
                <a:solidFill>
                  <a:schemeClr val="accent1">
                    <a:lumMod val="75000"/>
                  </a:schemeClr>
                </a:solidFill>
              </a:rPr>
              <a:t>Качество естественнонаучного образования</a:t>
            </a:r>
            <a:endParaRPr lang="ru-RU" b="1" u="sng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82296" indent="0">
              <a:buNone/>
            </a:pPr>
            <a:endParaRPr lang="ru-RU" dirty="0"/>
          </a:p>
          <a:p>
            <a:pPr marL="82296" indent="0">
              <a:buNone/>
            </a:pPr>
            <a:endParaRPr lang="ru-RU" dirty="0" smtClean="0"/>
          </a:p>
          <a:p>
            <a:pPr marL="82296" indent="0">
              <a:buNone/>
            </a:pPr>
            <a:endParaRPr lang="ru-RU" dirty="0"/>
          </a:p>
          <a:p>
            <a:pPr marL="82296" indent="0">
              <a:buNone/>
            </a:pPr>
            <a:endParaRPr lang="ru-RU" dirty="0"/>
          </a:p>
          <a:p>
            <a:pPr marL="82296" indent="0" algn="ctr">
              <a:buNone/>
            </a:pPr>
            <a:r>
              <a:rPr lang="ru-RU" sz="1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дународный уровень: низкий уровень естественнонаучной грамотности !</a:t>
            </a:r>
          </a:p>
          <a:p>
            <a:pPr marL="82296" indent="0" algn="ctr">
              <a:buNone/>
            </a:pPr>
            <a:r>
              <a:rPr lang="ru-RU" sz="1800" b="1" dirty="0" smtClean="0">
                <a:solidFill>
                  <a:srgbClr val="FF0000"/>
                </a:solidFill>
              </a:rPr>
              <a:t>Антропогенный угрозы планеты Земля:</a:t>
            </a:r>
          </a:p>
          <a:p>
            <a:r>
              <a:rPr lang="ru-RU" sz="1800" dirty="0" smtClean="0"/>
              <a:t>Истощение природных ресурсов;</a:t>
            </a:r>
          </a:p>
          <a:p>
            <a:r>
              <a:rPr lang="ru-RU" sz="1800" dirty="0" smtClean="0"/>
              <a:t>Уменьшение биоразнообразия планеты;</a:t>
            </a:r>
          </a:p>
          <a:p>
            <a:r>
              <a:rPr lang="ru-RU" sz="1800" dirty="0" smtClean="0"/>
              <a:t>Масштабные экологические катастрофы;</a:t>
            </a:r>
          </a:p>
          <a:p>
            <a:r>
              <a:rPr lang="ru-RU" sz="1800" dirty="0" smtClean="0"/>
              <a:t>Проблема утилизации отходов.</a:t>
            </a:r>
          </a:p>
          <a:p>
            <a:endParaRPr lang="ru-RU" sz="1800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764704"/>
            <a:ext cx="1512168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656" y="2215997"/>
            <a:ext cx="2051935" cy="1188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809" y="2215997"/>
            <a:ext cx="1892888" cy="1188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3925" y="2221284"/>
            <a:ext cx="2015893" cy="1188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360" y="2221284"/>
            <a:ext cx="2130469" cy="1199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9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6" y="6237312"/>
            <a:ext cx="1049337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492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/>
          <p:cNvSpPr/>
          <p:nvPr/>
        </p:nvSpPr>
        <p:spPr>
          <a:xfrm>
            <a:off x="693420" y="2514238"/>
            <a:ext cx="2287626" cy="3764642"/>
          </a:xfrm>
          <a:prstGeom prst="rect">
            <a:avLst/>
          </a:prstGeom>
          <a:solidFill>
            <a:srgbClr val="00ACB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3017520" y="2827895"/>
            <a:ext cx="2973426" cy="3301437"/>
          </a:xfrm>
          <a:prstGeom prst="rect">
            <a:avLst/>
          </a:prstGeom>
          <a:solidFill>
            <a:srgbClr val="6E95D4">
              <a:alpha val="20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027420" y="2625710"/>
            <a:ext cx="2423160" cy="3673490"/>
          </a:xfrm>
          <a:prstGeom prst="rect">
            <a:avLst/>
          </a:prstGeom>
          <a:solidFill>
            <a:srgbClr val="9989C1">
              <a:alpha val="2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0" y="1005840"/>
            <a:ext cx="9144000" cy="1645920"/>
          </a:xfrm>
          <a:prstGeom prst="rect">
            <a:avLst/>
          </a:prstGeom>
          <a:solidFill>
            <a:srgbClr val="EDF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90601" y="1315403"/>
            <a:ext cx="6994946" cy="74471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914340">
              <a:lnSpc>
                <a:spcPct val="80000"/>
              </a:lnSpc>
            </a:pPr>
            <a:r>
              <a:rPr lang="ru-RU" sz="2400" b="1" dirty="0">
                <a:solidFill>
                  <a:srgbClr val="294790"/>
                </a:solidFill>
              </a:rPr>
              <a:t>Требования ФГОС:</a:t>
            </a:r>
          </a:p>
          <a:p>
            <a:pPr algn="ctr" defTabSz="914340">
              <a:lnSpc>
                <a:spcPct val="80000"/>
              </a:lnSpc>
            </a:pPr>
            <a:r>
              <a:rPr lang="ru-RU" sz="2400" dirty="0">
                <a:solidFill>
                  <a:srgbClr val="294790"/>
                </a:solidFill>
              </a:rPr>
              <a:t>овладение учебными действиями с изучаемым материалом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692648" y="2142635"/>
            <a:ext cx="2286983" cy="521623"/>
          </a:xfrm>
          <a:prstGeom prst="roundRect">
            <a:avLst>
              <a:gd name="adj" fmla="val 0"/>
            </a:avLst>
          </a:prstGeom>
          <a:solidFill>
            <a:srgbClr val="008F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914340"/>
            <a:r>
              <a:rPr lang="ru-RU" sz="2000" b="1" dirty="0">
                <a:solidFill>
                  <a:srgbClr val="FFFFFF"/>
                </a:solidFill>
              </a:rPr>
              <a:t>ЛИЧНОСТНЫМИ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020104" y="2142720"/>
            <a:ext cx="2971370" cy="521623"/>
          </a:xfrm>
          <a:prstGeom prst="roundRect">
            <a:avLst>
              <a:gd name="adj" fmla="val 0"/>
            </a:avLst>
          </a:prstGeom>
          <a:solidFill>
            <a:srgbClr val="3A5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914340"/>
            <a:r>
              <a:rPr lang="ru-RU" sz="2000" b="1" dirty="0">
                <a:solidFill>
                  <a:srgbClr val="FFFFFF"/>
                </a:solidFill>
              </a:rPr>
              <a:t>МЕТАПРЕДМЕТНЫМИ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026190" y="2145092"/>
            <a:ext cx="2424390" cy="521623"/>
          </a:xfrm>
          <a:prstGeom prst="roundRect">
            <a:avLst>
              <a:gd name="adj" fmla="val 0"/>
            </a:avLst>
          </a:prstGeom>
          <a:solidFill>
            <a:srgbClr val="5A48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914340"/>
            <a:r>
              <a:rPr lang="ru-RU" sz="2000" dirty="0">
                <a:solidFill>
                  <a:srgbClr val="FFFFFF"/>
                </a:solidFill>
              </a:rPr>
              <a:t>ПРЕДМЕТНЫМИ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771681" y="2941931"/>
            <a:ext cx="2148017" cy="70333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marL="35997" defTabSz="914340"/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ействиями </a:t>
            </a:r>
          </a:p>
          <a:p>
            <a:pPr marL="35997" defTabSz="914340"/>
            <a:r>
              <a:rPr lang="ru-RU" sz="14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Самоопределения</a:t>
            </a:r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: </a:t>
            </a:r>
          </a:p>
          <a:p>
            <a:pPr marL="35997" defTabSz="914340"/>
            <a:r>
              <a:rPr lang="ru-RU" sz="1400" b="1" i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КТО Я</a:t>
            </a:r>
            <a:r>
              <a:rPr lang="ru-RU" sz="1400" i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?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128012" y="2895483"/>
            <a:ext cx="2825223" cy="57315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marL="35997" defTabSz="914340"/>
            <a:r>
              <a:rPr lang="ru-RU" sz="14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РЕГУЛЯТИВНЫМИ</a:t>
            </a:r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 действиями: </a:t>
            </a:r>
          </a:p>
          <a:p>
            <a:pPr marL="35997" defTabSz="914340"/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по организации деятельности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799114" y="3910575"/>
            <a:ext cx="2162360" cy="70333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marL="35997" defTabSz="914340"/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ействиями </a:t>
            </a:r>
            <a:r>
              <a:rPr lang="ru-RU" sz="1400" b="1" cap="all" dirty="0" err="1">
                <a:solidFill>
                  <a:prstClr val="black">
                    <a:lumMod val="85000"/>
                    <a:lumOff val="15000"/>
                  </a:prstClr>
                </a:solidFill>
              </a:rPr>
              <a:t>смыслообразо</a:t>
            </a:r>
            <a:r>
              <a:rPr lang="en-US" sz="14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-</a:t>
            </a:r>
            <a:r>
              <a:rPr lang="ru-RU" sz="1400" b="1" cap="all" dirty="0" err="1">
                <a:solidFill>
                  <a:prstClr val="black">
                    <a:lumMod val="85000"/>
                    <a:lumOff val="15000"/>
                  </a:prstClr>
                </a:solidFill>
              </a:rPr>
              <a:t>вания</a:t>
            </a:r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: </a:t>
            </a:r>
            <a:r>
              <a:rPr lang="ru-RU" sz="1400" b="1" i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ЗАЧЕМ Я</a:t>
            </a:r>
            <a:r>
              <a:rPr lang="ru-RU" sz="1400" i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?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799318" y="4879074"/>
            <a:ext cx="2171893" cy="114734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marL="35997" defTabSz="914340"/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ействиями </a:t>
            </a:r>
          </a:p>
          <a:p>
            <a:pPr marL="35997" defTabSz="914340"/>
            <a:r>
              <a:rPr lang="ru-RU" sz="1400" b="1" cap="all" dirty="0">
                <a:solidFill>
                  <a:prstClr val="black">
                    <a:lumMod val="85000"/>
                    <a:lumOff val="15000"/>
                  </a:prstClr>
                </a:solidFill>
              </a:rPr>
              <a:t>морально-этической ориентации</a:t>
            </a:r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:</a:t>
            </a:r>
          </a:p>
          <a:p>
            <a:pPr marL="35997" defTabSz="914340"/>
            <a:r>
              <a:rPr lang="ru-RU" sz="1400" b="1" i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ЧТО МНЕ ДОРОГО</a:t>
            </a:r>
            <a:r>
              <a:rPr lang="ru-RU" sz="1400" i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?  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3119163" y="3698220"/>
            <a:ext cx="2832058" cy="920005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marL="35997" defTabSz="914340"/>
            <a:r>
              <a:rPr lang="ru-RU" sz="14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КОММУКАТИВНЫМИ</a:t>
            </a:r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 действиями: речевыми и иными средствами, навыками взаимодействия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3119351" y="4848987"/>
            <a:ext cx="2832059" cy="128035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marL="35997" defTabSz="914340">
              <a:lnSpc>
                <a:spcPct val="90000"/>
              </a:lnSpc>
            </a:pPr>
            <a:r>
              <a:rPr lang="ru-RU" sz="14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ПОЗНАВАТЕЛЬНЫМИ</a:t>
            </a:r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 действиями: навыками работы с информацией, </a:t>
            </a:r>
            <a:endParaRPr lang="ru-RU" sz="1400" dirty="0" smtClean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35997" defTabSz="914340">
              <a:lnSpc>
                <a:spcPct val="90000"/>
              </a:lnSpc>
            </a:pPr>
            <a:r>
              <a:rPr lang="ru-RU" sz="1400" dirty="0" err="1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знако</a:t>
            </a:r>
            <a:r>
              <a:rPr lang="ru-RU" sz="1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-символьными </a:t>
            </a:r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средствами и схемами, логическими операциями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6216896" y="2827869"/>
            <a:ext cx="2012909" cy="289221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t" anchorCtr="0"/>
          <a:lstStyle/>
          <a:p>
            <a:pPr marL="35997" defTabSz="914340">
              <a:lnSpc>
                <a:spcPct val="120000"/>
              </a:lnSpc>
            </a:pPr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</a:rPr>
              <a:t>Действиями по</a:t>
            </a:r>
          </a:p>
          <a:p>
            <a:pPr marL="35997" defTabSz="91434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 </a:t>
            </a:r>
            <a:r>
              <a:rPr lang="ru-RU" sz="14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ОСВОЕНИЮ</a:t>
            </a:r>
            <a:endParaRPr lang="ru-RU" sz="1400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35997" defTabSz="91434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ПРЕОБРАЗОВАНИЮ</a:t>
            </a:r>
          </a:p>
          <a:p>
            <a:pPr marL="35997" defTabSz="91434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 ПРИМЕНЕНИЮ</a:t>
            </a:r>
            <a:r>
              <a:rPr lang="ru-RU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 </a:t>
            </a:r>
            <a:r>
              <a:rPr lang="ru-RU" dirty="0">
                <a:solidFill>
                  <a:prstClr val="black">
                    <a:lumMod val="85000"/>
                    <a:lumOff val="15000"/>
                  </a:prstClr>
                </a:solidFill>
              </a:rPr>
              <a:t>знаний на основе имеющихся и универсальных учебных действий</a:t>
            </a:r>
          </a:p>
        </p:txBody>
      </p:sp>
      <p:sp>
        <p:nvSpPr>
          <p:cNvPr id="2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460433" y="6337294"/>
            <a:ext cx="539552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60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9</a:t>
            </a:fld>
            <a:endParaRPr lang="en" sz="16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21" name="Рисунок 20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787864"/>
            <a:ext cx="9144000" cy="70136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 flipH="1">
            <a:off x="0" y="98335"/>
            <a:ext cx="9144000" cy="859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5" rIns="121908" bIns="60955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 flipH="1">
            <a:off x="1979712" y="96045"/>
            <a:ext cx="7164288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5" rIns="121908" bIns="60955" rtlCol="0" anchor="ctr"/>
          <a:lstStyle/>
          <a:p>
            <a:pPr algn="ctr" defTabSz="914340"/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551214" y="192428"/>
            <a:ext cx="1538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673687" y="100258"/>
            <a:ext cx="7258044" cy="760198"/>
          </a:xfrm>
          <a:prstGeom prst="rect">
            <a:avLst/>
          </a:prstGeom>
          <a:noFill/>
        </p:spPr>
        <p:txBody>
          <a:bodyPr wrap="square" lIns="121908" tIns="60955" rIns="121908" bIns="60955" rtlCol="0">
            <a:spAutoFit/>
          </a:bodyPr>
          <a:lstStyle/>
          <a:p>
            <a:pPr algn="ctr" defTabSz="914340">
              <a:lnSpc>
                <a:spcPct val="90000"/>
              </a:lnSpc>
            </a:pPr>
            <a:r>
              <a:rPr lang="ru-RU" sz="2300" spc="-40" dirty="0">
                <a:solidFill>
                  <a:srgbClr val="294790"/>
                </a:solidFill>
              </a:rPr>
              <a:t>Российские образовательные стандарты: </a:t>
            </a:r>
          </a:p>
          <a:p>
            <a:pPr algn="ctr" defTabSz="914340">
              <a:lnSpc>
                <a:spcPct val="90000"/>
              </a:lnSpc>
            </a:pPr>
            <a:r>
              <a:rPr lang="ru-RU" sz="2300" b="1" dirty="0">
                <a:solidFill>
                  <a:srgbClr val="294790"/>
                </a:solidFill>
              </a:rPr>
              <a:t>СОСТАВ ТРЕБОВАНИЙ</a:t>
            </a:r>
          </a:p>
        </p:txBody>
      </p:sp>
      <p:grpSp>
        <p:nvGrpSpPr>
          <p:cNvPr id="32" name="Группа 44"/>
          <p:cNvGrpSpPr/>
          <p:nvPr/>
        </p:nvGrpSpPr>
        <p:grpSpPr>
          <a:xfrm>
            <a:off x="237448" y="256608"/>
            <a:ext cx="1080050" cy="497938"/>
            <a:chOff x="338369" y="163286"/>
            <a:chExt cx="1440066" cy="497938"/>
          </a:xfrm>
        </p:grpSpPr>
        <p:sp>
          <p:nvSpPr>
            <p:cNvPr id="3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3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40"/>
              <a:endParaRPr lang="ru-RU">
                <a:solidFill>
                  <a:prstClr val="black"/>
                </a:solidFill>
              </a:endParaRPr>
            </a:p>
          </p:txBody>
        </p:sp>
      </p:grpSp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" y="5946620"/>
            <a:ext cx="9326858" cy="841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077" y="27"/>
            <a:ext cx="542925" cy="573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5328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4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8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9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0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1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2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3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4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5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Тема Office">
  <a:themeElements>
    <a:clrScheme name="Тема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Тема 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0.xml><?xml version="1.0" encoding="utf-8"?>
<a:theme xmlns:a="http://schemas.openxmlformats.org/drawingml/2006/main" name="16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7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18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9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20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21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22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23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24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25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6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27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20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4.xml><?xml version="1.0" encoding="utf-8"?>
<a:theme xmlns:a="http://schemas.openxmlformats.org/drawingml/2006/main" name="28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29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7.xml><?xml version="1.0" encoding="utf-8"?>
<a:theme xmlns:a="http://schemas.openxmlformats.org/drawingml/2006/main" name="30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38.xml><?xml version="1.0" encoding="utf-8"?>
<a:theme xmlns:a="http://schemas.openxmlformats.org/drawingml/2006/main" name="1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9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40.xml><?xml version="1.0" encoding="utf-8"?>
<a:theme xmlns:a="http://schemas.openxmlformats.org/drawingml/2006/main" name="12_Тема Office">
  <a:themeElements>
    <a:clrScheme name="Тема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Тема 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1.xml><?xml version="1.0" encoding="utf-8"?>
<a:theme xmlns:a="http://schemas.openxmlformats.org/drawingml/2006/main" name="3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635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2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6_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7</TotalTime>
  <Words>5435</Words>
  <Application>Microsoft Office PowerPoint</Application>
  <PresentationFormat>Экран (4:3)</PresentationFormat>
  <Paragraphs>563</Paragraphs>
  <Slides>60</Slides>
  <Notes>32</Notes>
  <HiddenSlides>0</HiddenSlides>
  <MMClips>0</MMClips>
  <ScaleCrop>false</ScaleCrop>
  <HeadingPairs>
    <vt:vector size="6" baseType="variant">
      <vt:variant>
        <vt:lpstr>Тема</vt:lpstr>
      </vt:variant>
      <vt:variant>
        <vt:i4>4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60</vt:i4>
      </vt:variant>
    </vt:vector>
  </HeadingPairs>
  <TitlesOfParts>
    <vt:vector size="104" baseType="lpstr">
      <vt:lpstr>1_Тема Office</vt:lpstr>
      <vt:lpstr>8_Тема Office</vt:lpstr>
      <vt:lpstr>Солнцестояние</vt:lpstr>
      <vt:lpstr>1_Солнцестояние</vt:lpstr>
      <vt:lpstr>2_Солнцестояние</vt:lpstr>
      <vt:lpstr>3_Солнцестояние</vt:lpstr>
      <vt:lpstr>4_Солнцестояние</vt:lpstr>
      <vt:lpstr>5_Солнцестояние</vt:lpstr>
      <vt:lpstr>6_Солнцестояние</vt:lpstr>
      <vt:lpstr>7_Солнцестояние</vt:lpstr>
      <vt:lpstr>8_Солнцестояние</vt:lpstr>
      <vt:lpstr>17_Тема Office</vt:lpstr>
      <vt:lpstr>9_Солнцестояние</vt:lpstr>
      <vt:lpstr>10_Солнцестояние</vt:lpstr>
      <vt:lpstr>11_Солнцестояние</vt:lpstr>
      <vt:lpstr>12_Солнцестояние</vt:lpstr>
      <vt:lpstr>13_Солнцестояние</vt:lpstr>
      <vt:lpstr>14_Солнцестояние</vt:lpstr>
      <vt:lpstr>15_Солнцестояние</vt:lpstr>
      <vt:lpstr>16_Солнцестояние</vt:lpstr>
      <vt:lpstr>17_Солнцестояние</vt:lpstr>
      <vt:lpstr>18_Солнцестояние</vt:lpstr>
      <vt:lpstr>19_Солнцестояние</vt:lpstr>
      <vt:lpstr>20_Солнцестояние</vt:lpstr>
      <vt:lpstr>21_Солнцестояние</vt:lpstr>
      <vt:lpstr>22_Солнцестояние</vt:lpstr>
      <vt:lpstr>23_Солнцестояние</vt:lpstr>
      <vt:lpstr>24_Солнцестояние</vt:lpstr>
      <vt:lpstr>25_Солнцестояние</vt:lpstr>
      <vt:lpstr>26_Солнцестояние</vt:lpstr>
      <vt:lpstr>27_Солнцестояние</vt:lpstr>
      <vt:lpstr>2_Тема Office</vt:lpstr>
      <vt:lpstr>20_Тема Office</vt:lpstr>
      <vt:lpstr>28_Солнцестояние</vt:lpstr>
      <vt:lpstr>29_Солнцестояние</vt:lpstr>
      <vt:lpstr>Тема Office</vt:lpstr>
      <vt:lpstr>30_Солнцестояние</vt:lpstr>
      <vt:lpstr>11_Тема Office</vt:lpstr>
      <vt:lpstr>Simple Light</vt:lpstr>
      <vt:lpstr>12_Тема Office</vt:lpstr>
      <vt:lpstr>3_White</vt:lpstr>
      <vt:lpstr>3_Тема Office</vt:lpstr>
      <vt:lpstr>Слайд think-cell</vt:lpstr>
      <vt:lpstr>think-cell Slide</vt:lpstr>
      <vt:lpstr>ГРУППА КОМПАНИЙ ПРОСВЕЩЕНИЕ — СИСТЕМЕ ОБРАЗОВАНИЯ</vt:lpstr>
      <vt:lpstr>Презентация PowerPoint</vt:lpstr>
      <vt:lpstr> </vt:lpstr>
      <vt:lpstr>Презентация PowerPoint</vt:lpstr>
      <vt:lpstr>Презентация PowerPoint</vt:lpstr>
      <vt:lpstr>ПРОФЕССИИ БУДУЩЕГО</vt:lpstr>
      <vt:lpstr>Презентация PowerPoint</vt:lpstr>
      <vt:lpstr>Качество естественнонаучного образования</vt:lpstr>
      <vt:lpstr>Презентация PowerPoint</vt:lpstr>
      <vt:lpstr>Функциональная грамотность — способность человека, общества вступать в отношения с внешней средой и умение быстро адаптироваться в изменяющихся условиях.</vt:lpstr>
      <vt:lpstr>Презентация PowerPoint</vt:lpstr>
      <vt:lpstr>КАК ОПРЕДЕЛИТЬ ЕСТЕСТВЕННОНАУЧНУЮ ГРАМОТНОСТЬ ШКОЛЬНИКОВ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рмы и методы проведения урок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рмирование функциональной грамотности</vt:lpstr>
      <vt:lpstr>Функциональная грамотность ГОТОВИМ В ПЕЧАТЬ: Живые системы 7-9 Физические системы 7-9 Науки о Земле и Вселенной 7-9</vt:lpstr>
      <vt:lpstr>ФГОС ООО</vt:lpstr>
      <vt:lpstr>ПОНЯТИЕ ПРОЕКТ</vt:lpstr>
      <vt:lpstr>ПРОЕКТЫ В ГРУППЕ</vt:lpstr>
      <vt:lpstr>ИССЛЕДОВАТЕЛЬСКАЯ   ДЕЯТЕЛЬНОСТЬ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АЛИЗАЦИЯ В БУДУЩЕМ</vt:lpstr>
      <vt:lpstr>УСПЕШНОСТЬ</vt:lpstr>
      <vt:lpstr>Реализуем приоритетный проект</vt:lpstr>
      <vt:lpstr>СКИДКИ</vt:lpstr>
      <vt:lpstr>Презентация PowerPoint</vt:lpstr>
      <vt:lpstr>Презентация PowerPoint</vt:lpstr>
    </vt:vector>
  </TitlesOfParts>
  <Company>Prosv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РУППА КОМПАНИЙ ПРОСВЕЩЕНИЕ — СИСТЕМЕ ОБРАЗОВАНИЯ</dc:title>
  <dc:creator>Синдрякова Елена Владимировна</dc:creator>
  <cp:lastModifiedBy>Синдрякова Елена Владимировна</cp:lastModifiedBy>
  <cp:revision>18</cp:revision>
  <dcterms:created xsi:type="dcterms:W3CDTF">2019-09-03T09:18:26Z</dcterms:created>
  <dcterms:modified xsi:type="dcterms:W3CDTF">2019-09-09T12:47:16Z</dcterms:modified>
</cp:coreProperties>
</file>